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Default Extension="xlsx" ContentType="application/vnd.openxmlformats-officedocument.spreadsheetml.sheet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9.xml" ContentType="application/vnd.openxmlformats-officedocument.presentationml.slideLayout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charts/chart1.xml" ContentType="application/vnd.openxmlformats-officedocument.drawingml.chart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tags/tag7.xml" ContentType="application/vnd.openxmlformats-officedocument.presentationml.tags+xml"/>
  <Default Extension="bin" ContentType="application/vnd.openxmlformats-officedocument.oleObject"/>
  <Override PartName="/ppt/slideLayouts/slideLayout7.xml" ContentType="application/vnd.openxmlformats-officedocument.presentationml.slideLayout+xml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Default Extension="vml" ContentType="application/vnd.openxmlformats-officedocument.vmlDrawing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Default Extension="gif" ContentType="image/gif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80" r:id="rId2"/>
    <p:sldMasterId id="2147483668" r:id="rId3"/>
  </p:sldMasterIdLst>
  <p:notesMasterIdLst>
    <p:notesMasterId r:id="rId28"/>
  </p:notesMasterIdLst>
  <p:handoutMasterIdLst>
    <p:handoutMasterId r:id="rId29"/>
  </p:handoutMasterIdLst>
  <p:sldIdLst>
    <p:sldId id="334" r:id="rId4"/>
    <p:sldId id="405" r:id="rId5"/>
    <p:sldId id="406" r:id="rId6"/>
    <p:sldId id="402" r:id="rId7"/>
    <p:sldId id="407" r:id="rId8"/>
    <p:sldId id="409" r:id="rId9"/>
    <p:sldId id="408" r:id="rId10"/>
    <p:sldId id="388" r:id="rId11"/>
    <p:sldId id="389" r:id="rId12"/>
    <p:sldId id="400" r:id="rId13"/>
    <p:sldId id="390" r:id="rId14"/>
    <p:sldId id="387" r:id="rId15"/>
    <p:sldId id="395" r:id="rId16"/>
    <p:sldId id="392" r:id="rId17"/>
    <p:sldId id="398" r:id="rId18"/>
    <p:sldId id="385" r:id="rId19"/>
    <p:sldId id="391" r:id="rId20"/>
    <p:sldId id="298" r:id="rId21"/>
    <p:sldId id="393" r:id="rId22"/>
    <p:sldId id="394" r:id="rId23"/>
    <p:sldId id="396" r:id="rId24"/>
    <p:sldId id="397" r:id="rId25"/>
    <p:sldId id="399" r:id="rId26"/>
    <p:sldId id="366" r:id="rId27"/>
  </p:sldIdLst>
  <p:sldSz cx="9144000" cy="6858000" type="screen4x3"/>
  <p:notesSz cx="6950075" cy="9236075"/>
  <p:custDataLst>
    <p:tags r:id="rId3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66481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32962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9944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65925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98887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65368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731849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DDDDDD"/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0932" autoAdjust="0"/>
    <p:restoredTop sz="94684" autoAdjust="0"/>
  </p:normalViewPr>
  <p:slideViewPr>
    <p:cSldViewPr snapToGrid="0">
      <p:cViewPr>
        <p:scale>
          <a:sx n="70" d="100"/>
          <a:sy n="70" d="100"/>
        </p:scale>
        <p:origin x="-1680" y="-210"/>
      </p:cViewPr>
      <p:guideLst>
        <p:guide orient="horz" pos="1444"/>
        <p:guide pos="5484"/>
        <p:guide pos="15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-2028" y="-96"/>
      </p:cViewPr>
      <p:guideLst>
        <p:guide orient="horz" pos="2909"/>
        <p:guide pos="2189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spPr>
              <a:solidFill>
                <a:schemeClr val="tx1"/>
              </a:solidFill>
            </c:spPr>
          </c:dPt>
          <c:dPt>
            <c:idx val="1"/>
            <c:spPr>
              <a:solidFill>
                <a:schemeClr val="accent3">
                  <a:lumMod val="60000"/>
                  <a:lumOff val="40000"/>
                </a:schemeClr>
              </a:solidFill>
            </c:spPr>
          </c:dPt>
          <c:dPt>
            <c:idx val="2"/>
            <c:spPr>
              <a:solidFill>
                <a:schemeClr val="tx2">
                  <a:lumMod val="40000"/>
                  <a:lumOff val="60000"/>
                </a:schemeClr>
              </a:solidFill>
            </c:spPr>
          </c:dPt>
          <c:dPt>
            <c:idx val="3"/>
            <c:spPr>
              <a:solidFill>
                <a:schemeClr val="bg2">
                  <a:lumMod val="50000"/>
                </a:schemeClr>
              </a:solidFill>
            </c:spPr>
          </c:dPt>
          <c:dPt>
            <c:idx val="4"/>
            <c:spPr>
              <a:solidFill>
                <a:schemeClr val="accent2">
                  <a:lumMod val="40000"/>
                  <a:lumOff val="60000"/>
                </a:schemeClr>
              </a:solidFill>
            </c:spPr>
          </c:dPt>
          <c:dPt>
            <c:idx val="5"/>
            <c:spPr>
              <a:solidFill>
                <a:schemeClr val="accent3">
                  <a:lumMod val="75000"/>
                </a:schemeClr>
              </a:solidFill>
            </c:spPr>
          </c:dPt>
          <c:dLbls>
            <c:dLbl>
              <c:idx val="0"/>
              <c:layout>
                <c:manualLayout>
                  <c:x val="5.4415916392129678E-2"/>
                  <c:y val="0.11468032918007146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>
                        <a:latin typeface="Calibri" pitchFamily="34" charset="0"/>
                      </a:rPr>
                      <a:t>C</a:t>
                    </a:r>
                    <a:r>
                      <a:rPr lang="en-US" dirty="0"/>
                      <a:t>oal &amp; Coal </a:t>
                    </a:r>
                    <a:r>
                      <a:rPr lang="en-US" dirty="0" smtClean="0"/>
                      <a:t>Products</a:t>
                    </a:r>
                  </a:p>
                  <a:p>
                    <a:r>
                      <a:rPr lang="en-US" dirty="0" smtClean="0"/>
                      <a:t>40</a:t>
                    </a:r>
                    <a:r>
                      <a:rPr lang="en-US" dirty="0"/>
                      <a:t>%</a:t>
                    </a:r>
                  </a:p>
                </c:rich>
              </c:tx>
              <c:showVal val="1"/>
              <c:showCatName val="1"/>
            </c:dLbl>
            <c:dLbl>
              <c:idx val="1"/>
              <c:layout>
                <c:manualLayout>
                  <c:x val="-5.2863258630371654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>
                        <a:latin typeface="Calibri" pitchFamily="34" charset="0"/>
                      </a:rPr>
                      <a:t>N</a:t>
                    </a:r>
                    <a:r>
                      <a:rPr lang="en-US" dirty="0"/>
                      <a:t>atural </a:t>
                    </a:r>
                    <a:r>
                      <a:rPr lang="en-US" dirty="0" smtClean="0"/>
                      <a:t>Gas</a:t>
                    </a:r>
                  </a:p>
                  <a:p>
                    <a:r>
                      <a:rPr lang="en-US" dirty="0" smtClean="0"/>
                      <a:t>29</a:t>
                    </a:r>
                    <a:r>
                      <a:rPr lang="en-US" dirty="0"/>
                      <a:t>%</a:t>
                    </a:r>
                  </a:p>
                </c:rich>
              </c:tx>
              <c:showVal val="1"/>
              <c:showCatName val="1"/>
            </c:dLbl>
            <c:dLbl>
              <c:idx val="2"/>
              <c:layout>
                <c:manualLayout>
                  <c:x val="-2.2041378495020719E-2"/>
                  <c:y val="0.15352944313112118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 smtClean="0">
                        <a:latin typeface="Calibri" pitchFamily="34" charset="0"/>
                      </a:rPr>
                      <a:t>H</a:t>
                    </a:r>
                    <a:r>
                      <a:rPr lang="en-US" dirty="0" smtClean="0"/>
                      <a:t>ydro</a:t>
                    </a:r>
                  </a:p>
                  <a:p>
                    <a:r>
                      <a:rPr lang="en-US" dirty="0" smtClean="0"/>
                      <a:t>16</a:t>
                    </a:r>
                    <a:r>
                      <a:rPr lang="en-US" dirty="0"/>
                      <a:t>%</a:t>
                    </a:r>
                  </a:p>
                </c:rich>
              </c:tx>
              <c:showVal val="1"/>
              <c:showCatName val="1"/>
            </c:dLbl>
            <c:dLbl>
              <c:idx val="3"/>
              <c:layout>
                <c:manualLayout>
                  <c:x val="-8.5892921351754595E-2"/>
                  <c:y val="5.0428893905191896E-2"/>
                </c:manualLayout>
              </c:layout>
              <c:tx>
                <c:rich>
                  <a:bodyPr/>
                  <a:lstStyle/>
                  <a:p>
                    <a:r>
                      <a:rPr lang="en-US" sz="1600">
                        <a:latin typeface="Calibri" pitchFamily="34" charset="0"/>
                      </a:rPr>
                      <a:t>O</a:t>
                    </a:r>
                    <a:r>
                      <a:rPr lang="en-US"/>
                      <a:t>il &amp; Oil </a:t>
                    </a:r>
                    <a:r>
                      <a:rPr lang="en-US" smtClean="0"/>
                      <a:t>Products </a:t>
                    </a:r>
                    <a:r>
                      <a:rPr lang="en-US"/>
                      <a:t>12%</a:t>
                    </a:r>
                  </a:p>
                </c:rich>
              </c:tx>
              <c:showVal val="1"/>
              <c:showCatName val="1"/>
            </c:dLbl>
            <c:dLbl>
              <c:idx val="4"/>
              <c:layout>
                <c:manualLayout>
                  <c:x val="-7.2037886174745658E-2"/>
                  <c:y val="4.1947352517729854E-5"/>
                </c:manualLayout>
              </c:layout>
              <c:tx>
                <c:rich>
                  <a:bodyPr/>
                  <a:lstStyle/>
                  <a:p>
                    <a:pPr>
                      <a:defRPr sz="1600">
                        <a:latin typeface="Calibri" pitchFamily="34" charset="0"/>
                      </a:defRPr>
                    </a:pPr>
                    <a:r>
                      <a:rPr lang="en-US" sz="1600" dirty="0" smtClean="0">
                        <a:latin typeface="Calibri" pitchFamily="34" charset="0"/>
                      </a:rPr>
                      <a:t>N</a:t>
                    </a:r>
                    <a:r>
                      <a:rPr lang="en-US" dirty="0" smtClean="0"/>
                      <a:t>uclear</a:t>
                    </a:r>
                  </a:p>
                  <a:p>
                    <a:pPr>
                      <a:defRPr sz="1600">
                        <a:latin typeface="Calibri" pitchFamily="34" charset="0"/>
                      </a:defRPr>
                    </a:pPr>
                    <a:r>
                      <a:rPr lang="en-US" dirty="0" smtClean="0"/>
                      <a:t>2</a:t>
                    </a:r>
                    <a:r>
                      <a:rPr lang="en-US" dirty="0"/>
                      <a:t>%</a:t>
                    </a:r>
                  </a:p>
                </c:rich>
              </c:tx>
              <c:spPr>
                <a:noFill/>
              </c:spPr>
              <c:showVal val="1"/>
              <c:showCatName val="1"/>
            </c:dLbl>
            <c:dLbl>
              <c:idx val="5"/>
              <c:delete val="1"/>
            </c:dLbl>
            <c:txPr>
              <a:bodyPr/>
              <a:lstStyle/>
              <a:p>
                <a:pPr>
                  <a:defRPr sz="1600">
                    <a:latin typeface="Calibri" pitchFamily="34" charset="0"/>
                  </a:defRPr>
                </a:pPr>
                <a:endParaRPr lang="en-US"/>
              </a:p>
            </c:txPr>
            <c:showVal val="1"/>
            <c:showCatName val="1"/>
            <c:showLeaderLines val="1"/>
          </c:dLbls>
          <c:cat>
            <c:strRef>
              <c:f>Sheet1!$A$2:$A$7</c:f>
              <c:strCache>
                <c:ptCount val="6"/>
                <c:pt idx="0">
                  <c:v>Coal &amp; Coal Products</c:v>
                </c:pt>
                <c:pt idx="1">
                  <c:v>Natural Gas</c:v>
                </c:pt>
                <c:pt idx="2">
                  <c:v>Hydro</c:v>
                </c:pt>
                <c:pt idx="3">
                  <c:v>Oil &amp; Oil Products</c:v>
                </c:pt>
                <c:pt idx="4">
                  <c:v>Nuclear</c:v>
                </c:pt>
                <c:pt idx="5">
                  <c:v>Other Renewables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4</c:v>
                </c:pt>
                <c:pt idx="1">
                  <c:v>0.29000000000000015</c:v>
                </c:pt>
                <c:pt idx="2">
                  <c:v>0.16000000000000003</c:v>
                </c:pt>
                <c:pt idx="3">
                  <c:v>0.12000000000000002</c:v>
                </c:pt>
                <c:pt idx="4">
                  <c:v>2.0000000000000011E-2</c:v>
                </c:pt>
                <c:pt idx="5">
                  <c:v>1.0000000000000005E-2</c:v>
                </c:pt>
              </c:numCache>
            </c:numRef>
          </c:val>
        </c:ser>
        <c:firstSliceAng val="0"/>
      </c:pieChart>
    </c:plotArea>
    <c:plotVisOnly val="1"/>
  </c:chart>
  <c:txPr>
    <a:bodyPr/>
    <a:lstStyle/>
    <a:p>
      <a:pPr>
        <a:defRPr sz="1800"/>
      </a:pPr>
      <a:endParaRPr lang="en-US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69938" y="579438"/>
            <a:ext cx="5416550" cy="40640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62812" y="4962911"/>
            <a:ext cx="5922616" cy="12231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202387" y="8870550"/>
            <a:ext cx="551359" cy="1834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753682" y="95270"/>
            <a:ext cx="64" cy="122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9860" indent="-118241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6129" indent="-18464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35707" indent="-12795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53946" indent="-116620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887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5368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1849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0835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562812" y="4962911"/>
            <a:ext cx="5922616" cy="246221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en-US" smtClean="0"/>
              <a:t>To Check on Capacity. Mention Oman’s capacity in GV</a:t>
            </a:r>
          </a:p>
        </p:txBody>
      </p:sp>
      <p:sp>
        <p:nvSpPr>
          <p:cNvPr id="80900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5B68A23-51C5-45AE-AA63-B7E19EB61E3C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5955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562812" y="4962911"/>
            <a:ext cx="5922616" cy="246221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IN" altLang="en-US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903BFBD-806A-4AA4-9FC3-692C8C444F9B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1075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562812" y="4962911"/>
            <a:ext cx="5922616" cy="246221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altLang="en-US" smtClean="0"/>
              <a:t>Update the slide for Botswan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629D2BC-34A7-4493-82DB-BB73B772A4B0}" type="slidenum">
              <a:rPr lang="en-US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21434954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338" name="think-cell Slide" r:id="rId8" imgW="360" imgH="360" progId="">
              <p:embed/>
            </p:oleObj>
          </a:graphicData>
        </a:graphic>
      </p:graphicFrame>
      <p:sp>
        <p:nvSpPr>
          <p:cNvPr id="5" name="doc id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GB" sz="800" smtClean="0"/>
          </a:p>
        </p:txBody>
      </p:sp>
      <p:grpSp>
        <p:nvGrpSpPr>
          <p:cNvPr id="8" name="McK Title Elements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00" smtClean="0"/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00" smtClean="0"/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4"/>
              <a:ext cx="2777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GB" sz="800" smtClean="0"/>
                <a:t>CONFIDENTIAL AND PROPRIETARY</a:t>
              </a:r>
            </a:p>
            <a:p>
              <a:pPr defTabSz="821202" eaLnBrk="0" hangingPunct="0"/>
              <a:r>
                <a:rPr lang="en-GB" sz="800" smtClean="0"/>
                <a:t>Any use of this material without specific permission of McKinsey &amp; Company is strictly prohibited</a:t>
              </a:r>
              <a:endParaRPr lang="en-GB" sz="800"/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>
          <a:xfrm>
            <a:off x="2693795" y="2176938"/>
            <a:ext cx="5036084" cy="1015663"/>
          </a:xfrm>
          <a:prstGeom prst="rect">
            <a:avLst/>
          </a:prstGeo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2693795" y="3945699"/>
            <a:ext cx="5036084" cy="219820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xmlns="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57338"/>
            <a:ext cx="3810000" cy="42481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19600" y="1557338"/>
            <a:ext cx="3810000" cy="42481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A84A7B-4BAA-4C21-B08D-2ED7CA85691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99CE16-6501-4991-8321-0854597A18F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733651-0249-4CC1-A911-DDB74287CEF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B725C7-D514-4F03-A4B5-2510E29A740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671DD6-F499-4D12-AD64-426EC0D1B09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573977-C639-40E1-BD6E-E8ADF302821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304A10-9687-4618-B690-46BA83FB09D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404813"/>
            <a:ext cx="2057400" cy="54006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404813"/>
            <a:ext cx="6019800" cy="54006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852401-FD70-4E0A-9D10-0BDF95E2AA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 descr="Title slide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753" name="Rectangle 9"/>
          <p:cNvSpPr>
            <a:spLocks noGrp="1" noChangeArrowheads="1"/>
          </p:cNvSpPr>
          <p:nvPr>
            <p:ph type="ctrTitle"/>
          </p:nvPr>
        </p:nvSpPr>
        <p:spPr>
          <a:xfrm>
            <a:off x="3810000" y="2438400"/>
            <a:ext cx="4724400" cy="1470025"/>
          </a:xfrm>
        </p:spPr>
        <p:txBody>
          <a:bodyPr anchor="t"/>
          <a:lstStyle>
            <a:lvl1pPr>
              <a:lnSpc>
                <a:spcPct val="85000"/>
              </a:lnSpc>
              <a:defRPr sz="4400" b="0" i="1">
                <a:solidFill>
                  <a:schemeClr val="bg1"/>
                </a:solidFill>
                <a:latin typeface="Cambria"/>
                <a:cs typeface="Cambria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3D233D-536A-48FD-9EA4-E556AAEB24B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1A249E-94D3-41CF-A127-9D501219F1B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234863"/>
            <a:ext cx="8794113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GB" dirty="0" smtClean="0"/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719602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pic>
        <p:nvPicPr>
          <p:cNvPr id="6" name="Picture 3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57866" y="0"/>
            <a:ext cx="1086134" cy="477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4229758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DBA36B-7855-4C64-B8D5-2B8BA8F5FE2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57338"/>
            <a:ext cx="3810000" cy="42481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19600" y="1557338"/>
            <a:ext cx="3810000" cy="42481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A84A7B-4BAA-4C21-B08D-2ED7CA85691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99CE16-6501-4991-8321-0854597A18F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733651-0249-4CC1-A911-DDB74287CEF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B725C7-D514-4F03-A4B5-2510E29A740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671DD6-F499-4D12-AD64-426EC0D1B09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573977-C639-40E1-BD6E-E8ADF302821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304A10-9687-4618-B690-46BA83FB09D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404813"/>
            <a:ext cx="2057400" cy="54006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404813"/>
            <a:ext cx="6019800" cy="54006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852401-FD70-4E0A-9D10-0BDF95E2AA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935070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2222489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Master 1 (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Master 1 (G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57866" y="0"/>
            <a:ext cx="1086134" cy="477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 descr="Title slide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753" name="Rectangle 9"/>
          <p:cNvSpPr>
            <a:spLocks noGrp="1" noChangeArrowheads="1"/>
          </p:cNvSpPr>
          <p:nvPr>
            <p:ph type="ctrTitle"/>
          </p:nvPr>
        </p:nvSpPr>
        <p:spPr>
          <a:xfrm>
            <a:off x="3810000" y="2438400"/>
            <a:ext cx="4724400" cy="1470025"/>
          </a:xfrm>
        </p:spPr>
        <p:txBody>
          <a:bodyPr anchor="t"/>
          <a:lstStyle>
            <a:lvl1pPr>
              <a:lnSpc>
                <a:spcPct val="85000"/>
              </a:lnSpc>
              <a:defRPr sz="4400" b="0" i="1">
                <a:solidFill>
                  <a:schemeClr val="bg1"/>
                </a:solidFill>
                <a:latin typeface="Cambria"/>
                <a:cs typeface="Cambria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3D233D-536A-48FD-9EA4-E556AAEB24B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1A249E-94D3-41CF-A127-9D501219F1B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DBA36B-7855-4C64-B8D5-2B8BA8F5FE2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8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tags" Target="../tags/tag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732634295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p:oleObj spid="_x0000_s11330" name="think-cell Slide" r:id="rId16" imgW="360" imgH="360" progId="">
              <p:embed/>
            </p:oleObj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1482155" y="1990667"/>
            <a:ext cx="4389768" cy="1538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21489" y="234863"/>
            <a:ext cx="8794113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21488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400" smtClean="0">
                <a:solidFill>
                  <a:srgbClr val="808080"/>
                </a:solidFill>
                <a:latin typeface="+mn-lt"/>
              </a:rPr>
              <a:t>TRACKER</a:t>
            </a:r>
            <a:endParaRPr lang="en-GB" sz="140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21488" y="542616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smtClean="0">
                <a:solidFill>
                  <a:srgbClr val="808080"/>
                </a:solidFill>
              </a:rPr>
              <a:t>Unit of measure</a:t>
            </a:r>
            <a:endParaRPr lang="en-GB" sz="1600" dirty="0" smtClean="0">
              <a:solidFill>
                <a:srgbClr val="808080"/>
              </a:solidFill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121489" y="6203623"/>
            <a:ext cx="8722840" cy="518318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GB" sz="1000" smtClean="0"/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en-GB" sz="1000" dirty="0" smtClean="0">
                  <a:solidFill>
                    <a:srgbClr val="000000"/>
                  </a:solidFill>
                </a:rPr>
                <a:t>SOURCE: Source</a:t>
              </a:r>
              <a:endParaRPr lang="en-GB" sz="1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482155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b="1" smtClean="0"/>
                <a:t>Title</a:t>
              </a:r>
            </a:p>
            <a:p>
              <a:r>
                <a:rPr lang="en-GB" smtClean="0">
                  <a:solidFill>
                    <a:srgbClr val="808080"/>
                  </a:solidFill>
                </a:rPr>
                <a:t>Unit of measure</a:t>
              </a:r>
              <a:endParaRPr lang="en-GB" dirty="0">
                <a:solidFill>
                  <a:srgbClr val="808080"/>
                </a:solidFill>
              </a:endParaRPr>
            </a:p>
          </p:txBody>
        </p:sp>
      </p:grpSp>
      <p:sp>
        <p:nvSpPr>
          <p:cNvPr id="22" name="Slide Number Placeholder 1"/>
          <p:cNvSpPr>
            <a:spLocks noGrp="1"/>
          </p:cNvSpPr>
          <p:nvPr>
            <p:ph type="sldNum" sz="quarter" idx="4"/>
            <p:custDataLst>
              <p:tags r:id="rId15"/>
            </p:custDataLst>
          </p:nvPr>
        </p:nvSpPr>
        <p:spPr>
          <a:xfrm>
            <a:off x="8719602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2" r:id="rId2"/>
    <p:sldLayoutId id="2147483666" r:id="rId3"/>
    <p:sldLayoutId id="2147483692" r:id="rId4"/>
    <p:sldLayoutId id="2147483693" r:id="rId5"/>
    <p:sldLayoutId id="2147483694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9298" algn="l"/>
        </a:tabLst>
        <a:defRPr sz="3000" b="1">
          <a:solidFill>
            <a:schemeClr val="tx1"/>
          </a:solidFill>
          <a:latin typeface="Calibri" pitchFamily="34" charset="0"/>
          <a:ea typeface="+mj-ea"/>
          <a:cs typeface="Calibri" pitchFamily="34" charset="0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2000">
          <a:solidFill>
            <a:schemeClr val="tx1"/>
          </a:solidFill>
          <a:latin typeface="Calibri" pitchFamily="34" charset="0"/>
          <a:ea typeface="+mn-ea"/>
          <a:cs typeface="Calibri" pitchFamily="34" charset="0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2000">
          <a:solidFill>
            <a:schemeClr val="tx1"/>
          </a:solidFill>
          <a:latin typeface="Calibri" pitchFamily="34" charset="0"/>
          <a:cs typeface="Calibri" pitchFamily="34" charset="0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2000">
          <a:solidFill>
            <a:schemeClr val="tx1"/>
          </a:solidFill>
          <a:latin typeface="Calibri" pitchFamily="34" charset="0"/>
          <a:cs typeface="Calibri" pitchFamily="34" charset="0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2000">
          <a:solidFill>
            <a:schemeClr val="tx1"/>
          </a:solidFill>
          <a:latin typeface="Calibri" pitchFamily="34" charset="0"/>
          <a:cs typeface="Calibri" pitchFamily="34" charset="0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00">
          <a:solidFill>
            <a:schemeClr val="tx1"/>
          </a:solidFill>
          <a:latin typeface="Calibri" pitchFamily="34" charset="0"/>
          <a:cs typeface="Calibri" pitchFamily="34" charset="0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295400"/>
            <a:ext cx="7772400" cy="424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7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404813"/>
            <a:ext cx="8229600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37" name="Rectangle 1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69900" y="6553200"/>
            <a:ext cx="685800" cy="16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0" numCol="1" anchor="ctr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solidFill>
                  <a:schemeClr val="bg2"/>
                </a:solidFill>
                <a:latin typeface="Trebuchet MS" pitchFamily="-112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fld id="{5224777C-3A1C-44EB-9CEE-302669C5A52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1295400" y="6505575"/>
            <a:ext cx="4876800" cy="230188"/>
          </a:xfrm>
          <a:prstGeom prst="rect">
            <a:avLst/>
          </a:prstGeom>
          <a:noFill/>
        </p:spPr>
        <p:txBody>
          <a:bodyPr lIns="0" bIns="0">
            <a:spAutoFit/>
          </a:bodyPr>
          <a:lstStyle/>
          <a:p>
            <a:pPr eaLnBrk="0" hangingPunct="0">
              <a:defRPr/>
            </a:pPr>
            <a:r>
              <a:rPr lang="en-US" sz="1200" dirty="0">
                <a:solidFill>
                  <a:srgbClr val="595959"/>
                </a:solidFill>
                <a:latin typeface="Calibri" pitchFamily="-112" charset="0"/>
                <a:ea typeface="ＭＳ Ｐゴシック" pitchFamily="-112" charset="-128"/>
              </a:rPr>
              <a:t>Copyright © 2012 Jindal Africa Ltd.</a:t>
            </a:r>
          </a:p>
        </p:txBody>
      </p:sp>
      <p:cxnSp>
        <p:nvCxnSpPr>
          <p:cNvPr id="9" name="Straight Connector 8"/>
          <p:cNvCxnSpPr/>
          <p:nvPr userDrawn="1"/>
        </p:nvCxnSpPr>
        <p:spPr bwMode="auto">
          <a:xfrm>
            <a:off x="457200" y="6477000"/>
            <a:ext cx="8229600" cy="15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31" name="Picture 2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954963" y="0"/>
            <a:ext cx="1189037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i="1">
          <a:solidFill>
            <a:schemeClr val="tx1"/>
          </a:solidFill>
          <a:latin typeface="Cambria"/>
          <a:ea typeface="ＭＳ Ｐゴシック" pitchFamily="34" charset="-128"/>
          <a:cs typeface="Cambria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i="1">
          <a:solidFill>
            <a:schemeClr val="tx1"/>
          </a:solidFill>
          <a:latin typeface="Cambria" pitchFamily="-65" charset="0"/>
          <a:ea typeface="ＭＳ Ｐゴシック" pitchFamily="34" charset="-128"/>
          <a:cs typeface="Cambria" pitchFamily="-112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i="1">
          <a:solidFill>
            <a:schemeClr val="tx1"/>
          </a:solidFill>
          <a:latin typeface="Cambria" pitchFamily="-65" charset="0"/>
          <a:ea typeface="ＭＳ Ｐゴシック" pitchFamily="34" charset="-128"/>
          <a:cs typeface="Cambria" pitchFamily="-112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i="1">
          <a:solidFill>
            <a:schemeClr val="tx1"/>
          </a:solidFill>
          <a:latin typeface="Cambria" pitchFamily="-65" charset="0"/>
          <a:ea typeface="ＭＳ Ｐゴシック" pitchFamily="34" charset="-128"/>
          <a:cs typeface="Cambria" pitchFamily="-112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i="1">
          <a:solidFill>
            <a:schemeClr val="tx1"/>
          </a:solidFill>
          <a:latin typeface="Cambria" pitchFamily="-65" charset="0"/>
          <a:ea typeface="ＭＳ Ｐゴシック" pitchFamily="34" charset="-128"/>
          <a:cs typeface="Cambria" pitchFamily="-112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rgbClr val="13518F"/>
          </a:solidFill>
          <a:latin typeface="Trebuchet MS" pitchFamily="-112" charset="0"/>
          <a:ea typeface="ＭＳ Ｐゴシック" pitchFamily="-112" charset="-128"/>
          <a:cs typeface="ＭＳ Ｐゴシック" pitchFamily="-112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rgbClr val="13518F"/>
          </a:solidFill>
          <a:latin typeface="Trebuchet MS" pitchFamily="-112" charset="0"/>
          <a:ea typeface="ＭＳ Ｐゴシック" pitchFamily="-112" charset="-128"/>
          <a:cs typeface="ＭＳ Ｐゴシック" pitchFamily="-112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rgbClr val="13518F"/>
          </a:solidFill>
          <a:latin typeface="Trebuchet MS" pitchFamily="-112" charset="0"/>
          <a:ea typeface="ＭＳ Ｐゴシック" pitchFamily="-112" charset="-128"/>
          <a:cs typeface="ＭＳ Ｐゴシック" pitchFamily="-112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rgbClr val="13518F"/>
          </a:solidFill>
          <a:latin typeface="Trebuchet MS" pitchFamily="-112" charset="0"/>
          <a:ea typeface="ＭＳ Ｐゴシック" pitchFamily="-112" charset="-128"/>
          <a:cs typeface="ＭＳ Ｐゴシック" pitchFamily="-112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200">
          <a:solidFill>
            <a:schemeClr val="tx1"/>
          </a:solidFill>
          <a:latin typeface="Calibri"/>
          <a:ea typeface="ＭＳ Ｐゴシック" pitchFamily="34" charset="-128"/>
          <a:cs typeface="Calibri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200">
          <a:solidFill>
            <a:schemeClr val="tx1"/>
          </a:solidFill>
          <a:latin typeface="Calibri"/>
          <a:ea typeface="ＭＳ Ｐゴシック" pitchFamily="34" charset="-128"/>
          <a:cs typeface="Calibri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Calibri"/>
          <a:ea typeface="ＭＳ Ｐゴシック" pitchFamily="34" charset="-128"/>
          <a:cs typeface="Calibri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Calibri"/>
          <a:ea typeface="ＭＳ Ｐゴシック" pitchFamily="34" charset="-128"/>
          <a:cs typeface="Calibri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Calibri"/>
          <a:ea typeface="ＭＳ Ｐゴシック" pitchFamily="34" charset="-128"/>
          <a:cs typeface="Calibri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295400"/>
            <a:ext cx="7772400" cy="424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7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404813"/>
            <a:ext cx="8229600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37" name="Rectangle 1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69900" y="6553200"/>
            <a:ext cx="685800" cy="16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0" numCol="1" anchor="ctr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solidFill>
                  <a:schemeClr val="bg2"/>
                </a:solidFill>
                <a:latin typeface="Trebuchet MS" pitchFamily="-112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fld id="{5224777C-3A1C-44EB-9CEE-302669C5A52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1295400" y="6505575"/>
            <a:ext cx="4876800" cy="230188"/>
          </a:xfrm>
          <a:prstGeom prst="rect">
            <a:avLst/>
          </a:prstGeom>
          <a:noFill/>
        </p:spPr>
        <p:txBody>
          <a:bodyPr lIns="0" bIns="0">
            <a:spAutoFit/>
          </a:bodyPr>
          <a:lstStyle/>
          <a:p>
            <a:pPr eaLnBrk="0" hangingPunct="0">
              <a:defRPr/>
            </a:pPr>
            <a:r>
              <a:rPr lang="en-US" sz="1200" dirty="0">
                <a:solidFill>
                  <a:srgbClr val="595959"/>
                </a:solidFill>
                <a:latin typeface="Calibri" pitchFamily="-112" charset="0"/>
                <a:ea typeface="ＭＳ Ｐゴシック" pitchFamily="-112" charset="-128"/>
              </a:rPr>
              <a:t>Copyright © 2012 Jindal Africa Ltd.</a:t>
            </a:r>
          </a:p>
        </p:txBody>
      </p:sp>
      <p:cxnSp>
        <p:nvCxnSpPr>
          <p:cNvPr id="9" name="Straight Connector 8"/>
          <p:cNvCxnSpPr/>
          <p:nvPr userDrawn="1"/>
        </p:nvCxnSpPr>
        <p:spPr bwMode="auto">
          <a:xfrm>
            <a:off x="457200" y="6477000"/>
            <a:ext cx="8229600" cy="15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31" name="Picture 2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954963" y="0"/>
            <a:ext cx="1189037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i="1">
          <a:solidFill>
            <a:schemeClr val="tx1"/>
          </a:solidFill>
          <a:latin typeface="Cambria"/>
          <a:ea typeface="ＭＳ Ｐゴシック" pitchFamily="34" charset="-128"/>
          <a:cs typeface="Cambria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i="1">
          <a:solidFill>
            <a:schemeClr val="tx1"/>
          </a:solidFill>
          <a:latin typeface="Cambria" pitchFamily="-65" charset="0"/>
          <a:ea typeface="ＭＳ Ｐゴシック" pitchFamily="34" charset="-128"/>
          <a:cs typeface="Cambria" pitchFamily="-112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i="1">
          <a:solidFill>
            <a:schemeClr val="tx1"/>
          </a:solidFill>
          <a:latin typeface="Cambria" pitchFamily="-65" charset="0"/>
          <a:ea typeface="ＭＳ Ｐゴシック" pitchFamily="34" charset="-128"/>
          <a:cs typeface="Cambria" pitchFamily="-112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i="1">
          <a:solidFill>
            <a:schemeClr val="tx1"/>
          </a:solidFill>
          <a:latin typeface="Cambria" pitchFamily="-65" charset="0"/>
          <a:ea typeface="ＭＳ Ｐゴシック" pitchFamily="34" charset="-128"/>
          <a:cs typeface="Cambria" pitchFamily="-112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i="1">
          <a:solidFill>
            <a:schemeClr val="tx1"/>
          </a:solidFill>
          <a:latin typeface="Cambria" pitchFamily="-65" charset="0"/>
          <a:ea typeface="ＭＳ Ｐゴシック" pitchFamily="34" charset="-128"/>
          <a:cs typeface="Cambria" pitchFamily="-112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rgbClr val="13518F"/>
          </a:solidFill>
          <a:latin typeface="Trebuchet MS" pitchFamily="-112" charset="0"/>
          <a:ea typeface="ＭＳ Ｐゴシック" pitchFamily="-112" charset="-128"/>
          <a:cs typeface="ＭＳ Ｐゴシック" pitchFamily="-112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rgbClr val="13518F"/>
          </a:solidFill>
          <a:latin typeface="Trebuchet MS" pitchFamily="-112" charset="0"/>
          <a:ea typeface="ＭＳ Ｐゴシック" pitchFamily="-112" charset="-128"/>
          <a:cs typeface="ＭＳ Ｐゴシック" pitchFamily="-112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rgbClr val="13518F"/>
          </a:solidFill>
          <a:latin typeface="Trebuchet MS" pitchFamily="-112" charset="0"/>
          <a:ea typeface="ＭＳ Ｐゴシック" pitchFamily="-112" charset="-128"/>
          <a:cs typeface="ＭＳ Ｐゴシック" pitchFamily="-112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rgbClr val="13518F"/>
          </a:solidFill>
          <a:latin typeface="Trebuchet MS" pitchFamily="-112" charset="0"/>
          <a:ea typeface="ＭＳ Ｐゴシック" pitchFamily="-112" charset="-128"/>
          <a:cs typeface="ＭＳ Ｐゴシック" pitchFamily="-112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200">
          <a:solidFill>
            <a:schemeClr val="tx1"/>
          </a:solidFill>
          <a:latin typeface="Calibri"/>
          <a:ea typeface="ＭＳ Ｐゴシック" pitchFamily="34" charset="-128"/>
          <a:cs typeface="Calibri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200">
          <a:solidFill>
            <a:schemeClr val="tx1"/>
          </a:solidFill>
          <a:latin typeface="Calibri"/>
          <a:ea typeface="ＭＳ Ｐゴシック" pitchFamily="34" charset="-128"/>
          <a:cs typeface="Calibri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Calibri"/>
          <a:ea typeface="ＭＳ Ｐゴシック" pitchFamily="34" charset="-128"/>
          <a:cs typeface="Calibri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Calibri"/>
          <a:ea typeface="ＭＳ Ｐゴシック" pitchFamily="34" charset="-128"/>
          <a:cs typeface="Calibri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Calibri"/>
          <a:ea typeface="ＭＳ Ｐゴシック" pitchFamily="34" charset="-128"/>
          <a:cs typeface="Calibri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image" Target="../media/image6.jpeg"/><Relationship Id="rId7" Type="http://schemas.openxmlformats.org/officeDocument/2006/relationships/image" Target="../media/image10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10" Type="http://schemas.openxmlformats.org/officeDocument/2006/relationships/image" Target="../media/image3.jpeg"/><Relationship Id="rId4" Type="http://schemas.openxmlformats.org/officeDocument/2006/relationships/image" Target="../media/image7.jpeg"/><Relationship Id="rId9" Type="http://schemas.openxmlformats.org/officeDocument/2006/relationships/image" Target="../media/image12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tags" Target="../tags/tag26.xml"/><Relationship Id="rId18" Type="http://schemas.openxmlformats.org/officeDocument/2006/relationships/tags" Target="../tags/tag31.xml"/><Relationship Id="rId26" Type="http://schemas.openxmlformats.org/officeDocument/2006/relationships/notesSlide" Target="../notesSlides/notesSlide2.xml"/><Relationship Id="rId3" Type="http://schemas.openxmlformats.org/officeDocument/2006/relationships/tags" Target="../tags/tag16.xml"/><Relationship Id="rId21" Type="http://schemas.openxmlformats.org/officeDocument/2006/relationships/tags" Target="../tags/tag34.xml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17" Type="http://schemas.openxmlformats.org/officeDocument/2006/relationships/tags" Target="../tags/tag30.xml"/><Relationship Id="rId25" Type="http://schemas.openxmlformats.org/officeDocument/2006/relationships/slideLayout" Target="../slideLayouts/slideLayout5.xml"/><Relationship Id="rId33" Type="http://schemas.openxmlformats.org/officeDocument/2006/relationships/image" Target="../media/image3.jpeg"/><Relationship Id="rId2" Type="http://schemas.openxmlformats.org/officeDocument/2006/relationships/tags" Target="../tags/tag15.xml"/><Relationship Id="rId16" Type="http://schemas.openxmlformats.org/officeDocument/2006/relationships/tags" Target="../tags/tag29.xml"/><Relationship Id="rId20" Type="http://schemas.openxmlformats.org/officeDocument/2006/relationships/tags" Target="../tags/tag33.xml"/><Relationship Id="rId29" Type="http://schemas.openxmlformats.org/officeDocument/2006/relationships/image" Target="../media/image15.jpeg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24" Type="http://schemas.openxmlformats.org/officeDocument/2006/relationships/tags" Target="../tags/tag37.xml"/><Relationship Id="rId32" Type="http://schemas.openxmlformats.org/officeDocument/2006/relationships/image" Target="../media/image18.jpeg"/><Relationship Id="rId5" Type="http://schemas.openxmlformats.org/officeDocument/2006/relationships/tags" Target="../tags/tag18.xml"/><Relationship Id="rId15" Type="http://schemas.openxmlformats.org/officeDocument/2006/relationships/tags" Target="../tags/tag28.xml"/><Relationship Id="rId23" Type="http://schemas.openxmlformats.org/officeDocument/2006/relationships/tags" Target="../tags/tag36.xml"/><Relationship Id="rId28" Type="http://schemas.openxmlformats.org/officeDocument/2006/relationships/image" Target="../media/image14.jpeg"/><Relationship Id="rId10" Type="http://schemas.openxmlformats.org/officeDocument/2006/relationships/tags" Target="../tags/tag23.xml"/><Relationship Id="rId19" Type="http://schemas.openxmlformats.org/officeDocument/2006/relationships/tags" Target="../tags/tag32.xml"/><Relationship Id="rId31" Type="http://schemas.openxmlformats.org/officeDocument/2006/relationships/image" Target="../media/image17.jpeg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tags" Target="../tags/tag27.xml"/><Relationship Id="rId22" Type="http://schemas.openxmlformats.org/officeDocument/2006/relationships/tags" Target="../tags/tag35.xml"/><Relationship Id="rId27" Type="http://schemas.openxmlformats.org/officeDocument/2006/relationships/image" Target="../media/image13.jpeg"/><Relationship Id="rId30" Type="http://schemas.openxmlformats.org/officeDocument/2006/relationships/image" Target="../media/image1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image" Target="../media/image12.emf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12" Type="http://schemas.openxmlformats.org/officeDocument/2006/relationships/notesSlide" Target="../notesSlides/notesSlide3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11" Type="http://schemas.openxmlformats.org/officeDocument/2006/relationships/slideLayout" Target="../slideLayouts/slideLayout6.xml"/><Relationship Id="rId5" Type="http://schemas.openxmlformats.org/officeDocument/2006/relationships/tags" Target="../tags/tag42.xml"/><Relationship Id="rId10" Type="http://schemas.openxmlformats.org/officeDocument/2006/relationships/tags" Target="../tags/tag47.xml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image" Target="../media/image10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7" Type="http://schemas.openxmlformats.org/officeDocument/2006/relationships/image" Target="../media/image20.gif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2.xml"/><Relationship Id="rId4" Type="http://schemas.openxmlformats.org/officeDocument/2006/relationships/tags" Target="../tags/tag5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419100"/>
            <a:ext cx="8559800" cy="1107996"/>
          </a:xfrm>
        </p:spPr>
        <p:txBody>
          <a:bodyPr/>
          <a:lstStyle/>
          <a:p>
            <a:pPr algn="ctr">
              <a:defRPr/>
            </a:pPr>
            <a:r>
              <a:rPr lang="en-US" sz="3600" dirty="0" smtClean="0"/>
              <a:t>“Partnership for Energy and Sustainable Development”</a:t>
            </a:r>
            <a:endParaRPr lang="en-US" sz="3600" dirty="0">
              <a:ea typeface="MS PGothic" pitchFamily="34" charset="-128"/>
            </a:endParaRPr>
          </a:p>
        </p:txBody>
      </p:sp>
      <p:sp>
        <p:nvSpPr>
          <p:cNvPr id="9" name="Title 4"/>
          <p:cNvSpPr txBox="1">
            <a:spLocks/>
          </p:cNvSpPr>
          <p:nvPr/>
        </p:nvSpPr>
        <p:spPr bwMode="auto">
          <a:xfrm>
            <a:off x="99132" y="5607712"/>
            <a:ext cx="8559800" cy="11079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9298" algn="l"/>
              </a:tabLst>
              <a:defRPr/>
            </a:pPr>
            <a:r>
              <a:rPr lang="en-US" sz="1800" i="1" kern="0" cap="all" dirty="0" smtClean="0">
                <a:latin typeface="Calibri" pitchFamily="34" charset="0"/>
                <a:ea typeface="MS PGothic" pitchFamily="34" charset="-128"/>
                <a:cs typeface="Calibri" pitchFamily="34" charset="0"/>
              </a:rPr>
              <a:t>Presented by:</a:t>
            </a:r>
          </a:p>
          <a:p>
            <a:pPr marL="0" marR="0" lvl="0" indent="0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9298" algn="l"/>
              </a:tabLst>
              <a:defRPr/>
            </a:pPr>
            <a:r>
              <a:rPr kumimoji="0" lang="en-US" sz="1800" b="1" u="none" strike="noStrike" kern="0" cap="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ea typeface="MS PGothic" pitchFamily="34" charset="-128"/>
                <a:cs typeface="Calibri" pitchFamily="34" charset="0"/>
              </a:rPr>
              <a:t>Mr. Bharat Rohra  &amp; Mr. </a:t>
            </a:r>
            <a:r>
              <a:rPr kumimoji="0" lang="en-US" sz="1800" b="1" u="none" strike="noStrike" kern="0" cap="all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ea typeface="MS PGothic" pitchFamily="34" charset="-128"/>
                <a:cs typeface="Calibri" pitchFamily="34" charset="0"/>
              </a:rPr>
              <a:t>gaurav</a:t>
            </a:r>
            <a:r>
              <a:rPr kumimoji="0" lang="en-US" sz="1800" b="1" u="none" strike="noStrike" kern="0" cap="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ea typeface="MS PGothic" pitchFamily="34" charset="-128"/>
                <a:cs typeface="Calibri" pitchFamily="34" charset="0"/>
              </a:rPr>
              <a:t> agarwal</a:t>
            </a:r>
          </a:p>
          <a:p>
            <a:pPr marL="0" marR="0" lvl="0" indent="0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9298" algn="l"/>
              </a:tabLst>
              <a:defRPr/>
            </a:pPr>
            <a:r>
              <a:rPr lang="en-US" sz="1800" b="1" kern="0" cap="all" dirty="0" smtClean="0">
                <a:latin typeface="Calibri" pitchFamily="34" charset="0"/>
                <a:ea typeface="MS PGothic" pitchFamily="34" charset="-128"/>
                <a:cs typeface="Calibri" pitchFamily="34" charset="0"/>
              </a:rPr>
              <a:t>President &amp; CEO – Power</a:t>
            </a:r>
          </a:p>
          <a:p>
            <a:pPr marL="0" marR="0" lvl="0" indent="0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9298" algn="l"/>
              </a:tabLst>
              <a:defRPr/>
            </a:pPr>
            <a:r>
              <a:rPr kumimoji="0" lang="en-US" sz="1800" b="1" u="none" strike="noStrike" kern="0" cap="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ea typeface="MS PGothic" pitchFamily="34" charset="-128"/>
                <a:cs typeface="Calibri" pitchFamily="34" charset="0"/>
              </a:rPr>
              <a:t>Africa power projects</a:t>
            </a:r>
            <a:endParaRPr kumimoji="0" lang="en-US" sz="1800" b="1" u="none" strike="noStrike" kern="0" cap="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itchFamily="34" charset="0"/>
              <a:ea typeface="MS PGothic" pitchFamily="34" charset="-128"/>
              <a:cs typeface="Calibri" pitchFamily="34" charset="0"/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639716" y="2060814"/>
            <a:ext cx="4993839" cy="2197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05" y="14223"/>
            <a:ext cx="8794113" cy="738664"/>
          </a:xfrm>
        </p:spPr>
        <p:txBody>
          <a:bodyPr/>
          <a:lstStyle/>
          <a:p>
            <a:r>
              <a:rPr lang="en-US" sz="2400" dirty="0" smtClean="0"/>
              <a:t>Other than South Africa, most of the generation in the continent </a:t>
            </a:r>
            <a:br>
              <a:rPr lang="en-US" sz="2400" dirty="0" smtClean="0"/>
            </a:br>
            <a:r>
              <a:rPr lang="en-US" sz="2400" dirty="0" smtClean="0"/>
              <a:t>is dependent upon Hydro or Gas Fired Power Plants</a:t>
            </a:r>
            <a:endParaRPr lang="en-US" sz="2400" dirty="0"/>
          </a:p>
        </p:txBody>
      </p:sp>
      <p:pic>
        <p:nvPicPr>
          <p:cNvPr id="6349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3648" y="1861226"/>
            <a:ext cx="9116704" cy="43621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8"/>
          <p:cNvSpPr/>
          <p:nvPr/>
        </p:nvSpPr>
        <p:spPr>
          <a:xfrm>
            <a:off x="6564573" y="2279190"/>
            <a:ext cx="545911" cy="3398293"/>
          </a:xfrm>
          <a:prstGeom prst="rect">
            <a:avLst/>
          </a:prstGeom>
          <a:noFill/>
          <a:ln w="222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963773" y="2281462"/>
            <a:ext cx="545911" cy="3398293"/>
          </a:xfrm>
          <a:prstGeom prst="rect">
            <a:avLst/>
          </a:prstGeom>
          <a:noFill/>
          <a:ln w="222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-54592" y="982622"/>
            <a:ext cx="944424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Energy majors like Nigeria and Egypt source more than 70% of their energy requirements from  gas based plants</a:t>
            </a:r>
            <a:endParaRPr lang="en-GB" dirty="0"/>
          </a:p>
        </p:txBody>
      </p:sp>
      <p:sp>
        <p:nvSpPr>
          <p:cNvPr id="14" name="TextBox 13"/>
          <p:cNvSpPr txBox="1"/>
          <p:nvPr/>
        </p:nvSpPr>
        <p:spPr>
          <a:xfrm>
            <a:off x="-76200" y="6553200"/>
            <a:ext cx="328808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smtClean="0"/>
              <a:t>Source: </a:t>
            </a:r>
            <a:r>
              <a:rPr lang="en-GB" sz="1000" dirty="0" err="1" smtClean="0"/>
              <a:t>Ecobank</a:t>
            </a:r>
            <a:r>
              <a:rPr lang="en-GB" sz="1000" dirty="0" smtClean="0"/>
              <a:t> Power Sector Report 2014, </a:t>
            </a:r>
            <a:r>
              <a:rPr lang="en-GB" sz="1000" dirty="0" err="1" smtClean="0"/>
              <a:t>wikipedia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xmlns="" val="124311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21489" y="-19137"/>
            <a:ext cx="8794113" cy="738664"/>
          </a:xfrm>
        </p:spPr>
        <p:txBody>
          <a:bodyPr/>
          <a:lstStyle/>
          <a:p>
            <a:r>
              <a:rPr lang="en-US" sz="2400" dirty="0" smtClean="0"/>
              <a:t>Average electricity tariffs in Africa are higher than those </a:t>
            </a:r>
            <a:br>
              <a:rPr lang="en-US" sz="2400" dirty="0" smtClean="0"/>
            </a:br>
            <a:r>
              <a:rPr lang="en-US" sz="2400" dirty="0" smtClean="0"/>
              <a:t>in countries with dominant </a:t>
            </a:r>
            <a:r>
              <a:rPr lang="en-US" sz="2400" dirty="0"/>
              <a:t>C</a:t>
            </a:r>
            <a:r>
              <a:rPr lang="en-US" sz="2400" dirty="0" smtClean="0"/>
              <a:t>oal &amp; Hydro based power supply</a:t>
            </a:r>
            <a:endParaRPr lang="en-US" sz="2400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152400" y="762000"/>
          <a:ext cx="8077200" cy="2926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92400"/>
                <a:gridCol w="2692400"/>
                <a:gridCol w="2692400"/>
              </a:tblGrid>
              <a:tr h="364464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>
                          <a:latin typeface="Calibri" pitchFamily="34" charset="0"/>
                        </a:rPr>
                        <a:t>Country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>
                          <a:latin typeface="Calibri" pitchFamily="34" charset="0"/>
                        </a:rPr>
                        <a:t>Average Tariff </a:t>
                      </a:r>
                    </a:p>
                    <a:p>
                      <a:pPr algn="ctr"/>
                      <a:r>
                        <a:rPr lang="en-GB" sz="1600" dirty="0" smtClean="0">
                          <a:latin typeface="Calibri" pitchFamily="34" charset="0"/>
                        </a:rPr>
                        <a:t>(US</a:t>
                      </a:r>
                      <a:r>
                        <a:rPr lang="en-GB" sz="1600" baseline="0" dirty="0" smtClean="0">
                          <a:latin typeface="Calibri" pitchFamily="34" charset="0"/>
                        </a:rPr>
                        <a:t> cent</a:t>
                      </a:r>
                      <a:r>
                        <a:rPr lang="en-GB" sz="1600" dirty="0" smtClean="0">
                          <a:latin typeface="Calibri" pitchFamily="34" charset="0"/>
                        </a:rPr>
                        <a:t> / Kwh)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>
                          <a:latin typeface="Calibri" pitchFamily="34" charset="0"/>
                        </a:rPr>
                        <a:t>Major Source</a:t>
                      </a:r>
                      <a:r>
                        <a:rPr lang="en-GB" sz="1600" baseline="0" dirty="0" smtClean="0">
                          <a:latin typeface="Calibri" pitchFamily="34" charset="0"/>
                        </a:rPr>
                        <a:t> of Power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</a:tr>
              <a:tr h="211005">
                <a:tc>
                  <a:txBody>
                    <a:bodyPr/>
                    <a:lstStyle/>
                    <a:p>
                      <a:r>
                        <a:rPr lang="en-GB" sz="1600" dirty="0" smtClean="0">
                          <a:latin typeface="Calibri" pitchFamily="34" charset="0"/>
                        </a:rPr>
                        <a:t>India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>
                          <a:latin typeface="Calibri" pitchFamily="34" charset="0"/>
                        </a:rPr>
                        <a:t>6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>
                          <a:latin typeface="Calibri" pitchFamily="34" charset="0"/>
                        </a:rPr>
                        <a:t>Coal / Hydro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</a:tr>
              <a:tr h="211005">
                <a:tc>
                  <a:txBody>
                    <a:bodyPr/>
                    <a:lstStyle/>
                    <a:p>
                      <a:r>
                        <a:rPr lang="en-GB" sz="1600" dirty="0" smtClean="0">
                          <a:latin typeface="Calibri" pitchFamily="34" charset="0"/>
                        </a:rPr>
                        <a:t>China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>
                          <a:latin typeface="Calibri" pitchFamily="34" charset="0"/>
                        </a:rPr>
                        <a:t>8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>
                          <a:latin typeface="Calibri" pitchFamily="34" charset="0"/>
                        </a:rPr>
                        <a:t>Coal / Hydro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</a:tr>
              <a:tr h="211005">
                <a:tc>
                  <a:txBody>
                    <a:bodyPr/>
                    <a:lstStyle/>
                    <a:p>
                      <a:r>
                        <a:rPr lang="en-GB" sz="1600" dirty="0" smtClean="0">
                          <a:latin typeface="Calibri" pitchFamily="34" charset="0"/>
                        </a:rPr>
                        <a:t>South Africa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>
                          <a:latin typeface="Calibri" pitchFamily="34" charset="0"/>
                        </a:rPr>
                        <a:t>11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>
                          <a:latin typeface="Calibri" pitchFamily="34" charset="0"/>
                        </a:rPr>
                        <a:t>Coal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</a:tr>
              <a:tr h="211005">
                <a:tc>
                  <a:txBody>
                    <a:bodyPr/>
                    <a:lstStyle/>
                    <a:p>
                      <a:r>
                        <a:rPr lang="en-GB" sz="1600" dirty="0" smtClean="0">
                          <a:latin typeface="Calibri" pitchFamily="34" charset="0"/>
                        </a:rPr>
                        <a:t>Russia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>
                          <a:latin typeface="Calibri" pitchFamily="34" charset="0"/>
                        </a:rPr>
                        <a:t>11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>
                          <a:latin typeface="Calibri" pitchFamily="34" charset="0"/>
                        </a:rPr>
                        <a:t>Coal / Hydro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</a:tr>
              <a:tr h="211005">
                <a:tc>
                  <a:txBody>
                    <a:bodyPr/>
                    <a:lstStyle/>
                    <a:p>
                      <a:r>
                        <a:rPr lang="en-GB" sz="1600" dirty="0" smtClean="0">
                          <a:latin typeface="Calibri" pitchFamily="34" charset="0"/>
                        </a:rPr>
                        <a:t>US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>
                          <a:latin typeface="Calibri" pitchFamily="34" charset="0"/>
                        </a:rPr>
                        <a:t>12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>
                          <a:latin typeface="Calibri" pitchFamily="34" charset="0"/>
                        </a:rPr>
                        <a:t>Coal / Hydro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</a:tr>
              <a:tr h="211005">
                <a:tc>
                  <a:txBody>
                    <a:bodyPr/>
                    <a:lstStyle/>
                    <a:p>
                      <a:r>
                        <a:rPr lang="en-GB" sz="1600" dirty="0" smtClean="0">
                          <a:latin typeface="Calibri" pitchFamily="34" charset="0"/>
                        </a:rPr>
                        <a:t>African</a:t>
                      </a:r>
                      <a:r>
                        <a:rPr lang="en-GB" sz="1600" baseline="0" dirty="0" smtClean="0">
                          <a:latin typeface="Calibri" pitchFamily="34" charset="0"/>
                        </a:rPr>
                        <a:t> Continent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>
                          <a:latin typeface="Calibri" pitchFamily="34" charset="0"/>
                        </a:rPr>
                        <a:t>13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>
                          <a:latin typeface="Calibri" pitchFamily="34" charset="0"/>
                        </a:rPr>
                        <a:t>Coal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</a:tr>
              <a:tr h="211005">
                <a:tc>
                  <a:txBody>
                    <a:bodyPr/>
                    <a:lstStyle/>
                    <a:p>
                      <a:r>
                        <a:rPr lang="en-GB" sz="1600" dirty="0" smtClean="0">
                          <a:latin typeface="Calibri" pitchFamily="34" charset="0"/>
                        </a:rPr>
                        <a:t>Australia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>
                          <a:latin typeface="Calibri" pitchFamily="34" charset="0"/>
                        </a:rPr>
                        <a:t>29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>
                          <a:latin typeface="Calibri" pitchFamily="34" charset="0"/>
                        </a:rPr>
                        <a:t>Coal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" name="Rectangle 7"/>
          <p:cNvSpPr/>
          <p:nvPr/>
        </p:nvSpPr>
        <p:spPr>
          <a:xfrm>
            <a:off x="101600" y="2960996"/>
            <a:ext cx="8331200" cy="457200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12700" y="6642100"/>
            <a:ext cx="257314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smtClean="0"/>
              <a:t>Source: IEA 2011, World Coal Association</a:t>
            </a:r>
            <a:endParaRPr lang="en-GB" sz="1000" dirty="0"/>
          </a:p>
        </p:txBody>
      </p:sp>
      <p:sp>
        <p:nvSpPr>
          <p:cNvPr id="10" name="Rectangle 7"/>
          <p:cNvSpPr txBox="1"/>
          <p:nvPr/>
        </p:nvSpPr>
        <p:spPr>
          <a:xfrm>
            <a:off x="161354" y="3704610"/>
            <a:ext cx="8842946" cy="2954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sz="2000">
                <a:latin typeface="Calibri" pitchFamily="34" charset="0"/>
                <a:cs typeface="Calibri" pitchFamily="34" charset="0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2000">
                <a:latin typeface="Calibri" pitchFamily="34" charset="0"/>
                <a:cs typeface="Calibri" pitchFamily="34" charset="0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2000">
                <a:latin typeface="Calibri" pitchFamily="34" charset="0"/>
                <a:cs typeface="Calibri" pitchFamily="34" charset="0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2000">
                <a:latin typeface="Calibri" pitchFamily="34" charset="0"/>
                <a:cs typeface="Calibri" pitchFamily="34" charset="0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sz="2000">
                <a:latin typeface="Calibri" pitchFamily="34" charset="0"/>
                <a:cs typeface="Calibri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algn="just"/>
            <a:r>
              <a:rPr lang="en-US" sz="1600" dirty="0" err="1" smtClean="0"/>
              <a:t>Inspite</a:t>
            </a:r>
            <a:r>
              <a:rPr lang="en-US" sz="1600" dirty="0" smtClean="0"/>
              <a:t> of being protected, tariffs in Africa are still higher than developing economies</a:t>
            </a:r>
          </a:p>
          <a:p>
            <a:pPr lvl="1" algn="just"/>
            <a:endParaRPr lang="en-US" sz="600" dirty="0" smtClean="0"/>
          </a:p>
          <a:p>
            <a:pPr lvl="1" algn="just"/>
            <a:r>
              <a:rPr lang="en-US" sz="1600" dirty="0" smtClean="0"/>
              <a:t>Low cost of electricity production from coal should translate into lower tariffs</a:t>
            </a:r>
          </a:p>
          <a:p>
            <a:pPr lvl="1" algn="just"/>
            <a:endParaRPr lang="en-US" sz="700" dirty="0" smtClean="0"/>
          </a:p>
          <a:p>
            <a:pPr lvl="1" algn="just"/>
            <a:r>
              <a:rPr lang="en-US" sz="1600" dirty="0" smtClean="0"/>
              <a:t>According to IEA statistics, coal-based electricity is, on average, 7% cheaper than gas and around 19% cheaper than nuclear</a:t>
            </a:r>
          </a:p>
          <a:p>
            <a:pPr lvl="1" algn="just"/>
            <a:endParaRPr lang="en-US" sz="800" dirty="0" smtClean="0"/>
          </a:p>
          <a:p>
            <a:pPr lvl="1" algn="just"/>
            <a:r>
              <a:rPr lang="en-US" sz="1600" dirty="0" smtClean="0"/>
              <a:t>IEA and European Commission studies show that onshore wind costs between US$50 and US$156 per </a:t>
            </a:r>
            <a:r>
              <a:rPr lang="en-US" sz="1600" dirty="0" err="1" smtClean="0"/>
              <a:t>MWh</a:t>
            </a:r>
            <a:r>
              <a:rPr lang="en-US" sz="1600" dirty="0" smtClean="0"/>
              <a:t> and PVs between US$226 to US$2031</a:t>
            </a:r>
          </a:p>
          <a:p>
            <a:pPr lvl="1" algn="just"/>
            <a:endParaRPr lang="en-US" sz="700" dirty="0" smtClean="0"/>
          </a:p>
          <a:p>
            <a:pPr lvl="1" algn="just"/>
            <a:r>
              <a:rPr lang="en-US" sz="1600" dirty="0" smtClean="0"/>
              <a:t>In certain locations hydro resources can produce electricity at a cost comparable to coal, however estimates vary greatly according to geographic conditions and the final price can be as high as US$240 and US$262 per </a:t>
            </a:r>
            <a:r>
              <a:rPr lang="en-US" sz="1600" dirty="0" err="1" smtClean="0"/>
              <a:t>MWh</a:t>
            </a:r>
            <a:endParaRPr lang="en-US" sz="1600" dirty="0" smtClean="0"/>
          </a:p>
          <a:p>
            <a:pPr lvl="1" algn="just"/>
            <a:endParaRPr lang="en-US" sz="400" dirty="0" smtClean="0"/>
          </a:p>
          <a:p>
            <a:pPr lvl="1" algn="just"/>
            <a:r>
              <a:rPr lang="en-US" sz="1600" dirty="0" smtClean="0"/>
              <a:t>In comparison, electricity from coal costs between US$56 to US$82 per </a:t>
            </a:r>
            <a:r>
              <a:rPr lang="en-US" sz="1600" dirty="0" err="1" smtClean="0"/>
              <a:t>MWh</a:t>
            </a:r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xmlns="" val="124311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120563"/>
            <a:ext cx="8794113" cy="461665"/>
          </a:xfrm>
        </p:spPr>
        <p:txBody>
          <a:bodyPr/>
          <a:lstStyle/>
          <a:p>
            <a:r>
              <a:rPr lang="en-US" dirty="0" smtClean="0"/>
              <a:t>What Africa Needs – Jindal Experience</a:t>
            </a:r>
            <a:endParaRPr lang="en-US" dirty="0"/>
          </a:p>
        </p:txBody>
      </p:sp>
      <p:sp>
        <p:nvSpPr>
          <p:cNvPr id="7" name="Rectangle 7"/>
          <p:cNvSpPr txBox="1"/>
          <p:nvPr/>
        </p:nvSpPr>
        <p:spPr>
          <a:xfrm>
            <a:off x="97854" y="833478"/>
            <a:ext cx="8842946" cy="5816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sz="2000">
                <a:latin typeface="Calibri" pitchFamily="34" charset="0"/>
                <a:cs typeface="Calibri" pitchFamily="34" charset="0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2000">
                <a:latin typeface="Calibri" pitchFamily="34" charset="0"/>
                <a:cs typeface="Calibri" pitchFamily="34" charset="0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2000">
                <a:latin typeface="Calibri" pitchFamily="34" charset="0"/>
                <a:cs typeface="Calibri" pitchFamily="34" charset="0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2000">
                <a:latin typeface="Calibri" pitchFamily="34" charset="0"/>
                <a:cs typeface="Calibri" pitchFamily="34" charset="0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sz="2000">
                <a:latin typeface="Calibri" pitchFamily="34" charset="0"/>
                <a:cs typeface="Calibri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lvl="1" indent="1588" algn="just">
              <a:buNone/>
            </a:pPr>
            <a:r>
              <a:rPr lang="en-US" sz="1800" dirty="0" smtClean="0"/>
              <a:t>51 out of 54 countries in the African continent, account for more than 50% of energy consumption. The other three countries – South Africa, Nigeria &amp; Egypt are largest consumers in Africa and also contributors to the Power Pools. Most of the other countries have a double or at best triple digit power demand in the next decade and can meet the demand by working on:</a:t>
            </a:r>
          </a:p>
          <a:p>
            <a:pPr lvl="1" algn="just"/>
            <a:endParaRPr lang="en-US" sz="1800" dirty="0" smtClean="0"/>
          </a:p>
          <a:p>
            <a:pPr lvl="1" algn="just"/>
            <a:r>
              <a:rPr lang="en-US" sz="1800" dirty="0" smtClean="0"/>
              <a:t>Cheap and reliable power</a:t>
            </a:r>
          </a:p>
          <a:p>
            <a:pPr lvl="1" algn="just"/>
            <a:endParaRPr lang="en-US" sz="1800" dirty="0" smtClean="0"/>
          </a:p>
          <a:p>
            <a:pPr lvl="1" algn="just"/>
            <a:r>
              <a:rPr lang="en-US" sz="1800" dirty="0" smtClean="0"/>
              <a:t>Low </a:t>
            </a:r>
            <a:r>
              <a:rPr lang="en-US" sz="1800" dirty="0" err="1" smtClean="0"/>
              <a:t>capex</a:t>
            </a:r>
            <a:r>
              <a:rPr lang="en-US" sz="1800" dirty="0" smtClean="0"/>
              <a:t>, small gestation period projects</a:t>
            </a:r>
          </a:p>
          <a:p>
            <a:pPr lvl="1" algn="just">
              <a:buNone/>
            </a:pPr>
            <a:endParaRPr lang="en-US" sz="1800" dirty="0" smtClean="0"/>
          </a:p>
          <a:p>
            <a:pPr lvl="1" algn="just"/>
            <a:r>
              <a:rPr lang="en-US" sz="1800" dirty="0" smtClean="0"/>
              <a:t>Base load power to meet basic demand</a:t>
            </a:r>
          </a:p>
          <a:p>
            <a:pPr lvl="1" algn="just"/>
            <a:endParaRPr lang="en-US" sz="1800" dirty="0" smtClean="0"/>
          </a:p>
          <a:p>
            <a:pPr lvl="1" algn="just"/>
            <a:r>
              <a:rPr lang="en-US" sz="1800" dirty="0" smtClean="0"/>
              <a:t>Interconnected power pools</a:t>
            </a:r>
          </a:p>
          <a:p>
            <a:pPr lvl="1" algn="just"/>
            <a:endParaRPr lang="en-US" sz="1800" dirty="0" smtClean="0"/>
          </a:p>
          <a:p>
            <a:pPr lvl="1" algn="just"/>
            <a:r>
              <a:rPr lang="en-US" sz="1800" dirty="0" smtClean="0"/>
              <a:t>Higher incidence of IPP participation</a:t>
            </a:r>
          </a:p>
          <a:p>
            <a:pPr lvl="1" algn="just"/>
            <a:endParaRPr lang="en-US" sz="1800" dirty="0" smtClean="0"/>
          </a:p>
          <a:p>
            <a:pPr lvl="1" algn="just"/>
            <a:r>
              <a:rPr lang="en-US" sz="1800" dirty="0" smtClean="0"/>
              <a:t>Increase in electrification rate</a:t>
            </a:r>
          </a:p>
          <a:p>
            <a:pPr lvl="1" algn="just">
              <a:buNone/>
            </a:pPr>
            <a:endParaRPr lang="en-US" sz="1800" dirty="0" smtClean="0"/>
          </a:p>
          <a:p>
            <a:pPr lvl="1" algn="just"/>
            <a:endParaRPr lang="en-US" sz="1800" dirty="0" smtClean="0"/>
          </a:p>
          <a:p>
            <a:pPr lvl="1" algn="just"/>
            <a:endParaRPr lang="en-US" sz="1800" dirty="0" smtClean="0"/>
          </a:p>
          <a:p>
            <a:pPr lvl="1" algn="just"/>
            <a:endParaRPr lang="en-US" sz="1800" dirty="0" smtClean="0"/>
          </a:p>
        </p:txBody>
      </p:sp>
      <p:cxnSp>
        <p:nvCxnSpPr>
          <p:cNvPr id="5" name="Straight Connector 4"/>
          <p:cNvCxnSpPr/>
          <p:nvPr/>
        </p:nvCxnSpPr>
        <p:spPr>
          <a:xfrm>
            <a:off x="4339984" y="2292821"/>
            <a:ext cx="0" cy="3739487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Table 7"/>
          <p:cNvGraphicFramePr>
            <a:graphicFrameLocks noGrp="1"/>
          </p:cNvGraphicFramePr>
          <p:nvPr/>
        </p:nvGraphicFramePr>
        <p:xfrm>
          <a:off x="4390024" y="2325048"/>
          <a:ext cx="4658439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2813"/>
                <a:gridCol w="1552813"/>
                <a:gridCol w="1552813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Country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Demand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Supply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South Africa*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35,364 MW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34,970 MW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Nigeria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16,000 MW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5,000 MW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Egypt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27,000 MW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24, 500 MW</a:t>
                      </a:r>
                      <a:endParaRPr lang="en-GB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-12700" y="6642100"/>
            <a:ext cx="25346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smtClean="0"/>
              <a:t>Source: Daily News (Egypt), Nigeria Intel </a:t>
            </a:r>
            <a:endParaRPr lang="en-GB" sz="1000" dirty="0"/>
          </a:p>
        </p:txBody>
      </p:sp>
      <p:sp>
        <p:nvSpPr>
          <p:cNvPr id="10" name="TextBox 9"/>
          <p:cNvSpPr txBox="1"/>
          <p:nvPr/>
        </p:nvSpPr>
        <p:spPr>
          <a:xfrm>
            <a:off x="4329561" y="3839752"/>
            <a:ext cx="468910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smtClean="0"/>
              <a:t>*Gap experienced for the first time in 2013. Expected to increase to 700 MW in </a:t>
            </a:r>
          </a:p>
          <a:p>
            <a:r>
              <a:rPr lang="en-GB" sz="1000" dirty="0" smtClean="0"/>
              <a:t>  2014 due to delays in commissioning of </a:t>
            </a:r>
            <a:r>
              <a:rPr lang="en-GB" sz="1000" dirty="0" err="1" smtClean="0"/>
              <a:t>Medupi</a:t>
            </a:r>
            <a:r>
              <a:rPr lang="en-GB" sz="1000" dirty="0" smtClean="0"/>
              <a:t> Power Plant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xmlns="" val="124311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11379"/>
            <a:ext cx="8794113" cy="461665"/>
          </a:xfrm>
        </p:spPr>
        <p:txBody>
          <a:bodyPr/>
          <a:lstStyle/>
          <a:p>
            <a:r>
              <a:rPr lang="en-US" dirty="0" smtClean="0"/>
              <a:t>Potential of Coal Power in Africa </a:t>
            </a:r>
            <a:endParaRPr 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 bwMode="auto">
          <a:xfrm>
            <a:off x="122832" y="464599"/>
            <a:ext cx="8794113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9298" algn="l"/>
              </a:tabLst>
              <a:defRPr/>
            </a:pPr>
            <a:r>
              <a:rPr lang="en-US" sz="2400" kern="0" noProof="0" dirty="0" smtClean="0">
                <a:solidFill>
                  <a:schemeClr val="tx2"/>
                </a:solidFill>
                <a:latin typeface="Calibri" pitchFamily="34" charset="0"/>
                <a:ea typeface="+mj-ea"/>
                <a:cs typeface="Calibri" pitchFamily="34" charset="0"/>
              </a:rPr>
              <a:t>Amongst all possible sources of power generation, coal based power plant is ideal to meet energy demands in Africa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alibri" pitchFamily="34" charset="0"/>
              <a:ea typeface="+mj-ea"/>
              <a:cs typeface="Calibri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186520" y="1342408"/>
          <a:ext cx="8384275" cy="49355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6855"/>
                <a:gridCol w="1676855"/>
                <a:gridCol w="1676855"/>
                <a:gridCol w="1676855"/>
                <a:gridCol w="1676855"/>
              </a:tblGrid>
              <a:tr h="836536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>
                          <a:latin typeface="Calibri" pitchFamily="34" charset="0"/>
                        </a:rPr>
                        <a:t>Source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>
                          <a:latin typeface="Calibri" pitchFamily="34" charset="0"/>
                        </a:rPr>
                        <a:t>Average Development</a:t>
                      </a:r>
                      <a:r>
                        <a:rPr lang="en-GB" sz="1600" baseline="0" dirty="0" smtClean="0">
                          <a:latin typeface="Calibri" pitchFamily="34" charset="0"/>
                        </a:rPr>
                        <a:t> Period*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err="1" smtClean="0">
                          <a:latin typeface="Calibri" pitchFamily="34" charset="0"/>
                        </a:rPr>
                        <a:t>Capex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>
                          <a:latin typeface="Calibri" pitchFamily="34" charset="0"/>
                        </a:rPr>
                        <a:t>Type of Power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>
                          <a:latin typeface="Calibri" pitchFamily="34" charset="0"/>
                        </a:rPr>
                        <a:t>Ease of Expansion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</a:tr>
              <a:tr h="585575">
                <a:tc>
                  <a:txBody>
                    <a:bodyPr/>
                    <a:lstStyle/>
                    <a:p>
                      <a:r>
                        <a:rPr lang="en-GB" sz="1600" dirty="0" smtClean="0">
                          <a:latin typeface="Calibri" pitchFamily="34" charset="0"/>
                        </a:rPr>
                        <a:t>Coal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>
                          <a:latin typeface="Calibri" pitchFamily="34" charset="0"/>
                        </a:rPr>
                        <a:t>36 months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>
                          <a:latin typeface="Calibri" pitchFamily="34" charset="0"/>
                        </a:rPr>
                        <a:t>US$ 1</a:t>
                      </a:r>
                      <a:r>
                        <a:rPr lang="en-GB" sz="1600" baseline="0" dirty="0" smtClean="0">
                          <a:latin typeface="Calibri" pitchFamily="34" charset="0"/>
                        </a:rPr>
                        <a:t> mn / MW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>
                          <a:latin typeface="Calibri" pitchFamily="34" charset="0"/>
                        </a:rPr>
                        <a:t>Base Load / Grid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>
                          <a:latin typeface="Calibri" pitchFamily="34" charset="0"/>
                        </a:rPr>
                        <a:t>Yes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</a:tr>
              <a:tr h="585575">
                <a:tc>
                  <a:txBody>
                    <a:bodyPr/>
                    <a:lstStyle/>
                    <a:p>
                      <a:r>
                        <a:rPr lang="en-GB" sz="1600" dirty="0" smtClean="0">
                          <a:latin typeface="Calibri" pitchFamily="34" charset="0"/>
                        </a:rPr>
                        <a:t>Hydro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60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>
                          <a:latin typeface="Calibri" pitchFamily="34" charset="0"/>
                        </a:rPr>
                        <a:t>Peak Power</a:t>
                      </a:r>
                      <a:r>
                        <a:rPr lang="en-GB" sz="1600" baseline="0" dirty="0" smtClean="0">
                          <a:latin typeface="Calibri" pitchFamily="34" charset="0"/>
                        </a:rPr>
                        <a:t> / Grid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>
                          <a:latin typeface="Calibri" pitchFamily="34" charset="0"/>
                        </a:rPr>
                        <a:t>No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</a:tr>
              <a:tr h="585575">
                <a:tc>
                  <a:txBody>
                    <a:bodyPr/>
                    <a:lstStyle/>
                    <a:p>
                      <a:r>
                        <a:rPr lang="en-GB" sz="1600" dirty="0" smtClean="0">
                          <a:latin typeface="Calibri" pitchFamily="34" charset="0"/>
                        </a:rPr>
                        <a:t>Oil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>
                          <a:latin typeface="Calibri" pitchFamily="34" charset="0"/>
                        </a:rPr>
                        <a:t>Base Load</a:t>
                      </a:r>
                      <a:r>
                        <a:rPr lang="en-GB" sz="1600" baseline="0" dirty="0" smtClean="0">
                          <a:latin typeface="Calibri" pitchFamily="34" charset="0"/>
                        </a:rPr>
                        <a:t> – Peaking / Grid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</a:tr>
              <a:tr h="585575">
                <a:tc>
                  <a:txBody>
                    <a:bodyPr/>
                    <a:lstStyle/>
                    <a:p>
                      <a:r>
                        <a:rPr lang="en-GB" sz="1600" dirty="0" smtClean="0">
                          <a:latin typeface="Calibri" pitchFamily="34" charset="0"/>
                        </a:rPr>
                        <a:t>Wind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 smtClean="0">
                          <a:latin typeface="Calibri" pitchFamily="34" charset="0"/>
                        </a:rPr>
                        <a:t>Peak Power / Grid –Off Grid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>
                          <a:latin typeface="Calibri" pitchFamily="34" charset="0"/>
                        </a:rPr>
                        <a:t>Yes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</a:tr>
              <a:tr h="585575">
                <a:tc>
                  <a:txBody>
                    <a:bodyPr/>
                    <a:lstStyle/>
                    <a:p>
                      <a:r>
                        <a:rPr lang="en-GB" sz="1600" dirty="0" smtClean="0">
                          <a:latin typeface="Calibri" pitchFamily="34" charset="0"/>
                        </a:rPr>
                        <a:t>Gas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 smtClean="0">
                          <a:latin typeface="Calibri" pitchFamily="34" charset="0"/>
                        </a:rPr>
                        <a:t>Base Load / Grid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</a:tr>
              <a:tr h="585575">
                <a:tc>
                  <a:txBody>
                    <a:bodyPr/>
                    <a:lstStyle/>
                    <a:p>
                      <a:r>
                        <a:rPr lang="en-GB" sz="1600" dirty="0" smtClean="0">
                          <a:latin typeface="Calibri" pitchFamily="34" charset="0"/>
                        </a:rPr>
                        <a:t>Nuclear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>
                          <a:latin typeface="Calibri" pitchFamily="34" charset="0"/>
                        </a:rPr>
                        <a:t>Base Load / Grid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>
                          <a:latin typeface="Calibri" pitchFamily="34" charset="0"/>
                        </a:rPr>
                        <a:t>No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</a:tr>
              <a:tr h="585575">
                <a:tc>
                  <a:txBody>
                    <a:bodyPr/>
                    <a:lstStyle/>
                    <a:p>
                      <a:r>
                        <a:rPr lang="en-GB" sz="1600" dirty="0" smtClean="0">
                          <a:latin typeface="Calibri" pitchFamily="34" charset="0"/>
                        </a:rPr>
                        <a:t>Solar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>
                          <a:latin typeface="Calibri" pitchFamily="34" charset="0"/>
                        </a:rPr>
                        <a:t>Peak Power / Grid –Off Grid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>
                          <a:latin typeface="Calibri" pitchFamily="34" charset="0"/>
                        </a:rPr>
                        <a:t>Yes</a:t>
                      </a:r>
                      <a:endParaRPr lang="en-GB" sz="1600" dirty="0">
                        <a:latin typeface="Calibri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92017" y="6328202"/>
            <a:ext cx="7104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smtClean="0"/>
              <a:t>*300 MW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xmlns="" val="124311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120563"/>
            <a:ext cx="8794113" cy="461665"/>
          </a:xfrm>
        </p:spPr>
        <p:txBody>
          <a:bodyPr/>
          <a:lstStyle/>
          <a:p>
            <a:r>
              <a:rPr lang="en-US" dirty="0" smtClean="0"/>
              <a:t>Incidence of Coal Deposits in Africa</a:t>
            </a:r>
            <a:endParaRPr lang="en-US" dirty="0"/>
          </a:p>
        </p:txBody>
      </p:sp>
      <p:sp>
        <p:nvSpPr>
          <p:cNvPr id="7" name="Rectangle 7"/>
          <p:cNvSpPr txBox="1"/>
          <p:nvPr/>
        </p:nvSpPr>
        <p:spPr>
          <a:xfrm>
            <a:off x="97854" y="935078"/>
            <a:ext cx="8842946" cy="52322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sz="2000">
                <a:latin typeface="Calibri" pitchFamily="34" charset="0"/>
                <a:cs typeface="Calibri" pitchFamily="34" charset="0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2000">
                <a:latin typeface="Calibri" pitchFamily="34" charset="0"/>
                <a:cs typeface="Calibri" pitchFamily="34" charset="0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2000">
                <a:latin typeface="Calibri" pitchFamily="34" charset="0"/>
                <a:cs typeface="Calibri" pitchFamily="34" charset="0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2000">
                <a:latin typeface="Calibri" pitchFamily="34" charset="0"/>
                <a:cs typeface="Calibri" pitchFamily="34" charset="0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sz="2000">
                <a:latin typeface="Calibri" pitchFamily="34" charset="0"/>
                <a:cs typeface="Calibri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algn="just"/>
            <a:r>
              <a:rPr lang="en-US" dirty="0" smtClean="0"/>
              <a:t>South Africa has 30 bn </a:t>
            </a:r>
            <a:r>
              <a:rPr lang="en-US" dirty="0" err="1" smtClean="0"/>
              <a:t>tonne</a:t>
            </a:r>
            <a:r>
              <a:rPr lang="en-US" dirty="0" smtClean="0"/>
              <a:t> of proven coal deposits, mines in excess of 250 mn </a:t>
            </a:r>
            <a:r>
              <a:rPr lang="en-US" dirty="0" err="1" smtClean="0"/>
              <a:t>tonne</a:t>
            </a:r>
            <a:r>
              <a:rPr lang="en-US" dirty="0" smtClean="0"/>
              <a:t> annually and exported 70 mn </a:t>
            </a:r>
            <a:r>
              <a:rPr lang="en-US" dirty="0" err="1" smtClean="0"/>
              <a:t>tonne</a:t>
            </a:r>
            <a:r>
              <a:rPr lang="en-US" dirty="0" smtClean="0"/>
              <a:t> of thermal coal from its Richards Bay Terminal in 2013</a:t>
            </a:r>
          </a:p>
          <a:p>
            <a:pPr lvl="1" algn="just"/>
            <a:endParaRPr lang="en-US" dirty="0" smtClean="0"/>
          </a:p>
          <a:p>
            <a:pPr lvl="1" algn="just"/>
            <a:r>
              <a:rPr lang="en-US" dirty="0" smtClean="0"/>
              <a:t>Botswana has 7 bn </a:t>
            </a:r>
            <a:r>
              <a:rPr lang="en-US" dirty="0" err="1" smtClean="0"/>
              <a:t>tonne</a:t>
            </a:r>
            <a:r>
              <a:rPr lang="en-US" dirty="0" smtClean="0"/>
              <a:t> of proven &amp; 212 bn </a:t>
            </a:r>
            <a:r>
              <a:rPr lang="en-US" dirty="0" err="1" smtClean="0"/>
              <a:t>tonne</a:t>
            </a:r>
            <a:r>
              <a:rPr lang="en-US" dirty="0" smtClean="0"/>
              <a:t> of estimated coal deposits, mines about 3 mn </a:t>
            </a:r>
            <a:r>
              <a:rPr lang="en-US" dirty="0" err="1" smtClean="0"/>
              <a:t>tonne</a:t>
            </a:r>
            <a:r>
              <a:rPr lang="en-US" dirty="0" smtClean="0"/>
              <a:t> annually </a:t>
            </a:r>
          </a:p>
          <a:p>
            <a:pPr lvl="1" algn="just"/>
            <a:endParaRPr lang="en-US" dirty="0" smtClean="0"/>
          </a:p>
          <a:p>
            <a:pPr lvl="1" algn="just"/>
            <a:r>
              <a:rPr lang="en-US" dirty="0" smtClean="0"/>
              <a:t>Tete province in Mozambique is estimated to have 2.4 bn </a:t>
            </a:r>
            <a:r>
              <a:rPr lang="en-US" dirty="0" err="1" smtClean="0"/>
              <a:t>tonne</a:t>
            </a:r>
            <a:r>
              <a:rPr lang="en-US" dirty="0" smtClean="0"/>
              <a:t> of thermal coal</a:t>
            </a:r>
          </a:p>
          <a:p>
            <a:pPr lvl="1" algn="just"/>
            <a:endParaRPr lang="en-US" dirty="0" smtClean="0"/>
          </a:p>
          <a:p>
            <a:pPr lvl="1" algn="just"/>
            <a:r>
              <a:rPr lang="en-US" dirty="0" smtClean="0"/>
              <a:t>Zimbabwe has 500 mn </a:t>
            </a:r>
            <a:r>
              <a:rPr lang="en-US" dirty="0" err="1" smtClean="0"/>
              <a:t>tonne</a:t>
            </a:r>
            <a:r>
              <a:rPr lang="en-US" dirty="0" smtClean="0"/>
              <a:t> of proven &amp; 22 bn </a:t>
            </a:r>
            <a:r>
              <a:rPr lang="en-US" dirty="0" err="1" smtClean="0"/>
              <a:t>tonne</a:t>
            </a:r>
            <a:r>
              <a:rPr lang="en-US" dirty="0" smtClean="0"/>
              <a:t> of estimated coal deposits, mines about 2.4 mn </a:t>
            </a:r>
            <a:r>
              <a:rPr lang="en-US" dirty="0" err="1" smtClean="0"/>
              <a:t>tonne</a:t>
            </a:r>
            <a:r>
              <a:rPr lang="en-US" dirty="0" smtClean="0"/>
              <a:t> annually</a:t>
            </a:r>
          </a:p>
          <a:p>
            <a:pPr lvl="1" algn="just"/>
            <a:endParaRPr lang="en-US" dirty="0" smtClean="0"/>
          </a:p>
          <a:p>
            <a:pPr lvl="1" algn="just"/>
            <a:r>
              <a:rPr lang="en-US" dirty="0" smtClean="0"/>
              <a:t>Nigeria has 400 mn </a:t>
            </a:r>
            <a:r>
              <a:rPr lang="en-US" dirty="0" err="1" smtClean="0"/>
              <a:t>tonne</a:t>
            </a:r>
            <a:r>
              <a:rPr lang="en-US" dirty="0" smtClean="0"/>
              <a:t> of proven coal deposits and is looking at ways to utilize it for power generation</a:t>
            </a:r>
          </a:p>
          <a:p>
            <a:pPr lvl="1" algn="just"/>
            <a:endParaRPr lang="en-US" dirty="0" smtClean="0"/>
          </a:p>
          <a:p>
            <a:pPr lvl="1" algn="just"/>
            <a:r>
              <a:rPr lang="en-US" dirty="0" smtClean="0"/>
              <a:t>Kenya has 400 mn </a:t>
            </a:r>
            <a:r>
              <a:rPr lang="en-US" dirty="0" err="1" smtClean="0"/>
              <a:t>tonne</a:t>
            </a:r>
            <a:r>
              <a:rPr lang="en-US" dirty="0" smtClean="0"/>
              <a:t> of proven coal deposits and last year had auctioned 31 coal blocks with a view to utilize the coal for power generation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-12700" y="6642100"/>
            <a:ext cx="161614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smtClean="0"/>
              <a:t>Source: Literature search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xmlns="" val="124311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841" y="11379"/>
            <a:ext cx="8794113" cy="461665"/>
          </a:xfrm>
        </p:spPr>
        <p:txBody>
          <a:bodyPr/>
          <a:lstStyle/>
          <a:p>
            <a:r>
              <a:rPr lang="en-US" dirty="0" smtClean="0"/>
              <a:t>Coal Bearing Areas in Africa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-12700" y="6642100"/>
            <a:ext cx="102143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smtClean="0"/>
              <a:t>Source: USGS</a:t>
            </a:r>
            <a:endParaRPr lang="en-GB" sz="1000" dirty="0"/>
          </a:p>
        </p:txBody>
      </p:sp>
      <p:pic>
        <p:nvPicPr>
          <p:cNvPr id="59394" name="Picture 2" descr="http://pubs.usgs.gov/of/2008/1258/graphics/Africa_Coal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897063" y="409432"/>
            <a:ext cx="5404513" cy="642127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124311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120563"/>
            <a:ext cx="8794113" cy="923330"/>
          </a:xfrm>
        </p:spPr>
        <p:txBody>
          <a:bodyPr/>
          <a:lstStyle/>
          <a:p>
            <a:r>
              <a:rPr lang="en-US" dirty="0" smtClean="0"/>
              <a:t>Just 3% of upcoming coal based MW capacity worldwide is based in Africa</a:t>
            </a:r>
            <a:endParaRPr lang="en-US" dirty="0"/>
          </a:p>
        </p:txBody>
      </p:sp>
      <p:pic>
        <p:nvPicPr>
          <p:cNvPr id="21506" name="Picture 2" descr="http://static.guim.co.uk/sys-images/Guardian/Pix/maps_and_graphs/2012/11/20/1353421028221/Coal-fired-plants-map-001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1600" y="1079500"/>
            <a:ext cx="8953500" cy="557212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124311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601" y="-2269"/>
            <a:ext cx="8794113" cy="861774"/>
          </a:xfrm>
        </p:spPr>
        <p:txBody>
          <a:bodyPr/>
          <a:lstStyle/>
          <a:p>
            <a:r>
              <a:rPr lang="en-US" sz="2800" dirty="0" smtClean="0"/>
              <a:t>South Africa has 92% of Africa’s proven coal </a:t>
            </a:r>
            <a:br>
              <a:rPr lang="en-US" sz="2800" dirty="0" smtClean="0"/>
            </a:br>
            <a:r>
              <a:rPr lang="en-US" sz="2800" dirty="0" smtClean="0"/>
              <a:t>deposits and exports 28% of its coal to other countries</a:t>
            </a:r>
            <a:endParaRPr lang="en-US" sz="2800" dirty="0"/>
          </a:p>
        </p:txBody>
      </p:sp>
      <p:pic>
        <p:nvPicPr>
          <p:cNvPr id="5" name="Picture 2" descr="http://static.guim.co.uk/sys-images/Guardian/Pix/maps_and_graphs/2012/11/20/1353421028221/Coal-fired-plants-map-001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008" y="861132"/>
            <a:ext cx="8933219" cy="5372645"/>
          </a:xfrm>
          <a:prstGeom prst="rect">
            <a:avLst/>
          </a:prstGeom>
          <a:noFill/>
        </p:spPr>
      </p:pic>
      <p:sp>
        <p:nvSpPr>
          <p:cNvPr id="7" name="Title 1"/>
          <p:cNvSpPr txBox="1">
            <a:spLocks/>
          </p:cNvSpPr>
          <p:nvPr/>
        </p:nvSpPr>
        <p:spPr bwMode="auto">
          <a:xfrm>
            <a:off x="177424" y="6405666"/>
            <a:ext cx="879411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9298" algn="l"/>
              </a:tabLst>
              <a:defRPr/>
            </a:pPr>
            <a:r>
              <a:rPr kumimoji="0" lang="en-US" sz="18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itchFamily="34" charset="0"/>
                <a:ea typeface="+mj-ea"/>
                <a:cs typeface="Calibri" pitchFamily="34" charset="0"/>
              </a:rPr>
              <a:t>S.E.</a:t>
            </a:r>
            <a:r>
              <a:rPr kumimoji="0" lang="en-US" sz="1800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  <a:latin typeface="Calibri" pitchFamily="34" charset="0"/>
                <a:ea typeface="+mj-ea"/>
                <a:cs typeface="Calibri" pitchFamily="34" charset="0"/>
              </a:rPr>
              <a:t> Asia, India, Pakistan and Europe are major export destinations for South African coal</a:t>
            </a:r>
            <a:endParaRPr kumimoji="0" lang="en-US" sz="18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itchFamily="34" charset="0"/>
              <a:ea typeface="+mj-ea"/>
              <a:cs typeface="Calibri" pitchFamily="34" charset="0"/>
            </a:endParaRPr>
          </a:p>
        </p:txBody>
      </p:sp>
      <p:sp>
        <p:nvSpPr>
          <p:cNvPr id="8" name="Oval 7"/>
          <p:cNvSpPr/>
          <p:nvPr/>
        </p:nvSpPr>
        <p:spPr>
          <a:xfrm rot="19383051">
            <a:off x="6127845" y="3534769"/>
            <a:ext cx="2674961" cy="600501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>
                <a:solidFill>
                  <a:schemeClr val="bg1"/>
                </a:solidFill>
              </a:rPr>
              <a:t>S.E. Asia</a:t>
            </a:r>
          </a:p>
        </p:txBody>
      </p:sp>
      <p:sp>
        <p:nvSpPr>
          <p:cNvPr id="9" name="Oval 8"/>
          <p:cNvSpPr/>
          <p:nvPr/>
        </p:nvSpPr>
        <p:spPr>
          <a:xfrm rot="19383051">
            <a:off x="5307179" y="2966619"/>
            <a:ext cx="1456774" cy="1161852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>
                <a:solidFill>
                  <a:schemeClr val="bg1"/>
                </a:solidFill>
              </a:rPr>
              <a:t>India / Pakistan</a:t>
            </a:r>
          </a:p>
        </p:txBody>
      </p:sp>
      <p:sp>
        <p:nvSpPr>
          <p:cNvPr id="10" name="Oval 9"/>
          <p:cNvSpPr/>
          <p:nvPr/>
        </p:nvSpPr>
        <p:spPr>
          <a:xfrm rot="19383051">
            <a:off x="3374077" y="1830179"/>
            <a:ext cx="1294933" cy="1161852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>
                <a:solidFill>
                  <a:schemeClr val="bg1"/>
                </a:solidFill>
              </a:rPr>
              <a:t>Europe</a:t>
            </a:r>
          </a:p>
        </p:txBody>
      </p:sp>
      <p:cxnSp>
        <p:nvCxnSpPr>
          <p:cNvPr id="12" name="Straight Arrow Connector 11"/>
          <p:cNvCxnSpPr>
            <a:stCxn id="5" idx="2"/>
          </p:cNvCxnSpPr>
          <p:nvPr/>
        </p:nvCxnSpPr>
        <p:spPr>
          <a:xfrm flipV="1">
            <a:off x="4513618" y="4735773"/>
            <a:ext cx="1818943" cy="1498004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5" idx="2"/>
          </p:cNvCxnSpPr>
          <p:nvPr/>
        </p:nvCxnSpPr>
        <p:spPr>
          <a:xfrm flipV="1">
            <a:off x="4513618" y="4189863"/>
            <a:ext cx="1000078" cy="2043914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>
            <a:stCxn id="5" idx="2"/>
          </p:cNvCxnSpPr>
          <p:nvPr/>
        </p:nvCxnSpPr>
        <p:spPr>
          <a:xfrm flipH="1" flipV="1">
            <a:off x="4039737" y="3057099"/>
            <a:ext cx="473881" cy="3176678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24311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65971"/>
            <a:ext cx="8794113" cy="861774"/>
          </a:xfrm>
        </p:spPr>
        <p:txBody>
          <a:bodyPr/>
          <a:lstStyle/>
          <a:p>
            <a:pPr lvl="0">
              <a:defRPr/>
            </a:pPr>
            <a:r>
              <a:rPr lang="en-US" sz="2800" dirty="0"/>
              <a:t>Africa’s own coal can be utilized to </a:t>
            </a:r>
            <a:r>
              <a:rPr lang="en-US" sz="2800" dirty="0" smtClean="0"/>
              <a:t>generate 24 </a:t>
            </a:r>
            <a:r>
              <a:rPr lang="en-US" sz="2800" dirty="0"/>
              <a:t>GW in </a:t>
            </a:r>
            <a:r>
              <a:rPr lang="en-US" sz="2800" dirty="0" smtClean="0"/>
              <a:t/>
            </a:r>
            <a:br>
              <a:rPr lang="en-US" sz="2800" dirty="0" smtClean="0"/>
            </a:br>
            <a:r>
              <a:rPr lang="en-US" sz="2800" dirty="0" smtClean="0"/>
              <a:t>the </a:t>
            </a:r>
            <a:r>
              <a:rPr lang="en-US" sz="2800" dirty="0"/>
              <a:t>next 5 years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163776" y="1042145"/>
          <a:ext cx="8748212" cy="3322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87053"/>
                <a:gridCol w="2187053"/>
                <a:gridCol w="2187053"/>
                <a:gridCol w="2187053"/>
              </a:tblGrid>
              <a:tr h="698219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/>
                        <a:t>Country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/>
                        <a:t>Coal</a:t>
                      </a:r>
                      <a:r>
                        <a:rPr lang="en-GB" sz="1600" baseline="0" dirty="0" smtClean="0"/>
                        <a:t> Reserves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/>
                        <a:t>Coal</a:t>
                      </a:r>
                      <a:r>
                        <a:rPr lang="en-GB" sz="1600" baseline="0" dirty="0" smtClean="0"/>
                        <a:t> Mined for Power in next 5 years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/>
                        <a:t>Total MW Generated</a:t>
                      </a:r>
                      <a:endParaRPr lang="en-GB" sz="1600" dirty="0"/>
                    </a:p>
                  </a:txBody>
                  <a:tcPr/>
                </a:tc>
              </a:tr>
              <a:tr h="279288"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South Africa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/>
                        <a:t>30 bn</a:t>
                      </a:r>
                      <a:r>
                        <a:rPr lang="en-GB" sz="1600" baseline="0" dirty="0" smtClean="0"/>
                        <a:t> tonne (P)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/>
                        <a:t>70 MTPA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/>
                        <a:t>17,500</a:t>
                      </a:r>
                      <a:endParaRPr lang="en-GB" sz="1600" dirty="0"/>
                    </a:p>
                  </a:txBody>
                  <a:tcPr/>
                </a:tc>
              </a:tr>
              <a:tr h="488753"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Botswana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/>
                        <a:t>7</a:t>
                      </a:r>
                      <a:r>
                        <a:rPr lang="en-GB" sz="1600" baseline="0" dirty="0" smtClean="0"/>
                        <a:t> bn tonne (P) / 212 bn tonne (E)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/>
                        <a:t>6 MTPA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/>
                        <a:t>1,500</a:t>
                      </a:r>
                      <a:endParaRPr lang="en-GB" sz="1600" dirty="0"/>
                    </a:p>
                  </a:txBody>
                  <a:tcPr/>
                </a:tc>
              </a:tr>
              <a:tr h="279288"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Mozambique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/>
                        <a:t>2.4 bn tonne (P)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/>
                        <a:t>5 MTPA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/>
                        <a:t>1,250</a:t>
                      </a:r>
                      <a:endParaRPr lang="en-GB" sz="1600" dirty="0"/>
                    </a:p>
                  </a:txBody>
                  <a:tcPr/>
                </a:tc>
              </a:tr>
              <a:tr h="488753"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Zimbabwe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aseline="0" dirty="0" smtClean="0"/>
                        <a:t>500 mn tonne (P) / 22 bn tonne (E)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/>
                        <a:t>5 MTPA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/>
                        <a:t>1,250</a:t>
                      </a:r>
                      <a:endParaRPr lang="en-GB" sz="1600" dirty="0"/>
                    </a:p>
                  </a:txBody>
                  <a:tcPr/>
                </a:tc>
              </a:tr>
              <a:tr h="279288"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Nigeria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/>
                        <a:t>400 mn tonne (P)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/>
                        <a:t>5 MTPA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/>
                        <a:t>1,250</a:t>
                      </a:r>
                      <a:endParaRPr lang="en-GB" sz="1600" dirty="0"/>
                    </a:p>
                  </a:txBody>
                  <a:tcPr/>
                </a:tc>
              </a:tr>
              <a:tr h="279288"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Kenya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/>
                        <a:t>400 mn tonne (P)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/>
                        <a:t>5 MTPA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/>
                        <a:t>1,250</a:t>
                      </a:r>
                      <a:endParaRPr lang="en-GB" sz="16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Rectangle 7"/>
          <p:cNvSpPr txBox="1"/>
          <p:nvPr/>
        </p:nvSpPr>
        <p:spPr>
          <a:xfrm>
            <a:off x="164574" y="4487842"/>
            <a:ext cx="8842946" cy="2231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sz="2000">
                <a:latin typeface="Calibri" pitchFamily="34" charset="0"/>
                <a:cs typeface="Calibri" pitchFamily="34" charset="0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2000">
                <a:latin typeface="Calibri" pitchFamily="34" charset="0"/>
                <a:cs typeface="Calibri" pitchFamily="34" charset="0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2000">
                <a:latin typeface="Calibri" pitchFamily="34" charset="0"/>
                <a:cs typeface="Calibri" pitchFamily="34" charset="0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2000">
                <a:latin typeface="Calibri" pitchFamily="34" charset="0"/>
                <a:cs typeface="Calibri" pitchFamily="34" charset="0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sz="2000">
                <a:latin typeface="Calibri" pitchFamily="34" charset="0"/>
                <a:cs typeface="Calibri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algn="just">
              <a:buNone/>
            </a:pPr>
            <a:r>
              <a:rPr lang="en-US" sz="1800" dirty="0" smtClean="0"/>
              <a:t>Assumptions</a:t>
            </a:r>
          </a:p>
          <a:p>
            <a:pPr lvl="1" algn="just">
              <a:buNone/>
            </a:pPr>
            <a:endParaRPr lang="en-US" sz="900" dirty="0" smtClean="0"/>
          </a:p>
          <a:p>
            <a:pPr lvl="1" algn="just"/>
            <a:r>
              <a:rPr lang="en-US" sz="1800" dirty="0" smtClean="0"/>
              <a:t>South Africa after meeting its internal requirements exports balance coal within Africa only</a:t>
            </a:r>
          </a:p>
          <a:p>
            <a:pPr lvl="1" algn="just"/>
            <a:endParaRPr lang="en-US" sz="900" dirty="0" smtClean="0"/>
          </a:p>
          <a:p>
            <a:pPr lvl="1" algn="just"/>
            <a:r>
              <a:rPr lang="en-US" sz="1800" dirty="0" smtClean="0"/>
              <a:t>Average GCV of coal : 4,500 Kcal / Kg</a:t>
            </a:r>
          </a:p>
          <a:p>
            <a:pPr lvl="1" algn="just"/>
            <a:endParaRPr lang="en-US" sz="1000" dirty="0" smtClean="0"/>
          </a:p>
          <a:p>
            <a:pPr lvl="1" algn="just"/>
            <a:r>
              <a:rPr lang="en-US" sz="1800" dirty="0" smtClean="0"/>
              <a:t>PLF: 85%</a:t>
            </a:r>
          </a:p>
          <a:p>
            <a:pPr lvl="1" algn="just"/>
            <a:endParaRPr lang="en-US" sz="900" dirty="0" smtClean="0"/>
          </a:p>
          <a:p>
            <a:pPr lvl="1" algn="just"/>
            <a:r>
              <a:rPr lang="en-US" sz="1800" dirty="0" smtClean="0"/>
              <a:t>Sub critical power plants</a:t>
            </a:r>
          </a:p>
          <a:p>
            <a:pPr lvl="1" algn="just">
              <a:buNone/>
            </a:pPr>
            <a:endParaRPr lang="en-US" sz="1800" dirty="0" smtClean="0"/>
          </a:p>
        </p:txBody>
      </p:sp>
      <p:sp>
        <p:nvSpPr>
          <p:cNvPr id="8" name="TextBox 7"/>
          <p:cNvSpPr txBox="1"/>
          <p:nvPr/>
        </p:nvSpPr>
        <p:spPr>
          <a:xfrm>
            <a:off x="-12700" y="6642100"/>
            <a:ext cx="150393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smtClean="0"/>
              <a:t>Source: Jindal Analysis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xmlns="" val="124311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120563"/>
            <a:ext cx="8794113" cy="861774"/>
          </a:xfrm>
        </p:spPr>
        <p:txBody>
          <a:bodyPr/>
          <a:lstStyle/>
          <a:p>
            <a:pPr lvl="0">
              <a:defRPr/>
            </a:pPr>
            <a:r>
              <a:rPr lang="en-US" sz="2800" dirty="0"/>
              <a:t>Africa’s vast coastline enables transport of coal with </a:t>
            </a:r>
            <a:r>
              <a:rPr lang="en-US" sz="2800" dirty="0" smtClean="0"/>
              <a:t/>
            </a:r>
            <a:br>
              <a:rPr lang="en-US" sz="2800" dirty="0" smtClean="0"/>
            </a:br>
            <a:r>
              <a:rPr lang="en-US" sz="2800" dirty="0" smtClean="0"/>
              <a:t>ease </a:t>
            </a:r>
            <a:r>
              <a:rPr lang="en-US" sz="2800" dirty="0"/>
              <a:t>within Africa</a:t>
            </a:r>
          </a:p>
        </p:txBody>
      </p:sp>
      <p:pic>
        <p:nvPicPr>
          <p:cNvPr id="56322" name="Picture 2" descr="http://bisteachers.cratercomets.com/sinks_jeremy/africa/AfricaMapOutline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37480" y="1071984"/>
            <a:ext cx="4906702" cy="5599093"/>
          </a:xfrm>
          <a:prstGeom prst="rect">
            <a:avLst/>
          </a:prstGeom>
          <a:noFill/>
        </p:spPr>
      </p:pic>
      <p:sp>
        <p:nvSpPr>
          <p:cNvPr id="7" name="Oval 6"/>
          <p:cNvSpPr/>
          <p:nvPr/>
        </p:nvSpPr>
        <p:spPr>
          <a:xfrm>
            <a:off x="5336273" y="4135270"/>
            <a:ext cx="259308" cy="218364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568286" y="3807725"/>
            <a:ext cx="120097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Mombasa, </a:t>
            </a:r>
          </a:p>
          <a:p>
            <a:r>
              <a:rPr lang="en-GB" dirty="0" smtClean="0"/>
              <a:t>Kenya</a:t>
            </a:r>
            <a:endParaRPr lang="en-GB" dirty="0"/>
          </a:p>
        </p:txBody>
      </p:sp>
      <p:sp>
        <p:nvSpPr>
          <p:cNvPr id="9" name="Oval 8"/>
          <p:cNvSpPr/>
          <p:nvPr/>
        </p:nvSpPr>
        <p:spPr>
          <a:xfrm>
            <a:off x="4601553" y="6089206"/>
            <a:ext cx="259308" cy="218364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792639" y="6116468"/>
            <a:ext cx="150310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Richards Bay, </a:t>
            </a:r>
          </a:p>
          <a:p>
            <a:r>
              <a:rPr lang="en-GB" dirty="0" smtClean="0"/>
              <a:t>South Africa</a:t>
            </a:r>
            <a:endParaRPr lang="en-GB" dirty="0"/>
          </a:p>
        </p:txBody>
      </p:sp>
      <p:sp>
        <p:nvSpPr>
          <p:cNvPr id="11" name="Oval 10"/>
          <p:cNvSpPr/>
          <p:nvPr/>
        </p:nvSpPr>
        <p:spPr>
          <a:xfrm>
            <a:off x="3430120" y="5477332"/>
            <a:ext cx="259308" cy="218364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324672" y="5490950"/>
            <a:ext cx="129029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Walvis Bay, </a:t>
            </a:r>
          </a:p>
          <a:p>
            <a:r>
              <a:rPr lang="en-GB" dirty="0" smtClean="0"/>
              <a:t>Namibia</a:t>
            </a:r>
            <a:endParaRPr lang="en-GB" dirty="0"/>
          </a:p>
        </p:txBody>
      </p:sp>
      <p:sp>
        <p:nvSpPr>
          <p:cNvPr id="13" name="Oval 12"/>
          <p:cNvSpPr/>
          <p:nvPr/>
        </p:nvSpPr>
        <p:spPr>
          <a:xfrm>
            <a:off x="2870554" y="3430132"/>
            <a:ext cx="259308" cy="218364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299648" y="3664390"/>
            <a:ext cx="85792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Lagos, </a:t>
            </a:r>
          </a:p>
          <a:p>
            <a:r>
              <a:rPr lang="en-GB" dirty="0" smtClean="0"/>
              <a:t>Nigeria</a:t>
            </a:r>
            <a:endParaRPr lang="en-GB" dirty="0"/>
          </a:p>
        </p:txBody>
      </p:sp>
      <p:sp>
        <p:nvSpPr>
          <p:cNvPr id="15" name="Oval 14"/>
          <p:cNvSpPr/>
          <p:nvPr/>
        </p:nvSpPr>
        <p:spPr>
          <a:xfrm>
            <a:off x="4945025" y="5354486"/>
            <a:ext cx="259308" cy="218364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136111" y="5381748"/>
            <a:ext cx="135806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Beira, </a:t>
            </a:r>
          </a:p>
          <a:p>
            <a:r>
              <a:rPr lang="en-GB" dirty="0" smtClean="0"/>
              <a:t>Mozambique</a:t>
            </a:r>
            <a:endParaRPr lang="en-GB" dirty="0"/>
          </a:p>
        </p:txBody>
      </p:sp>
      <p:sp>
        <p:nvSpPr>
          <p:cNvPr id="17" name="Oval 16"/>
          <p:cNvSpPr/>
          <p:nvPr/>
        </p:nvSpPr>
        <p:spPr>
          <a:xfrm>
            <a:off x="5220257" y="4469638"/>
            <a:ext cx="259308" cy="218364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411343" y="4496900"/>
            <a:ext cx="165622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Dar </a:t>
            </a:r>
            <a:r>
              <a:rPr lang="en-GB" dirty="0" err="1" smtClean="0"/>
              <a:t>es</a:t>
            </a:r>
            <a:r>
              <a:rPr lang="en-GB" dirty="0" smtClean="0"/>
              <a:t> Salaam, </a:t>
            </a:r>
          </a:p>
          <a:p>
            <a:r>
              <a:rPr lang="en-GB" dirty="0" smtClean="0"/>
              <a:t>Tanzania</a:t>
            </a:r>
            <a:endParaRPr lang="en-GB" dirty="0"/>
          </a:p>
        </p:txBody>
      </p:sp>
      <p:sp>
        <p:nvSpPr>
          <p:cNvPr id="19" name="Oval 18"/>
          <p:cNvSpPr/>
          <p:nvPr/>
        </p:nvSpPr>
        <p:spPr>
          <a:xfrm>
            <a:off x="5488673" y="2922870"/>
            <a:ext cx="259308" cy="218364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720686" y="2595325"/>
            <a:ext cx="8659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Djibouti</a:t>
            </a:r>
            <a:endParaRPr lang="en-GB" dirty="0"/>
          </a:p>
        </p:txBody>
      </p:sp>
      <p:sp>
        <p:nvSpPr>
          <p:cNvPr id="21" name="Oval 20"/>
          <p:cNvSpPr/>
          <p:nvPr/>
        </p:nvSpPr>
        <p:spPr>
          <a:xfrm>
            <a:off x="2299623" y="1385230"/>
            <a:ext cx="259308" cy="218364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14317" y="1442067"/>
            <a:ext cx="138050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Casablanca, </a:t>
            </a:r>
          </a:p>
          <a:p>
            <a:r>
              <a:rPr lang="en-GB" dirty="0" smtClean="0"/>
              <a:t>Morocco</a:t>
            </a:r>
            <a:endParaRPr lang="en-GB" dirty="0"/>
          </a:p>
        </p:txBody>
      </p:sp>
      <p:sp>
        <p:nvSpPr>
          <p:cNvPr id="23" name="Oval 22"/>
          <p:cNvSpPr/>
          <p:nvPr/>
        </p:nvSpPr>
        <p:spPr>
          <a:xfrm>
            <a:off x="4603825" y="1614934"/>
            <a:ext cx="259308" cy="218364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945018" y="1451158"/>
            <a:ext cx="108555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Port Said,</a:t>
            </a:r>
          </a:p>
          <a:p>
            <a:r>
              <a:rPr lang="en-GB" dirty="0" smtClean="0"/>
              <a:t>Egypt</a:t>
            </a:r>
            <a:endParaRPr lang="en-GB" dirty="0"/>
          </a:p>
        </p:txBody>
      </p:sp>
      <p:sp>
        <p:nvSpPr>
          <p:cNvPr id="25" name="TextBox 24"/>
          <p:cNvSpPr txBox="1"/>
          <p:nvPr/>
        </p:nvSpPr>
        <p:spPr>
          <a:xfrm>
            <a:off x="-12700" y="6642100"/>
            <a:ext cx="150393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smtClean="0"/>
              <a:t>Source: Jindal Analysis</a:t>
            </a:r>
            <a:endParaRPr lang="en-GB" sz="1000" dirty="0"/>
          </a:p>
        </p:txBody>
      </p:sp>
      <p:sp>
        <p:nvSpPr>
          <p:cNvPr id="26" name="Oval 25"/>
          <p:cNvSpPr/>
          <p:nvPr/>
        </p:nvSpPr>
        <p:spPr>
          <a:xfrm>
            <a:off x="7278831" y="5954948"/>
            <a:ext cx="259308" cy="218364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538138" y="5886710"/>
            <a:ext cx="123463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Major Port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24311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Picture 29" descr="C:\Users\pallavi.kumari\Desktop\global_venture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15238" y="1371600"/>
            <a:ext cx="1277937" cy="2805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797" name="Picture 6" descr="shutterstock_71674225.jpg"/>
          <p:cNvPicPr>
            <a:picLocks noChangeAspect="1"/>
          </p:cNvPicPr>
          <p:nvPr/>
        </p:nvPicPr>
        <p:blipFill>
          <a:blip r:embed="rId4" cstate="print"/>
          <a:srcRect l="45929" t="14146" r="39413" b="29033"/>
          <a:stretch>
            <a:fillRect/>
          </a:stretch>
        </p:blipFill>
        <p:spPr bwMode="auto">
          <a:xfrm>
            <a:off x="3657600" y="1377950"/>
            <a:ext cx="1371600" cy="279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798" name="Picture 4" descr="shutterstock_89121451.jpg"/>
          <p:cNvPicPr>
            <a:picLocks noChangeAspect="1"/>
          </p:cNvPicPr>
          <p:nvPr/>
        </p:nvPicPr>
        <p:blipFill>
          <a:blip r:embed="rId5" cstate="print"/>
          <a:srcRect l="57417" t="42834" r="19211"/>
          <a:stretch>
            <a:fillRect/>
          </a:stretch>
        </p:blipFill>
        <p:spPr bwMode="auto">
          <a:xfrm>
            <a:off x="6400800" y="1377950"/>
            <a:ext cx="1214438" cy="279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799" name="Picture 5" descr="shutterstock_90363409.jpg"/>
          <p:cNvPicPr>
            <a:picLocks noChangeAspect="1"/>
          </p:cNvPicPr>
          <p:nvPr/>
        </p:nvPicPr>
        <p:blipFill>
          <a:blip r:embed="rId6" cstate="print"/>
          <a:srcRect l="52223" t="16151" r="17778" b="33096"/>
          <a:stretch>
            <a:fillRect/>
          </a:stretch>
        </p:blipFill>
        <p:spPr bwMode="auto">
          <a:xfrm>
            <a:off x="5057775" y="1377950"/>
            <a:ext cx="1343025" cy="2808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tangle 15"/>
          <p:cNvSpPr/>
          <p:nvPr/>
        </p:nvSpPr>
        <p:spPr>
          <a:xfrm>
            <a:off x="3629025" y="1760538"/>
            <a:ext cx="5210175" cy="841375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33801" name="Rectangle 15"/>
          <p:cNvSpPr>
            <a:spLocks noChangeArrowheads="1"/>
          </p:cNvSpPr>
          <p:nvPr/>
        </p:nvSpPr>
        <p:spPr bwMode="auto">
          <a:xfrm>
            <a:off x="3657600" y="1706563"/>
            <a:ext cx="1066800" cy="862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ts val="3000"/>
              </a:lnSpc>
              <a:buFont typeface="Arial" pitchFamily="34" charset="0"/>
              <a:buNone/>
            </a:pPr>
            <a:r>
              <a:rPr lang="en-US" altLang="en-US" sz="2100">
                <a:latin typeface="Calibri" pitchFamily="34" charset="0"/>
              </a:rPr>
              <a:t>Steel &amp; Cement</a:t>
            </a:r>
          </a:p>
        </p:txBody>
      </p:sp>
      <p:sp>
        <p:nvSpPr>
          <p:cNvPr id="33802" name="Rectangle 16"/>
          <p:cNvSpPr>
            <a:spLocks noChangeArrowheads="1"/>
          </p:cNvSpPr>
          <p:nvPr/>
        </p:nvSpPr>
        <p:spPr bwMode="auto">
          <a:xfrm>
            <a:off x="5029200" y="1814513"/>
            <a:ext cx="1371600" cy="477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ts val="3000"/>
              </a:lnSpc>
            </a:pPr>
            <a:r>
              <a:rPr lang="en-US" altLang="en-US" sz="2400">
                <a:latin typeface="Calibri" pitchFamily="34" charset="0"/>
              </a:rPr>
              <a:t>Power</a:t>
            </a:r>
          </a:p>
        </p:txBody>
      </p:sp>
      <p:sp>
        <p:nvSpPr>
          <p:cNvPr id="33803" name="Rectangle 18"/>
          <p:cNvSpPr>
            <a:spLocks noChangeArrowheads="1"/>
          </p:cNvSpPr>
          <p:nvPr/>
        </p:nvSpPr>
        <p:spPr bwMode="auto">
          <a:xfrm>
            <a:off x="6324600" y="1735138"/>
            <a:ext cx="1290638" cy="862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ts val="3000"/>
              </a:lnSpc>
            </a:pPr>
            <a:r>
              <a:rPr lang="en-US" altLang="en-US" sz="2100" dirty="0">
                <a:latin typeface="Calibri" pitchFamily="34" charset="0"/>
              </a:rPr>
              <a:t>Mines &amp; Minerals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3886200" y="2819400"/>
            <a:ext cx="630238" cy="630238"/>
          </a:xfrm>
          <a:prstGeom prst="roundRect">
            <a:avLst/>
          </a:prstGeom>
          <a:solidFill>
            <a:srgbClr val="F5821E">
              <a:alpha val="9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1" name="Rounded Rectangle 10"/>
          <p:cNvSpPr/>
          <p:nvPr/>
        </p:nvSpPr>
        <p:spPr>
          <a:xfrm>
            <a:off x="5465763" y="2819400"/>
            <a:ext cx="630237" cy="630238"/>
          </a:xfrm>
          <a:prstGeom prst="roundRect">
            <a:avLst/>
          </a:prstGeom>
          <a:solidFill>
            <a:srgbClr val="5AAA46">
              <a:alpha val="9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2" name="Rounded Rectangle 11"/>
          <p:cNvSpPr/>
          <p:nvPr/>
        </p:nvSpPr>
        <p:spPr>
          <a:xfrm>
            <a:off x="6629400" y="2874963"/>
            <a:ext cx="630238" cy="630237"/>
          </a:xfrm>
          <a:prstGeom prst="roundRect">
            <a:avLst/>
          </a:prstGeom>
          <a:solidFill>
            <a:schemeClr val="tx1">
              <a:lumMod val="65000"/>
              <a:lumOff val="35000"/>
              <a:alpha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33807" name="Picture 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965575" y="2894013"/>
            <a:ext cx="530225" cy="534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808" name="Picture 5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638800" y="2894013"/>
            <a:ext cx="274638" cy="534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809" name="Picture 7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705600" y="2971800"/>
            <a:ext cx="514350" cy="401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Rounded Rectangle 16"/>
          <p:cNvSpPr/>
          <p:nvPr/>
        </p:nvSpPr>
        <p:spPr bwMode="auto">
          <a:xfrm rot="10800000">
            <a:off x="3657600" y="990600"/>
            <a:ext cx="5181600" cy="320675"/>
          </a:xfrm>
          <a:prstGeom prst="roundRect">
            <a:avLst/>
          </a:prstGeom>
          <a:solidFill>
            <a:srgbClr val="F582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3811" name="Rectangle 8"/>
          <p:cNvSpPr>
            <a:spLocks noChangeArrowheads="1"/>
          </p:cNvSpPr>
          <p:nvPr/>
        </p:nvSpPr>
        <p:spPr bwMode="auto">
          <a:xfrm>
            <a:off x="3657600" y="996950"/>
            <a:ext cx="158081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altLang="en-US" sz="1400" b="1" dirty="0">
                <a:solidFill>
                  <a:schemeClr val="bg1"/>
                </a:solidFill>
                <a:latin typeface="Calibri" pitchFamily="34" charset="0"/>
              </a:rPr>
              <a:t>Business segments</a:t>
            </a:r>
            <a:endParaRPr lang="en-US" altLang="en-US" sz="140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3629025" y="4240213"/>
            <a:ext cx="1628775" cy="1169987"/>
          </a:xfrm>
          <a:prstGeom prst="rect">
            <a:avLst/>
          </a:prstGeom>
        </p:spPr>
        <p:txBody>
          <a:bodyPr>
            <a:spAutoFit/>
          </a:bodyPr>
          <a:lstStyle/>
          <a:p>
            <a:pPr marL="114300" indent="-114300">
              <a:buFont typeface="Wingdings" pitchFamily="2" charset="2"/>
              <a:buChar char="§"/>
              <a:defRPr/>
            </a:pPr>
            <a:r>
              <a:rPr lang="en-US" altLang="zh-CN" sz="1400" b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  <a:cs typeface="Arial" charset="0"/>
              </a:rPr>
              <a:t>Steel: 3MTPA</a:t>
            </a:r>
          </a:p>
          <a:p>
            <a:pPr marL="114300" indent="-114300">
              <a:buFont typeface="Wingdings" pitchFamily="2" charset="2"/>
              <a:buChar char="§"/>
              <a:defRPr/>
            </a:pPr>
            <a:r>
              <a:rPr lang="en-US" altLang="zh-CN" sz="1400" b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  <a:cs typeface="Arial" charset="0"/>
              </a:rPr>
              <a:t>Hot Briquetted Iron: 1.5MTPA</a:t>
            </a:r>
          </a:p>
          <a:p>
            <a:pPr marL="114300" indent="-114300">
              <a:buFont typeface="Wingdings" pitchFamily="2" charset="2"/>
              <a:buChar char="§"/>
              <a:defRPr/>
            </a:pPr>
            <a:r>
              <a:rPr lang="en-US" altLang="zh-CN" sz="1400" b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  <a:cs typeface="Arial" charset="0"/>
              </a:rPr>
              <a:t>Pellet Plant: 4.5 MTPA</a:t>
            </a:r>
          </a:p>
        </p:txBody>
      </p:sp>
      <p:sp>
        <p:nvSpPr>
          <p:cNvPr id="33813" name="Rectangle 19"/>
          <p:cNvSpPr>
            <a:spLocks noChangeArrowheads="1"/>
          </p:cNvSpPr>
          <p:nvPr/>
        </p:nvSpPr>
        <p:spPr bwMode="auto">
          <a:xfrm>
            <a:off x="5105400" y="4276725"/>
            <a:ext cx="129540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14300" indent="-114300">
              <a:buFont typeface="Wingdings" pitchFamily="2" charset="2"/>
              <a:buChar char="§"/>
            </a:pPr>
            <a:r>
              <a:rPr lang="en-US" altLang="zh-CN" sz="1400" b="1">
                <a:solidFill>
                  <a:srgbClr val="00B050"/>
                </a:solidFill>
                <a:latin typeface="Calibri" pitchFamily="34" charset="0"/>
              </a:rPr>
              <a:t>Operational: 2,437MW</a:t>
            </a:r>
          </a:p>
        </p:txBody>
      </p:sp>
      <p:sp>
        <p:nvSpPr>
          <p:cNvPr id="33814" name="Rectangle 20"/>
          <p:cNvSpPr>
            <a:spLocks noChangeArrowheads="1"/>
          </p:cNvSpPr>
          <p:nvPr/>
        </p:nvSpPr>
        <p:spPr bwMode="auto">
          <a:xfrm>
            <a:off x="6564576" y="4259263"/>
            <a:ext cx="1214438" cy="954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14300" indent="-114300">
              <a:buFont typeface="Wingdings" pitchFamily="2" charset="2"/>
              <a:buChar char="§"/>
            </a:pPr>
            <a:r>
              <a:rPr lang="en-US" altLang="zh-CN" sz="1400" b="1" dirty="0">
                <a:solidFill>
                  <a:srgbClr val="74563F"/>
                </a:solidFill>
                <a:latin typeface="Calibri" pitchFamily="34" charset="0"/>
              </a:rPr>
              <a:t>Iron ore: 2 MTPA</a:t>
            </a:r>
          </a:p>
          <a:p>
            <a:pPr marL="114300" indent="-114300">
              <a:buFont typeface="Wingdings" pitchFamily="2" charset="2"/>
              <a:buChar char="§"/>
            </a:pPr>
            <a:r>
              <a:rPr lang="en-US" altLang="zh-CN" sz="1400" b="1" dirty="0">
                <a:solidFill>
                  <a:srgbClr val="74563F"/>
                </a:solidFill>
                <a:latin typeface="Calibri" pitchFamily="34" charset="0"/>
              </a:rPr>
              <a:t>Coal: 13 MTPA</a:t>
            </a:r>
          </a:p>
        </p:txBody>
      </p:sp>
      <p:sp>
        <p:nvSpPr>
          <p:cNvPr id="22" name="Isosceles Triangle 21"/>
          <p:cNvSpPr/>
          <p:nvPr/>
        </p:nvSpPr>
        <p:spPr>
          <a:xfrm rot="5400000">
            <a:off x="601662" y="1017588"/>
            <a:ext cx="117475" cy="101600"/>
          </a:xfrm>
          <a:prstGeom prst="triangle">
            <a:avLst/>
          </a:prstGeom>
          <a:solidFill>
            <a:srgbClr val="F582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3" name="Isosceles Triangle 22"/>
          <p:cNvSpPr/>
          <p:nvPr/>
        </p:nvSpPr>
        <p:spPr>
          <a:xfrm rot="5400000">
            <a:off x="601662" y="1795463"/>
            <a:ext cx="117475" cy="101600"/>
          </a:xfrm>
          <a:prstGeom prst="triangle">
            <a:avLst/>
          </a:prstGeom>
          <a:solidFill>
            <a:srgbClr val="F582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3817" name="Rectangle 7"/>
          <p:cNvSpPr>
            <a:spLocks noChangeArrowheads="1"/>
          </p:cNvSpPr>
          <p:nvPr/>
        </p:nvSpPr>
        <p:spPr bwMode="auto">
          <a:xfrm>
            <a:off x="762000" y="899782"/>
            <a:ext cx="2743200" cy="38779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ts val="1800"/>
              </a:spcBef>
              <a:buClr>
                <a:srgbClr val="F5821E"/>
              </a:buClr>
            </a:pPr>
            <a:r>
              <a:rPr lang="en-US" altLang="en-US" sz="1400" dirty="0">
                <a:solidFill>
                  <a:srgbClr val="000000"/>
                </a:solidFill>
                <a:latin typeface="Calibri" pitchFamily="34" charset="0"/>
              </a:rPr>
              <a:t>Jindal Steel &amp; Power Limited (JSPL) is a major player in steel, power and mining</a:t>
            </a:r>
          </a:p>
          <a:p>
            <a:pPr>
              <a:spcBef>
                <a:spcPts val="1200"/>
              </a:spcBef>
              <a:buClr>
                <a:srgbClr val="F5821E"/>
              </a:buClr>
            </a:pPr>
            <a:r>
              <a:rPr lang="en-US" altLang="en-US" sz="1400" dirty="0">
                <a:solidFill>
                  <a:srgbClr val="000000"/>
                </a:solidFill>
                <a:latin typeface="Calibri" pitchFamily="34" charset="0"/>
              </a:rPr>
              <a:t>Captive coal mines -</a:t>
            </a:r>
            <a:r>
              <a:rPr lang="en-US" altLang="en-US" sz="1400" dirty="0" err="1">
                <a:solidFill>
                  <a:srgbClr val="000000"/>
                </a:solidFill>
                <a:latin typeface="Calibri" pitchFamily="34" charset="0"/>
              </a:rPr>
              <a:t>Dongamahua</a:t>
            </a:r>
            <a:r>
              <a:rPr lang="en-US" altLang="en-US" sz="1400" dirty="0">
                <a:solidFill>
                  <a:srgbClr val="000000"/>
                </a:solidFill>
                <a:latin typeface="Calibri" pitchFamily="34" charset="0"/>
              </a:rPr>
              <a:t> and Tamnar (Chhattisgarh)</a:t>
            </a:r>
          </a:p>
          <a:p>
            <a:pPr>
              <a:spcBef>
                <a:spcPts val="1200"/>
              </a:spcBef>
              <a:buClr>
                <a:srgbClr val="F5821E"/>
              </a:buClr>
            </a:pPr>
            <a:r>
              <a:rPr lang="en-US" altLang="en-US" sz="1400" dirty="0">
                <a:solidFill>
                  <a:srgbClr val="000000"/>
                </a:solidFill>
                <a:latin typeface="Calibri" pitchFamily="34" charset="0"/>
              </a:rPr>
              <a:t>Iron ore mine - </a:t>
            </a:r>
            <a:r>
              <a:rPr lang="en-US" altLang="en-US" sz="1400" dirty="0" err="1">
                <a:solidFill>
                  <a:srgbClr val="000000"/>
                </a:solidFill>
                <a:latin typeface="Calibri" pitchFamily="34" charset="0"/>
              </a:rPr>
              <a:t>Tensa</a:t>
            </a:r>
            <a:r>
              <a:rPr lang="en-US" altLang="en-US" sz="1400" dirty="0">
                <a:solidFill>
                  <a:srgbClr val="000000"/>
                </a:solidFill>
                <a:latin typeface="Calibri" pitchFamily="34" charset="0"/>
              </a:rPr>
              <a:t>, Odisha and iron ore </a:t>
            </a:r>
            <a:r>
              <a:rPr lang="en-US" altLang="en-US" sz="1400" dirty="0" err="1">
                <a:solidFill>
                  <a:srgbClr val="000000"/>
                </a:solidFill>
                <a:latin typeface="Calibri" pitchFamily="34" charset="0"/>
              </a:rPr>
              <a:t>pelletisation</a:t>
            </a:r>
            <a:r>
              <a:rPr lang="en-US" altLang="en-US" sz="1400" dirty="0">
                <a:solidFill>
                  <a:srgbClr val="000000"/>
                </a:solidFill>
                <a:latin typeface="Calibri" pitchFamily="34" charset="0"/>
              </a:rPr>
              <a:t> plant at </a:t>
            </a:r>
            <a:r>
              <a:rPr lang="en-US" altLang="en-US" sz="1400" dirty="0" err="1">
                <a:solidFill>
                  <a:srgbClr val="000000"/>
                </a:solidFill>
                <a:latin typeface="Calibri" pitchFamily="34" charset="0"/>
              </a:rPr>
              <a:t>Barbil</a:t>
            </a:r>
            <a:r>
              <a:rPr lang="en-US" altLang="en-US" sz="1400" dirty="0">
                <a:solidFill>
                  <a:srgbClr val="000000"/>
                </a:solidFill>
                <a:latin typeface="Calibri" pitchFamily="34" charset="0"/>
              </a:rPr>
              <a:t>, Odisha</a:t>
            </a:r>
          </a:p>
          <a:p>
            <a:pPr>
              <a:spcBef>
                <a:spcPts val="1200"/>
              </a:spcBef>
              <a:buClr>
                <a:srgbClr val="F5821E"/>
              </a:buClr>
            </a:pPr>
            <a:r>
              <a:rPr lang="en-US" altLang="en-US" sz="1400" dirty="0">
                <a:solidFill>
                  <a:srgbClr val="000000"/>
                </a:solidFill>
                <a:latin typeface="Calibri" pitchFamily="34" charset="0"/>
              </a:rPr>
              <a:t>Also present in Asia, Africa, Australia and Europe</a:t>
            </a:r>
          </a:p>
          <a:p>
            <a:pPr>
              <a:spcBef>
                <a:spcPts val="1200"/>
              </a:spcBef>
              <a:buClr>
                <a:srgbClr val="F5821E"/>
              </a:buClr>
            </a:pPr>
            <a:r>
              <a:rPr lang="en-US" altLang="en-US" sz="1400" dirty="0">
                <a:solidFill>
                  <a:srgbClr val="000000"/>
                </a:solidFill>
                <a:latin typeface="Calibri" pitchFamily="34" charset="0"/>
              </a:rPr>
              <a:t>Revenues of US$3.60bn and cash profits of US$0.84bn (FY Mar’13)</a:t>
            </a:r>
          </a:p>
          <a:p>
            <a:pPr>
              <a:spcBef>
                <a:spcPts val="1200"/>
              </a:spcBef>
              <a:buClr>
                <a:srgbClr val="F5821E"/>
              </a:buClr>
            </a:pPr>
            <a:r>
              <a:rPr lang="en-US" altLang="en-US" sz="1400" dirty="0">
                <a:solidFill>
                  <a:srgbClr val="000000"/>
                </a:solidFill>
                <a:latin typeface="Calibri" pitchFamily="34" charset="0"/>
              </a:rPr>
              <a:t>Market capitalization of US$3.67bn as on November 6, 2013.</a:t>
            </a:r>
          </a:p>
        </p:txBody>
      </p:sp>
      <p:sp>
        <p:nvSpPr>
          <p:cNvPr id="29" name="Isosceles Triangle 28"/>
          <p:cNvSpPr/>
          <p:nvPr/>
        </p:nvSpPr>
        <p:spPr>
          <a:xfrm rot="5400000">
            <a:off x="601662" y="2366963"/>
            <a:ext cx="117475" cy="101600"/>
          </a:xfrm>
          <a:prstGeom prst="triangle">
            <a:avLst/>
          </a:prstGeom>
          <a:solidFill>
            <a:srgbClr val="F582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0" name="Isosceles Triangle 29"/>
          <p:cNvSpPr/>
          <p:nvPr/>
        </p:nvSpPr>
        <p:spPr>
          <a:xfrm rot="5400000">
            <a:off x="601662" y="3157538"/>
            <a:ext cx="117475" cy="101600"/>
          </a:xfrm>
          <a:prstGeom prst="triangle">
            <a:avLst/>
          </a:prstGeom>
          <a:solidFill>
            <a:srgbClr val="F582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1" name="Isosceles Triangle 30"/>
          <p:cNvSpPr/>
          <p:nvPr/>
        </p:nvSpPr>
        <p:spPr>
          <a:xfrm rot="5400000">
            <a:off x="601662" y="3719513"/>
            <a:ext cx="117475" cy="101600"/>
          </a:xfrm>
          <a:prstGeom prst="triangle">
            <a:avLst/>
          </a:prstGeom>
          <a:solidFill>
            <a:srgbClr val="F582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2" name="Isosceles Triangle 31"/>
          <p:cNvSpPr/>
          <p:nvPr/>
        </p:nvSpPr>
        <p:spPr>
          <a:xfrm rot="5400000">
            <a:off x="601662" y="4351338"/>
            <a:ext cx="117475" cy="101600"/>
          </a:xfrm>
          <a:prstGeom prst="triangle">
            <a:avLst/>
          </a:prstGeom>
          <a:solidFill>
            <a:srgbClr val="F582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3822" name="Rectangle 18"/>
          <p:cNvSpPr>
            <a:spLocks noChangeArrowheads="1"/>
          </p:cNvSpPr>
          <p:nvPr/>
        </p:nvSpPr>
        <p:spPr bwMode="auto">
          <a:xfrm>
            <a:off x="7620000" y="1738313"/>
            <a:ext cx="1290638" cy="862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ts val="3000"/>
              </a:lnSpc>
            </a:pPr>
            <a:r>
              <a:rPr lang="en-US" altLang="en-US" sz="2400">
                <a:latin typeface="Calibri" pitchFamily="34" charset="0"/>
              </a:rPr>
              <a:t>Global Venture</a:t>
            </a:r>
          </a:p>
        </p:txBody>
      </p:sp>
      <p:sp>
        <p:nvSpPr>
          <p:cNvPr id="33823" name="Rectangle 36"/>
          <p:cNvSpPr>
            <a:spLocks noChangeArrowheads="1"/>
          </p:cNvSpPr>
          <p:nvPr/>
        </p:nvSpPr>
        <p:spPr bwMode="auto">
          <a:xfrm>
            <a:off x="7927291" y="4200525"/>
            <a:ext cx="1133475" cy="954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14300" indent="-114300">
              <a:buFont typeface="Wingdings" pitchFamily="2" charset="2"/>
              <a:buChar char="§"/>
            </a:pPr>
            <a:r>
              <a:rPr lang="en-US" altLang="zh-CN" sz="1400" b="1" dirty="0">
                <a:solidFill>
                  <a:srgbClr val="00B0F0"/>
                </a:solidFill>
                <a:latin typeface="Calibri" pitchFamily="34" charset="0"/>
              </a:rPr>
              <a:t>Asia</a:t>
            </a:r>
          </a:p>
          <a:p>
            <a:pPr marL="114300" indent="-114300">
              <a:buFont typeface="Wingdings" pitchFamily="2" charset="2"/>
              <a:buChar char="§"/>
            </a:pPr>
            <a:r>
              <a:rPr lang="en-US" altLang="zh-CN" sz="1400" b="1" dirty="0">
                <a:solidFill>
                  <a:srgbClr val="00B0F0"/>
                </a:solidFill>
                <a:latin typeface="Calibri" pitchFamily="34" charset="0"/>
              </a:rPr>
              <a:t>Africa</a:t>
            </a:r>
          </a:p>
          <a:p>
            <a:pPr marL="114300" indent="-114300">
              <a:buFont typeface="Wingdings" pitchFamily="2" charset="2"/>
              <a:buChar char="§"/>
            </a:pPr>
            <a:r>
              <a:rPr lang="en-US" altLang="zh-CN" sz="1400" b="1" dirty="0">
                <a:solidFill>
                  <a:srgbClr val="00B0F0"/>
                </a:solidFill>
                <a:latin typeface="Calibri" pitchFamily="34" charset="0"/>
              </a:rPr>
              <a:t>Australia</a:t>
            </a:r>
          </a:p>
          <a:p>
            <a:pPr marL="114300" indent="-114300">
              <a:buFont typeface="Wingdings" pitchFamily="2" charset="2"/>
              <a:buChar char="§"/>
            </a:pPr>
            <a:r>
              <a:rPr lang="en-US" altLang="zh-CN" sz="1400" b="1" dirty="0">
                <a:solidFill>
                  <a:srgbClr val="00B0F0"/>
                </a:solidFill>
                <a:latin typeface="Calibri" pitchFamily="34" charset="0"/>
              </a:rPr>
              <a:t>Europe</a:t>
            </a:r>
          </a:p>
        </p:txBody>
      </p:sp>
      <p:sp>
        <p:nvSpPr>
          <p:cNvPr id="2" name="Right Arrow 1"/>
          <p:cNvSpPr/>
          <p:nvPr/>
        </p:nvSpPr>
        <p:spPr>
          <a:xfrm>
            <a:off x="1079500" y="4724400"/>
            <a:ext cx="2501900" cy="655638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b="1" dirty="0">
                <a:latin typeface="Calibri" pitchFamily="34" charset="0"/>
              </a:rPr>
              <a:t>Current Capacity</a:t>
            </a:r>
          </a:p>
        </p:txBody>
      </p:sp>
      <p:sp>
        <p:nvSpPr>
          <p:cNvPr id="39" name="Right Arrow 38"/>
          <p:cNvSpPr/>
          <p:nvPr/>
        </p:nvSpPr>
        <p:spPr>
          <a:xfrm>
            <a:off x="1079500" y="5638800"/>
            <a:ext cx="2578100" cy="788988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600" b="1" dirty="0">
                <a:latin typeface="Calibri" pitchFamily="34" charset="0"/>
              </a:rPr>
              <a:t>Capacity as on 31</a:t>
            </a:r>
            <a:r>
              <a:rPr lang="en-US" sz="1600" b="1" baseline="30000" dirty="0">
                <a:latin typeface="Calibri" pitchFamily="34" charset="0"/>
              </a:rPr>
              <a:t>st</a:t>
            </a:r>
            <a:r>
              <a:rPr lang="en-US" sz="1600" b="1" dirty="0">
                <a:latin typeface="Calibri" pitchFamily="34" charset="0"/>
              </a:rPr>
              <a:t> March 2014</a:t>
            </a:r>
          </a:p>
        </p:txBody>
      </p:sp>
      <p:sp>
        <p:nvSpPr>
          <p:cNvPr id="41" name="Rectangle 40"/>
          <p:cNvSpPr/>
          <p:nvPr/>
        </p:nvSpPr>
        <p:spPr>
          <a:xfrm>
            <a:off x="3657600" y="5486400"/>
            <a:ext cx="1628775" cy="1169988"/>
          </a:xfrm>
          <a:prstGeom prst="rect">
            <a:avLst/>
          </a:prstGeom>
        </p:spPr>
        <p:txBody>
          <a:bodyPr>
            <a:spAutoFit/>
          </a:bodyPr>
          <a:lstStyle/>
          <a:p>
            <a:pPr marL="114300" indent="-114300">
              <a:buFont typeface="Wingdings" pitchFamily="2" charset="2"/>
              <a:buChar char="§"/>
              <a:defRPr/>
            </a:pPr>
            <a:r>
              <a:rPr lang="en-US" altLang="zh-CN" sz="1400" b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  <a:cs typeface="Arial" charset="0"/>
              </a:rPr>
              <a:t>Steel: 6.6MTPA</a:t>
            </a:r>
          </a:p>
          <a:p>
            <a:pPr marL="114300" indent="-114300">
              <a:buFont typeface="Wingdings" pitchFamily="2" charset="2"/>
              <a:buChar char="§"/>
              <a:defRPr/>
            </a:pPr>
            <a:r>
              <a:rPr lang="en-US" altLang="zh-CN" sz="1400" b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  <a:cs typeface="Arial" charset="0"/>
              </a:rPr>
              <a:t>Hot Briquetted Iron: 1.5 MTPA</a:t>
            </a:r>
          </a:p>
          <a:p>
            <a:pPr marL="114300" indent="-114300">
              <a:buFont typeface="Wingdings" pitchFamily="2" charset="2"/>
              <a:buChar char="§"/>
              <a:defRPr/>
            </a:pPr>
            <a:r>
              <a:rPr lang="en-US" altLang="zh-CN" sz="1400" b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  <a:cs typeface="Arial" charset="0"/>
              </a:rPr>
              <a:t>Pellet Plant: 9.0 MTPA</a:t>
            </a:r>
          </a:p>
        </p:txBody>
      </p:sp>
      <p:sp>
        <p:nvSpPr>
          <p:cNvPr id="33827" name="Rectangle 41"/>
          <p:cNvSpPr>
            <a:spLocks noChangeArrowheads="1"/>
          </p:cNvSpPr>
          <p:nvPr/>
        </p:nvSpPr>
        <p:spPr bwMode="auto">
          <a:xfrm>
            <a:off x="5181600" y="5495925"/>
            <a:ext cx="129540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14300" indent="-114300">
              <a:buFont typeface="Wingdings" pitchFamily="2" charset="2"/>
              <a:buChar char="§"/>
            </a:pPr>
            <a:r>
              <a:rPr lang="en-US" altLang="zh-CN" sz="1400" b="1">
                <a:solidFill>
                  <a:srgbClr val="00B050"/>
                </a:solidFill>
                <a:latin typeface="Calibri" pitchFamily="34" charset="0"/>
              </a:rPr>
              <a:t>Operational: 4507MW</a:t>
            </a:r>
          </a:p>
        </p:txBody>
      </p:sp>
      <p:sp>
        <p:nvSpPr>
          <p:cNvPr id="33828" name="Rectangle 42"/>
          <p:cNvSpPr>
            <a:spLocks noChangeArrowheads="1"/>
          </p:cNvSpPr>
          <p:nvPr/>
        </p:nvSpPr>
        <p:spPr bwMode="auto">
          <a:xfrm>
            <a:off x="6553200" y="5486400"/>
            <a:ext cx="1214438" cy="954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14300" indent="-114300">
              <a:buFont typeface="Wingdings" pitchFamily="2" charset="2"/>
              <a:buChar char="§"/>
            </a:pPr>
            <a:r>
              <a:rPr lang="en-US" altLang="zh-CN" sz="1400" b="1">
                <a:solidFill>
                  <a:srgbClr val="74563F"/>
                </a:solidFill>
                <a:latin typeface="Calibri" pitchFamily="34" charset="0"/>
              </a:rPr>
              <a:t>Iron ore: 2 MTPA</a:t>
            </a:r>
          </a:p>
          <a:p>
            <a:pPr marL="114300" indent="-114300">
              <a:buFont typeface="Wingdings" pitchFamily="2" charset="2"/>
              <a:buChar char="§"/>
            </a:pPr>
            <a:r>
              <a:rPr lang="en-US" altLang="zh-CN" sz="1400" b="1">
                <a:solidFill>
                  <a:srgbClr val="74563F"/>
                </a:solidFill>
                <a:latin typeface="Calibri" pitchFamily="34" charset="0"/>
              </a:rPr>
              <a:t>Coal: 16 MTPA</a:t>
            </a:r>
          </a:p>
        </p:txBody>
      </p:sp>
      <p:sp>
        <p:nvSpPr>
          <p:cNvPr id="33829" name="Rectangle 43"/>
          <p:cNvSpPr>
            <a:spLocks noChangeArrowheads="1"/>
          </p:cNvSpPr>
          <p:nvPr/>
        </p:nvSpPr>
        <p:spPr bwMode="auto">
          <a:xfrm>
            <a:off x="7929563" y="5486400"/>
            <a:ext cx="1138237" cy="954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14300" indent="-114300">
              <a:buFont typeface="Wingdings" pitchFamily="2" charset="2"/>
              <a:buChar char="§"/>
            </a:pPr>
            <a:r>
              <a:rPr lang="en-US" altLang="zh-CN" sz="1400" b="1">
                <a:solidFill>
                  <a:srgbClr val="00B0F0"/>
                </a:solidFill>
                <a:latin typeface="Calibri" pitchFamily="34" charset="0"/>
              </a:rPr>
              <a:t>Asia</a:t>
            </a:r>
          </a:p>
          <a:p>
            <a:pPr marL="114300" indent="-114300">
              <a:buFont typeface="Wingdings" pitchFamily="2" charset="2"/>
              <a:buChar char="§"/>
            </a:pPr>
            <a:r>
              <a:rPr lang="en-US" altLang="zh-CN" sz="1400" b="1">
                <a:solidFill>
                  <a:srgbClr val="00B0F0"/>
                </a:solidFill>
                <a:latin typeface="Calibri" pitchFamily="34" charset="0"/>
              </a:rPr>
              <a:t>Africa</a:t>
            </a:r>
          </a:p>
          <a:p>
            <a:pPr marL="114300" indent="-114300">
              <a:buFont typeface="Wingdings" pitchFamily="2" charset="2"/>
              <a:buChar char="§"/>
            </a:pPr>
            <a:r>
              <a:rPr lang="en-US" altLang="zh-CN" sz="1400" b="1">
                <a:solidFill>
                  <a:srgbClr val="00B0F0"/>
                </a:solidFill>
                <a:latin typeface="Calibri" pitchFamily="34" charset="0"/>
              </a:rPr>
              <a:t>Australia</a:t>
            </a:r>
          </a:p>
          <a:p>
            <a:pPr marL="114300" indent="-114300">
              <a:buFont typeface="Wingdings" pitchFamily="2" charset="2"/>
              <a:buChar char="§"/>
            </a:pPr>
            <a:r>
              <a:rPr lang="en-US" altLang="zh-CN" sz="1400" b="1">
                <a:solidFill>
                  <a:srgbClr val="00B0F0"/>
                </a:solidFill>
                <a:latin typeface="Calibri" pitchFamily="34" charset="0"/>
              </a:rPr>
              <a:t>Europe</a:t>
            </a:r>
          </a:p>
        </p:txBody>
      </p:sp>
      <p:sp>
        <p:nvSpPr>
          <p:cNvPr id="38" name="Title 1"/>
          <p:cNvSpPr txBox="1">
            <a:spLocks/>
          </p:cNvSpPr>
          <p:nvPr/>
        </p:nvSpPr>
        <p:spPr bwMode="auto">
          <a:xfrm>
            <a:off x="121489" y="120563"/>
            <a:ext cx="8794113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9298" algn="l"/>
              </a:tabLst>
              <a:defRPr/>
            </a:pPr>
            <a:r>
              <a:rPr kumimoji="0" lang="en-US" sz="30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itchFamily="34" charset="0"/>
                <a:ea typeface="+mj-ea"/>
                <a:cs typeface="Calibri" pitchFamily="34" charset="0"/>
              </a:rPr>
              <a:t>Jindal Steel and Power Ltd.</a:t>
            </a:r>
            <a:endParaRPr kumimoji="0" lang="en-US" sz="3000" b="1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alibri" pitchFamily="34" charset="0"/>
              <a:ea typeface="+mj-ea"/>
              <a:cs typeface="Calibri" pitchFamily="34" charset="0"/>
            </a:endParaRPr>
          </a:p>
        </p:txBody>
      </p:sp>
      <p:pic>
        <p:nvPicPr>
          <p:cNvPr id="40" name="Picture 3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057866" y="0"/>
            <a:ext cx="1086134" cy="477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11379"/>
            <a:ext cx="8794113" cy="861774"/>
          </a:xfrm>
        </p:spPr>
        <p:txBody>
          <a:bodyPr/>
          <a:lstStyle/>
          <a:p>
            <a:pPr lvl="0">
              <a:defRPr/>
            </a:pPr>
            <a:r>
              <a:rPr lang="en-US" sz="2800" dirty="0"/>
              <a:t>Well integrated power pool will serve small </a:t>
            </a:r>
            <a:r>
              <a:rPr lang="en-US" sz="2800" dirty="0" smtClean="0"/>
              <a:t>countries </a:t>
            </a:r>
            <a:br>
              <a:rPr lang="en-US" sz="2800" dirty="0" smtClean="0"/>
            </a:br>
            <a:r>
              <a:rPr lang="en-US" sz="2800" dirty="0" smtClean="0"/>
              <a:t>and </a:t>
            </a:r>
            <a:r>
              <a:rPr lang="en-US" sz="2800" dirty="0"/>
              <a:t>central African region with ease from power centers</a:t>
            </a:r>
          </a:p>
        </p:txBody>
      </p:sp>
      <p:pic>
        <p:nvPicPr>
          <p:cNvPr id="58370" name="Picture 2" descr="http://www.afdb.org/fileadmin/uploads/afdb/Photos/Existing%20and%20Planned%20Power%20Pool%20Connections%20in%20Africa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28548" y="968991"/>
            <a:ext cx="6101193" cy="5650173"/>
          </a:xfrm>
          <a:prstGeom prst="rect">
            <a:avLst/>
          </a:prstGeom>
          <a:noFill/>
        </p:spPr>
      </p:pic>
      <p:sp>
        <p:nvSpPr>
          <p:cNvPr id="25" name="TextBox 24"/>
          <p:cNvSpPr txBox="1"/>
          <p:nvPr/>
        </p:nvSpPr>
        <p:spPr>
          <a:xfrm>
            <a:off x="-12700" y="6642100"/>
            <a:ext cx="100059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smtClean="0"/>
              <a:t>Source: AFDB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xmlns="" val="124311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120563"/>
            <a:ext cx="8794113" cy="461665"/>
          </a:xfrm>
        </p:spPr>
        <p:txBody>
          <a:bodyPr/>
          <a:lstStyle/>
          <a:p>
            <a:r>
              <a:rPr lang="en-US" dirty="0" smtClean="0"/>
              <a:t>IPPs – Determinants of Success in Africa</a:t>
            </a:r>
            <a:endParaRPr lang="en-US" dirty="0"/>
          </a:p>
        </p:txBody>
      </p:sp>
      <p:sp>
        <p:nvSpPr>
          <p:cNvPr id="7" name="Rectangle 7"/>
          <p:cNvSpPr txBox="1"/>
          <p:nvPr/>
        </p:nvSpPr>
        <p:spPr>
          <a:xfrm>
            <a:off x="97854" y="935078"/>
            <a:ext cx="8842946" cy="52322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sz="2000">
                <a:latin typeface="Calibri" pitchFamily="34" charset="0"/>
                <a:cs typeface="Calibri" pitchFamily="34" charset="0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2000">
                <a:latin typeface="Calibri" pitchFamily="34" charset="0"/>
                <a:cs typeface="Calibri" pitchFamily="34" charset="0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2000">
                <a:latin typeface="Calibri" pitchFamily="34" charset="0"/>
                <a:cs typeface="Calibri" pitchFamily="34" charset="0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2000">
                <a:latin typeface="Calibri" pitchFamily="34" charset="0"/>
                <a:cs typeface="Calibri" pitchFamily="34" charset="0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sz="2000">
                <a:latin typeface="Calibri" pitchFamily="34" charset="0"/>
                <a:cs typeface="Calibri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algn="just"/>
            <a:r>
              <a:rPr lang="en-US" dirty="0" smtClean="0"/>
              <a:t>PIDA estimates USD 43 bn required annually till 2040 to meet the demand supply gap</a:t>
            </a:r>
          </a:p>
          <a:p>
            <a:pPr lvl="1" algn="just"/>
            <a:endParaRPr lang="en-US" dirty="0" smtClean="0"/>
          </a:p>
          <a:p>
            <a:pPr lvl="1" algn="just"/>
            <a:r>
              <a:rPr lang="en-US" dirty="0" smtClean="0"/>
              <a:t>Total GDP of the African continent was USD 3,129 bn in 2011; top 10 economies contributing 75% to the total continent’s GDP</a:t>
            </a:r>
          </a:p>
          <a:p>
            <a:pPr lvl="1" algn="just"/>
            <a:endParaRPr lang="en-US" dirty="0" smtClean="0"/>
          </a:p>
          <a:p>
            <a:pPr lvl="1" algn="just"/>
            <a:r>
              <a:rPr lang="en-US" dirty="0" smtClean="0"/>
              <a:t> With a host of other infrastructure, health, education, security issues it is difficult for most of the African nations to invest in capital intensive power plants and development of the power infrastructure</a:t>
            </a:r>
          </a:p>
          <a:p>
            <a:pPr lvl="1" algn="just"/>
            <a:endParaRPr lang="en-US" dirty="0" smtClean="0"/>
          </a:p>
          <a:p>
            <a:pPr lvl="1" algn="just"/>
            <a:r>
              <a:rPr lang="en-US" dirty="0" smtClean="0"/>
              <a:t>According to ICA, by 2012, 23 IPP projects in 11 countries were at various stages of development. Successful programs exist in South Africa, Nigeria, Kenya, Uganda, Togo, Cote d’Ivoire, Senegal</a:t>
            </a:r>
          </a:p>
          <a:p>
            <a:pPr lvl="1" algn="just"/>
            <a:endParaRPr lang="en-US" dirty="0" smtClean="0"/>
          </a:p>
          <a:p>
            <a:pPr lvl="1" algn="just"/>
            <a:r>
              <a:rPr lang="en-US" dirty="0" smtClean="0"/>
              <a:t>IPPs help African governments to bring in requisite finance for developing the power plant, enable efficient utilization of natural resources, generate employment opportunities, develop infrastructure in and around the project</a:t>
            </a:r>
          </a:p>
        </p:txBody>
      </p:sp>
    </p:spTree>
    <p:extLst>
      <p:ext uri="{BB962C8B-B14F-4D97-AF65-F5344CB8AC3E}">
        <p14:creationId xmlns:p14="http://schemas.microsoft.com/office/powerpoint/2010/main" xmlns="" val="124311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897" y="202451"/>
            <a:ext cx="8794113" cy="461665"/>
          </a:xfrm>
        </p:spPr>
        <p:txBody>
          <a:bodyPr/>
          <a:lstStyle/>
          <a:p>
            <a:r>
              <a:rPr lang="en-US" dirty="0" smtClean="0"/>
              <a:t>IPPs – Support Required from African Governments</a:t>
            </a:r>
            <a:endParaRPr lang="en-US" dirty="0"/>
          </a:p>
        </p:txBody>
      </p:sp>
      <p:sp>
        <p:nvSpPr>
          <p:cNvPr id="7" name="Rectangle 7"/>
          <p:cNvSpPr txBox="1"/>
          <p:nvPr/>
        </p:nvSpPr>
        <p:spPr>
          <a:xfrm>
            <a:off x="97854" y="935078"/>
            <a:ext cx="8842946" cy="4308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sz="2000">
                <a:latin typeface="Calibri" pitchFamily="34" charset="0"/>
                <a:cs typeface="Calibri" pitchFamily="34" charset="0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2000">
                <a:latin typeface="Calibri" pitchFamily="34" charset="0"/>
                <a:cs typeface="Calibri" pitchFamily="34" charset="0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2000">
                <a:latin typeface="Calibri" pitchFamily="34" charset="0"/>
                <a:cs typeface="Calibri" pitchFamily="34" charset="0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2000">
                <a:latin typeface="Calibri" pitchFamily="34" charset="0"/>
                <a:cs typeface="Calibri" pitchFamily="34" charset="0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sz="2000">
                <a:latin typeface="Calibri" pitchFamily="34" charset="0"/>
                <a:cs typeface="Calibri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algn="just"/>
            <a:r>
              <a:rPr lang="en-US" dirty="0" smtClean="0"/>
              <a:t>Securing access to natural resources</a:t>
            </a:r>
          </a:p>
          <a:p>
            <a:pPr lvl="1" algn="just"/>
            <a:endParaRPr lang="en-US" dirty="0" smtClean="0"/>
          </a:p>
          <a:p>
            <a:pPr lvl="1" algn="just"/>
            <a:r>
              <a:rPr lang="en-US" dirty="0" smtClean="0"/>
              <a:t>Provision of suitable site for setting up the plant</a:t>
            </a:r>
          </a:p>
          <a:p>
            <a:pPr lvl="1" algn="just"/>
            <a:endParaRPr lang="en-US" dirty="0" smtClean="0"/>
          </a:p>
          <a:p>
            <a:pPr lvl="1" algn="just"/>
            <a:r>
              <a:rPr lang="en-US" dirty="0" smtClean="0"/>
              <a:t>Partner in development of enabling infrastructure for the project eg. Telecom, roads, rail etc.</a:t>
            </a:r>
          </a:p>
          <a:p>
            <a:pPr lvl="1" algn="just"/>
            <a:endParaRPr lang="en-US" dirty="0" smtClean="0"/>
          </a:p>
          <a:p>
            <a:pPr lvl="1" algn="just"/>
            <a:r>
              <a:rPr lang="en-US" dirty="0" smtClean="0"/>
              <a:t>Provision of licenses, permits, approvals required to develop a mine and/or power plant</a:t>
            </a:r>
          </a:p>
          <a:p>
            <a:pPr lvl="1" algn="just"/>
            <a:endParaRPr lang="en-US" dirty="0" smtClean="0"/>
          </a:p>
          <a:p>
            <a:pPr lvl="1" algn="just"/>
            <a:r>
              <a:rPr lang="en-US" dirty="0" smtClean="0"/>
              <a:t>Secure PPA so as to enable raising of finances from financial institutions</a:t>
            </a:r>
          </a:p>
          <a:p>
            <a:pPr lvl="1" algn="just"/>
            <a:endParaRPr lang="en-US" dirty="0" smtClean="0"/>
          </a:p>
          <a:p>
            <a:pPr lvl="1" algn="just"/>
            <a:r>
              <a:rPr lang="en-US" dirty="0" smtClean="0"/>
              <a:t>Relaxation in state taxes, tariffs across the value chain of mine / power plant development</a:t>
            </a:r>
          </a:p>
        </p:txBody>
      </p:sp>
    </p:spTree>
    <p:extLst>
      <p:ext uri="{BB962C8B-B14F-4D97-AF65-F5344CB8AC3E}">
        <p14:creationId xmlns:p14="http://schemas.microsoft.com/office/powerpoint/2010/main" xmlns="" val="124311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897" y="202451"/>
            <a:ext cx="8794113" cy="461665"/>
          </a:xfrm>
        </p:spPr>
        <p:txBody>
          <a:bodyPr/>
          <a:lstStyle/>
          <a:p>
            <a:r>
              <a:rPr lang="en-US" dirty="0" smtClean="0"/>
              <a:t>Clean Coal Technologies</a:t>
            </a:r>
            <a:endParaRPr lang="en-US" dirty="0"/>
          </a:p>
        </p:txBody>
      </p:sp>
      <p:sp>
        <p:nvSpPr>
          <p:cNvPr id="7" name="Rectangle 7"/>
          <p:cNvSpPr txBox="1"/>
          <p:nvPr/>
        </p:nvSpPr>
        <p:spPr>
          <a:xfrm>
            <a:off x="97854" y="935078"/>
            <a:ext cx="8842946" cy="33855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sz="2000">
                <a:latin typeface="Calibri" pitchFamily="34" charset="0"/>
                <a:cs typeface="Calibri" pitchFamily="34" charset="0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2000">
                <a:latin typeface="Calibri" pitchFamily="34" charset="0"/>
                <a:cs typeface="Calibri" pitchFamily="34" charset="0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2000">
                <a:latin typeface="Calibri" pitchFamily="34" charset="0"/>
                <a:cs typeface="Calibri" pitchFamily="34" charset="0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2000">
                <a:latin typeface="Calibri" pitchFamily="34" charset="0"/>
                <a:cs typeface="Calibri" pitchFamily="34" charset="0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sz="2000">
                <a:latin typeface="Calibri" pitchFamily="34" charset="0"/>
                <a:cs typeface="Calibri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algn="just"/>
            <a:r>
              <a:rPr lang="en-US" dirty="0" smtClean="0"/>
              <a:t>Clean coal technology is a collection of technologies being developed to mitigate the environmental impact of coal energy generation</a:t>
            </a:r>
          </a:p>
          <a:p>
            <a:pPr lvl="1" algn="just"/>
            <a:endParaRPr lang="en-US" dirty="0" smtClean="0"/>
          </a:p>
          <a:p>
            <a:pPr lvl="1" algn="just"/>
            <a:r>
              <a:rPr lang="en-US" dirty="0" smtClean="0"/>
              <a:t>Some of the techniques that would be used to accomplish this include: </a:t>
            </a:r>
          </a:p>
          <a:p>
            <a:pPr lvl="1" algn="just"/>
            <a:endParaRPr lang="en-US" dirty="0" smtClean="0"/>
          </a:p>
          <a:p>
            <a:pPr lvl="2" algn="just"/>
            <a:r>
              <a:rPr lang="en-US" dirty="0" smtClean="0"/>
              <a:t>Chemically washing minerals and impurities from the coal</a:t>
            </a:r>
          </a:p>
          <a:p>
            <a:pPr lvl="2" algn="just"/>
            <a:r>
              <a:rPr lang="en-US" dirty="0" smtClean="0"/>
              <a:t>Gasification</a:t>
            </a:r>
          </a:p>
          <a:p>
            <a:pPr lvl="2" algn="just"/>
            <a:r>
              <a:rPr lang="en-US" dirty="0" smtClean="0"/>
              <a:t>Treating the flue gases with steam to remove sulfur dioxide, carbon capture</a:t>
            </a:r>
          </a:p>
          <a:p>
            <a:pPr lvl="2" algn="just"/>
            <a:r>
              <a:rPr lang="en-US" dirty="0" smtClean="0"/>
              <a:t>Storage technologies to capture the carbon dioxide from the flue gas</a:t>
            </a:r>
          </a:p>
          <a:p>
            <a:pPr lvl="2" algn="just"/>
            <a:r>
              <a:rPr lang="en-US" dirty="0" smtClean="0"/>
              <a:t>Dewatering lower rank coals (brown coals) to improve the calorific value, and thus the efficiency of the conversion into electricity</a:t>
            </a:r>
          </a:p>
        </p:txBody>
      </p:sp>
    </p:spTree>
    <p:extLst>
      <p:ext uri="{BB962C8B-B14F-4D97-AF65-F5344CB8AC3E}">
        <p14:creationId xmlns:p14="http://schemas.microsoft.com/office/powerpoint/2010/main" xmlns="" val="124311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3213100"/>
            <a:ext cx="8559800" cy="553998"/>
          </a:xfrm>
        </p:spPr>
        <p:txBody>
          <a:bodyPr/>
          <a:lstStyle/>
          <a:p>
            <a:pPr algn="ctr">
              <a:defRPr/>
            </a:pPr>
            <a:r>
              <a:rPr lang="en-US" sz="3600" dirty="0" smtClean="0">
                <a:ea typeface="MS PGothic" pitchFamily="34" charset="-128"/>
              </a:rPr>
              <a:t>Thank you</a:t>
            </a:r>
            <a:endParaRPr lang="en-US" sz="3600" dirty="0">
              <a:ea typeface="MS PGothic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9" name="Rectangle 10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705600" y="4146550"/>
            <a:ext cx="1900238" cy="2178050"/>
          </a:xfrm>
          <a:prstGeom prst="roundRect">
            <a:avLst>
              <a:gd name="adj" fmla="val 8403"/>
            </a:avLst>
          </a:prstGeom>
          <a:noFill/>
          <a:ln w="15875">
            <a:solidFill>
              <a:srgbClr val="F5821E"/>
            </a:solidFill>
            <a:miter lim="800000"/>
            <a:headEnd/>
            <a:tailEnd/>
          </a:ln>
        </p:spPr>
        <p:txBody>
          <a:bodyPr tIns="36576" rIns="36576" bIns="36576"/>
          <a:lstStyle/>
          <a:p>
            <a:pPr defTabSz="1019175">
              <a:lnSpc>
                <a:spcPct val="110000"/>
              </a:lnSpc>
              <a:spcBef>
                <a:spcPct val="70000"/>
              </a:spcBef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9940" name="TextBox 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27050" y="1066800"/>
            <a:ext cx="1901825" cy="319088"/>
          </a:xfrm>
          <a:prstGeom prst="roundRect">
            <a:avLst>
              <a:gd name="adj" fmla="val 16667"/>
            </a:avLst>
          </a:prstGeom>
          <a:solidFill>
            <a:srgbClr val="F5821E"/>
          </a:solidFill>
          <a:ln w="9525">
            <a:solidFill>
              <a:schemeClr val="bg2"/>
            </a:solidFill>
            <a:round/>
            <a:headEnd/>
            <a:tailEnd/>
          </a:ln>
          <a:effectLst>
            <a:outerShdw dist="64007" dir="5400000" rotWithShape="0">
              <a:schemeClr val="bg1"/>
            </a:outerShdw>
          </a:effectLst>
        </p:spPr>
        <p:txBody>
          <a:bodyPr lIns="45720" tIns="36575" bIns="36575" anchor="b">
            <a:spAutoFit/>
          </a:bodyPr>
          <a:lstStyle/>
          <a:p>
            <a:pPr algn="ctr"/>
            <a:r>
              <a:rPr lang="en-US" altLang="en-US" sz="1400" b="1">
                <a:solidFill>
                  <a:srgbClr val="FFFFFF"/>
                </a:solidFill>
                <a:latin typeface="Calibri" pitchFamily="34" charset="0"/>
              </a:rPr>
              <a:t>Raigarh</a:t>
            </a:r>
          </a:p>
        </p:txBody>
      </p:sp>
      <p:sp>
        <p:nvSpPr>
          <p:cNvPr id="39941" name="TextBox 7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584450" y="1066800"/>
            <a:ext cx="1901825" cy="319088"/>
          </a:xfrm>
          <a:prstGeom prst="roundRect">
            <a:avLst>
              <a:gd name="adj" fmla="val 16667"/>
            </a:avLst>
          </a:prstGeom>
          <a:solidFill>
            <a:srgbClr val="F5821E"/>
          </a:solidFill>
          <a:ln w="9525">
            <a:solidFill>
              <a:schemeClr val="bg2"/>
            </a:solidFill>
            <a:round/>
            <a:headEnd/>
            <a:tailEnd/>
          </a:ln>
          <a:effectLst>
            <a:outerShdw dist="64007" dir="5400000" rotWithShape="0">
              <a:schemeClr val="bg1"/>
            </a:outerShdw>
          </a:effectLst>
        </p:spPr>
        <p:txBody>
          <a:bodyPr lIns="45720" tIns="36575" bIns="36575" anchor="b">
            <a:spAutoFit/>
          </a:bodyPr>
          <a:lstStyle/>
          <a:p>
            <a:pPr algn="ctr"/>
            <a:r>
              <a:rPr lang="en-US" altLang="en-US" sz="1400" b="1">
                <a:solidFill>
                  <a:srgbClr val="FFFFFF"/>
                </a:solidFill>
                <a:latin typeface="Calibri" pitchFamily="34" charset="0"/>
              </a:rPr>
              <a:t>Angul</a:t>
            </a:r>
          </a:p>
        </p:txBody>
      </p:sp>
      <p:sp>
        <p:nvSpPr>
          <p:cNvPr id="39942" name="TextBox 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643438" y="1066800"/>
            <a:ext cx="1900237" cy="319088"/>
          </a:xfrm>
          <a:prstGeom prst="roundRect">
            <a:avLst>
              <a:gd name="adj" fmla="val 16667"/>
            </a:avLst>
          </a:prstGeom>
          <a:solidFill>
            <a:srgbClr val="F5821E"/>
          </a:solidFill>
          <a:ln w="9525">
            <a:solidFill>
              <a:schemeClr val="bg2"/>
            </a:solidFill>
            <a:round/>
            <a:headEnd/>
            <a:tailEnd/>
          </a:ln>
          <a:effectLst>
            <a:outerShdw dist="64007" dir="5400000" rotWithShape="0">
              <a:schemeClr val="bg1"/>
            </a:outerShdw>
          </a:effectLst>
        </p:spPr>
        <p:txBody>
          <a:bodyPr lIns="45720" tIns="36575" bIns="36575" anchor="b">
            <a:spAutoFit/>
          </a:bodyPr>
          <a:lstStyle/>
          <a:p>
            <a:pPr algn="ctr"/>
            <a:r>
              <a:rPr lang="en-US" altLang="en-US" sz="1400" b="1">
                <a:solidFill>
                  <a:srgbClr val="FFFFFF"/>
                </a:solidFill>
                <a:latin typeface="Calibri" pitchFamily="34" charset="0"/>
              </a:rPr>
              <a:t>Patratu</a:t>
            </a:r>
          </a:p>
        </p:txBody>
      </p:sp>
      <p:sp>
        <p:nvSpPr>
          <p:cNvPr id="39943" name="TextBox 9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700838" y="1066800"/>
            <a:ext cx="1900237" cy="319088"/>
          </a:xfrm>
          <a:prstGeom prst="roundRect">
            <a:avLst>
              <a:gd name="adj" fmla="val 16667"/>
            </a:avLst>
          </a:prstGeom>
          <a:solidFill>
            <a:srgbClr val="F5821E"/>
          </a:solidFill>
          <a:ln w="9525">
            <a:solidFill>
              <a:schemeClr val="bg2"/>
            </a:solidFill>
            <a:round/>
            <a:headEnd/>
            <a:tailEnd/>
          </a:ln>
          <a:effectLst>
            <a:outerShdw dist="64007" dir="5400000" rotWithShape="0">
              <a:schemeClr val="bg1"/>
            </a:outerShdw>
          </a:effectLst>
        </p:spPr>
        <p:txBody>
          <a:bodyPr lIns="45720" tIns="36575" bIns="36575" anchor="b">
            <a:spAutoFit/>
          </a:bodyPr>
          <a:lstStyle/>
          <a:p>
            <a:pPr algn="ctr"/>
            <a:r>
              <a:rPr lang="en-US" altLang="en-US" sz="1400" b="1">
                <a:solidFill>
                  <a:srgbClr val="FFFFFF"/>
                </a:solidFill>
                <a:latin typeface="Calibri" pitchFamily="34" charset="0"/>
              </a:rPr>
              <a:t>Barbil</a:t>
            </a:r>
          </a:p>
        </p:txBody>
      </p:sp>
      <p:sp>
        <p:nvSpPr>
          <p:cNvPr id="27656" name="TextBox 10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60400" y="6362700"/>
            <a:ext cx="823913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90488" indent="-90488" eaLnBrk="0" hangingPunct="0">
              <a:spcBef>
                <a:spcPct val="20000"/>
              </a:spcBef>
              <a:buFont typeface="Arial" pitchFamily="34" charset="0"/>
              <a:buChar char="•"/>
              <a:tabLst>
                <a:tab pos="90488" algn="l"/>
              </a:tabLst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tabLst>
                <a:tab pos="90488" algn="l"/>
              </a:tabLst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tabLst>
                <a:tab pos="90488" algn="l"/>
              </a:tabLst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tabLst>
                <a:tab pos="90488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tabLst>
                <a:tab pos="90488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tabLst>
                <a:tab pos="90488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tabLst>
                <a:tab pos="90488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tabLst>
                <a:tab pos="90488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tabLst>
                <a:tab pos="90488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en-US" altLang="en-US" sz="1050" dirty="0" smtClean="0">
                <a:solidFill>
                  <a:srgbClr val="000000"/>
                </a:solidFill>
              </a:rPr>
              <a:t>Operational</a:t>
            </a:r>
          </a:p>
        </p:txBody>
      </p:sp>
      <p:sp>
        <p:nvSpPr>
          <p:cNvPr id="39945" name="TextBox 12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6700838" y="3763963"/>
            <a:ext cx="1900237" cy="288925"/>
          </a:xfrm>
          <a:prstGeom prst="rect">
            <a:avLst/>
          </a:prstGeom>
          <a:solidFill>
            <a:srgbClr val="F5821E"/>
          </a:solidFill>
          <a:ln w="9525">
            <a:solidFill>
              <a:schemeClr val="bg2"/>
            </a:solidFill>
            <a:miter lim="800000"/>
            <a:headEnd/>
            <a:tailEnd/>
          </a:ln>
          <a:effectLst>
            <a:outerShdw dist="64007" dir="5400000" rotWithShape="0">
              <a:schemeClr val="bg1"/>
            </a:outerShdw>
          </a:effectLst>
        </p:spPr>
        <p:txBody>
          <a:bodyPr lIns="45720" tIns="36575" bIns="36575" anchor="b">
            <a:spAutoFit/>
          </a:bodyPr>
          <a:lstStyle/>
          <a:p>
            <a:pPr algn="ctr"/>
            <a:r>
              <a:rPr lang="en-US" altLang="en-US" sz="1400" b="1">
                <a:solidFill>
                  <a:srgbClr val="FFFFFF"/>
                </a:solidFill>
                <a:latin typeface="Calibri" pitchFamily="34" charset="0"/>
              </a:rPr>
              <a:t>Raipur</a:t>
            </a:r>
          </a:p>
        </p:txBody>
      </p:sp>
      <p:pic>
        <p:nvPicPr>
          <p:cNvPr id="14" name="Picture 4" descr="http://www.jindalsteelpower.com/header-images/raigarh-plant.jpg"/>
          <p:cNvPicPr>
            <a:picLocks noChangeAspect="1" noChangeArrowheads="1"/>
          </p:cNvPicPr>
          <p:nvPr/>
        </p:nvPicPr>
        <p:blipFill>
          <a:blip r:embed="rId27" cstate="print"/>
          <a:srcRect l="21288" r="35409"/>
          <a:stretch>
            <a:fillRect/>
          </a:stretch>
        </p:blipFill>
        <p:spPr bwMode="gray">
          <a:xfrm>
            <a:off x="569912" y="1503216"/>
            <a:ext cx="1828800" cy="1209775"/>
          </a:xfrm>
          <a:prstGeom prst="round2SameRect">
            <a:avLst/>
          </a:prstGeom>
          <a:noFill/>
        </p:spPr>
      </p:pic>
      <p:pic>
        <p:nvPicPr>
          <p:cNvPr id="15" name="Picture 6" descr="http://www.jindalsteelpower.com/facilities/domestic/images/patratu.jpg"/>
          <p:cNvPicPr>
            <a:picLocks noChangeAspect="1" noChangeArrowheads="1"/>
          </p:cNvPicPr>
          <p:nvPr/>
        </p:nvPicPr>
        <p:blipFill>
          <a:blip r:embed="rId28" cstate="print"/>
          <a:srcRect l="4224" t="6871" r="4806" b="6054"/>
          <a:stretch>
            <a:fillRect/>
          </a:stretch>
        </p:blipFill>
        <p:spPr bwMode="gray">
          <a:xfrm>
            <a:off x="4693810" y="1515783"/>
            <a:ext cx="1817826" cy="1209774"/>
          </a:xfrm>
          <a:prstGeom prst="round2SameRect">
            <a:avLst/>
          </a:prstGeom>
          <a:noFill/>
        </p:spPr>
      </p:pic>
      <p:pic>
        <p:nvPicPr>
          <p:cNvPr id="16" name="Picture 8" descr="http://www.jindalsteelpower.com/header-images/barbil.jpg"/>
          <p:cNvPicPr>
            <a:picLocks noChangeAspect="1" noChangeArrowheads="1"/>
          </p:cNvPicPr>
          <p:nvPr/>
        </p:nvPicPr>
        <p:blipFill>
          <a:blip r:embed="rId29" cstate="print"/>
          <a:srcRect l="43907" r="16212" b="7083"/>
          <a:stretch>
            <a:fillRect/>
          </a:stretch>
        </p:blipFill>
        <p:spPr bwMode="gray">
          <a:xfrm>
            <a:off x="6736051" y="1506547"/>
            <a:ext cx="1828800" cy="1220559"/>
          </a:xfrm>
          <a:prstGeom prst="round2SameRect">
            <a:avLst>
              <a:gd name="adj1" fmla="val 10613"/>
              <a:gd name="adj2" fmla="val 0"/>
            </a:avLst>
          </a:prstGeom>
          <a:noFill/>
        </p:spPr>
      </p:pic>
      <p:pic>
        <p:nvPicPr>
          <p:cNvPr id="17" name="Picture 10" descr="http://jindalsteelmachinery.com/images/01.jpg"/>
          <p:cNvPicPr>
            <a:picLocks noChangeAspect="1" noChangeArrowheads="1"/>
          </p:cNvPicPr>
          <p:nvPr/>
        </p:nvPicPr>
        <p:blipFill>
          <a:blip r:embed="rId30" cstate="print"/>
          <a:srcRect l="6375" r="38074" b="27952"/>
          <a:stretch>
            <a:fillRect/>
          </a:stretch>
        </p:blipFill>
        <p:spPr bwMode="gray">
          <a:xfrm>
            <a:off x="6736051" y="4173863"/>
            <a:ext cx="1828800" cy="1067018"/>
          </a:xfrm>
          <a:prstGeom prst="round2SameRect">
            <a:avLst/>
          </a:prstGeom>
          <a:noFill/>
        </p:spPr>
      </p:pic>
      <p:pic>
        <p:nvPicPr>
          <p:cNvPr id="18" name="Picture 12" descr="http://t2.gstatic.com/images?q=tbn:ANd9GcQ9z97-v1YuCmVEZSTXmd3ntgGcpIJIOpNDoLkHjQEc2cv0XYb8"/>
          <p:cNvPicPr>
            <a:picLocks noChangeAspect="1" noChangeArrowheads="1"/>
          </p:cNvPicPr>
          <p:nvPr/>
        </p:nvPicPr>
        <p:blipFill>
          <a:blip r:embed="rId31" cstate="print"/>
          <a:srcRect l="3278" t="8798" r="7833" b="10218"/>
          <a:stretch>
            <a:fillRect/>
          </a:stretch>
        </p:blipFill>
        <p:spPr bwMode="gray">
          <a:xfrm>
            <a:off x="2627601" y="1525019"/>
            <a:ext cx="1828800" cy="1179284"/>
          </a:xfrm>
          <a:prstGeom prst="round2SameRect">
            <a:avLst/>
          </a:prstGeom>
          <a:noFill/>
        </p:spPr>
      </p:pic>
      <p:sp>
        <p:nvSpPr>
          <p:cNvPr id="27663" name="TextBox 18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554038" y="2743200"/>
            <a:ext cx="1844675" cy="3490913"/>
          </a:xfrm>
          <a:prstGeom prst="rect">
            <a:avLst/>
          </a:prstGeom>
          <a:solidFill>
            <a:srgbClr val="FDEADA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127000" indent="-125413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lvl="1" eaLnBrk="1" hangingPunct="1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  <a:defRPr/>
            </a:pPr>
            <a:r>
              <a:rPr lang="en-US" altLang="en-US" sz="1050" dirty="0" smtClean="0">
                <a:ea typeface="LF_Kai"/>
                <a:cs typeface="LF_Kai"/>
              </a:rPr>
              <a:t>Sponge Iron: 1.37MT</a:t>
            </a:r>
          </a:p>
          <a:p>
            <a:pPr lvl="1" eaLnBrk="1" hangingPunct="1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  <a:defRPr/>
            </a:pPr>
            <a:r>
              <a:rPr lang="en-US" altLang="en-US" sz="1050" dirty="0" smtClean="0">
                <a:ea typeface="LF_Kai"/>
                <a:cs typeface="LF_Kai"/>
              </a:rPr>
              <a:t>Steel: 3.0MT</a:t>
            </a:r>
          </a:p>
          <a:p>
            <a:pPr lvl="1" eaLnBrk="1" hangingPunct="1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  <a:defRPr/>
            </a:pPr>
            <a:r>
              <a:rPr lang="en-US" altLang="en-US" sz="1050" dirty="0" smtClean="0">
                <a:ea typeface="LF_Kai"/>
                <a:cs typeface="LF_Kai"/>
              </a:rPr>
              <a:t>Pig Iron: 1.67MT</a:t>
            </a:r>
          </a:p>
          <a:p>
            <a:pPr lvl="1" eaLnBrk="1" hangingPunct="1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  <a:defRPr/>
            </a:pPr>
            <a:r>
              <a:rPr lang="en-US" altLang="en-US" sz="1050" dirty="0" smtClean="0">
                <a:ea typeface="LF_Kai"/>
                <a:cs typeface="LF_Kai"/>
              </a:rPr>
              <a:t>Rail &amp; Universal Beam Mill: 0.75MT</a:t>
            </a:r>
          </a:p>
          <a:p>
            <a:pPr lvl="1" eaLnBrk="1" hangingPunct="1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  <a:defRPr/>
            </a:pPr>
            <a:r>
              <a:rPr lang="en-US" altLang="en-US" sz="1050" dirty="0" smtClean="0">
                <a:ea typeface="LF_Kai"/>
                <a:cs typeface="LF_Kai"/>
              </a:rPr>
              <a:t>Plate Mill: 1.0MT</a:t>
            </a:r>
          </a:p>
          <a:p>
            <a:pPr lvl="1" eaLnBrk="1" hangingPunct="1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  <a:defRPr/>
            </a:pPr>
            <a:r>
              <a:rPr lang="en-US" altLang="en-US" sz="1050" dirty="0" smtClean="0">
                <a:ea typeface="LF_Kai"/>
                <a:cs typeface="LF_Kai"/>
              </a:rPr>
              <a:t>Medium &amp; Light Section Mill: 0.6MT</a:t>
            </a:r>
          </a:p>
          <a:p>
            <a:pPr lvl="1" eaLnBrk="1" hangingPunct="1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  <a:defRPr/>
            </a:pPr>
            <a:r>
              <a:rPr lang="en-US" altLang="en-US" sz="1050" dirty="0" smtClean="0">
                <a:ea typeface="LF_Kai"/>
                <a:cs typeface="LF_Kai"/>
              </a:rPr>
              <a:t>Fabricated structures: 0.12MT</a:t>
            </a:r>
          </a:p>
          <a:p>
            <a:pPr lvl="1" eaLnBrk="1" hangingPunct="1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  <a:defRPr/>
            </a:pPr>
            <a:r>
              <a:rPr lang="en-US" altLang="en-US" sz="1050" dirty="0" smtClean="0">
                <a:ea typeface="LF_Kai"/>
                <a:cs typeface="LF_Kai"/>
              </a:rPr>
              <a:t>Ferro Alloys: 36,000 T</a:t>
            </a:r>
          </a:p>
          <a:p>
            <a:pPr lvl="1" eaLnBrk="1" hangingPunct="1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  <a:defRPr/>
            </a:pPr>
            <a:r>
              <a:rPr lang="en-US" altLang="en-US" sz="1050" dirty="0" smtClean="0">
                <a:ea typeface="LF_Kai"/>
                <a:cs typeface="LF_Kai"/>
              </a:rPr>
              <a:t>Power: 893 MW</a:t>
            </a:r>
          </a:p>
          <a:p>
            <a:pPr lvl="1" eaLnBrk="1" hangingPunct="1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  <a:defRPr/>
            </a:pPr>
            <a:r>
              <a:rPr lang="en-US" altLang="en-US" sz="1050" dirty="0" smtClean="0">
                <a:ea typeface="LF_Kai"/>
                <a:cs typeface="LF_Kai"/>
              </a:rPr>
              <a:t>Cement Plant</a:t>
            </a:r>
          </a:p>
        </p:txBody>
      </p:sp>
      <p:sp>
        <p:nvSpPr>
          <p:cNvPr id="39952" name="TextBox 23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1870075" y="6362700"/>
            <a:ext cx="1863725" cy="16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90488" indent="-90488">
              <a:tabLst>
                <a:tab pos="90488" algn="l"/>
              </a:tabLst>
            </a:pPr>
            <a:r>
              <a:rPr lang="en-US" altLang="en-US" sz="1100">
                <a:solidFill>
                  <a:srgbClr val="000000"/>
                </a:solidFill>
                <a:latin typeface="Calibri" pitchFamily="34" charset="0"/>
              </a:rPr>
              <a:t>Under implementation</a:t>
            </a:r>
          </a:p>
        </p:txBody>
      </p:sp>
      <p:sp>
        <p:nvSpPr>
          <p:cNvPr id="27665" name="TextBox 25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2609850" y="2736850"/>
            <a:ext cx="1843088" cy="1538288"/>
          </a:xfrm>
          <a:prstGeom prst="rect">
            <a:avLst/>
          </a:prstGeom>
          <a:solidFill>
            <a:srgbClr val="FDEADA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127000" indent="-125413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lvl="1" eaLnBrk="1" hangingPunct="1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  <a:defRPr/>
            </a:pPr>
            <a:r>
              <a:rPr lang="en-US" altLang="en-US" sz="1050" dirty="0" smtClean="0">
                <a:ea typeface="LF_Kai"/>
                <a:cs typeface="LF_Kai"/>
              </a:rPr>
              <a:t>Plate Mill: 1.5MT</a:t>
            </a:r>
          </a:p>
          <a:p>
            <a:pPr lvl="1" eaLnBrk="1" hangingPunct="1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  <a:defRPr/>
            </a:pPr>
            <a:r>
              <a:rPr lang="en-US" altLang="en-US" sz="1050" dirty="0" smtClean="0">
                <a:ea typeface="LF_Kai"/>
                <a:cs typeface="LF_Kai"/>
              </a:rPr>
              <a:t>SMS Plant: 1.6 MT</a:t>
            </a:r>
          </a:p>
          <a:p>
            <a:pPr lvl="1" eaLnBrk="1" hangingPunct="1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  <a:defRPr/>
            </a:pPr>
            <a:r>
              <a:rPr lang="en-US" altLang="en-US" sz="1050" dirty="0" smtClean="0">
                <a:ea typeface="LF_Kai"/>
                <a:cs typeface="LF_Kai"/>
              </a:rPr>
              <a:t>Fabricated structures: </a:t>
            </a:r>
            <a:br>
              <a:rPr lang="en-US" altLang="en-US" sz="1050" dirty="0" smtClean="0">
                <a:ea typeface="LF_Kai"/>
                <a:cs typeface="LF_Kai"/>
              </a:rPr>
            </a:br>
            <a:r>
              <a:rPr lang="en-US" altLang="en-US" sz="1050" dirty="0" smtClean="0">
                <a:ea typeface="LF_Kai"/>
                <a:cs typeface="LF_Kai"/>
              </a:rPr>
              <a:t>84,000 T</a:t>
            </a:r>
          </a:p>
          <a:p>
            <a:pPr lvl="1" eaLnBrk="1" hangingPunct="1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  <a:defRPr/>
            </a:pPr>
            <a:r>
              <a:rPr lang="en-US" altLang="en-US" sz="1050" dirty="0" smtClean="0">
                <a:ea typeface="LF_Kai"/>
                <a:cs typeface="LF_Kai"/>
              </a:rPr>
              <a:t>Power: 810 MW</a:t>
            </a:r>
          </a:p>
          <a:p>
            <a:pPr marL="1587" lvl="1" indent="0" eaLnBrk="1" hangingPunct="1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Arial" pitchFamily="34" charset="0"/>
              <a:buNone/>
              <a:defRPr/>
            </a:pPr>
            <a:endParaRPr lang="en-US" altLang="en-US" sz="900" dirty="0" smtClean="0">
              <a:ea typeface="LF_Kai"/>
              <a:cs typeface="LF_Kai"/>
            </a:endParaRPr>
          </a:p>
        </p:txBody>
      </p:sp>
      <p:sp>
        <p:nvSpPr>
          <p:cNvPr id="27666" name="TextBox 26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600325" y="4275138"/>
            <a:ext cx="1844675" cy="202882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txBody>
          <a:bodyPr/>
          <a:lstStyle>
            <a:lvl1pPr marL="342900" indent="-342900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127000" indent="-125413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lvl="1" eaLnBrk="1" hangingPunct="1">
              <a:lnSpc>
                <a:spcPct val="110000"/>
              </a:lnSpc>
              <a:spcBef>
                <a:spcPts val="500"/>
              </a:spcBef>
              <a:buClr>
                <a:srgbClr val="767F34"/>
              </a:buClr>
              <a:buSzPct val="92000"/>
              <a:buFont typeface="Wingdings" pitchFamily="2" charset="2"/>
              <a:buChar char="n"/>
              <a:defRPr/>
            </a:pPr>
            <a:r>
              <a:rPr lang="en-US" altLang="en-US" sz="1050" dirty="0" smtClean="0">
                <a:ea typeface="LF_Kai"/>
                <a:cs typeface="LF_Kai"/>
              </a:rPr>
              <a:t>Sponge Iron based on Coal Gasification: 1.8MT </a:t>
            </a:r>
          </a:p>
          <a:p>
            <a:pPr lvl="1" eaLnBrk="1" hangingPunct="1">
              <a:lnSpc>
                <a:spcPct val="110000"/>
              </a:lnSpc>
              <a:spcBef>
                <a:spcPts val="500"/>
              </a:spcBef>
              <a:buClr>
                <a:srgbClr val="767F34"/>
              </a:buClr>
              <a:buSzPct val="92000"/>
              <a:buFont typeface="Wingdings" pitchFamily="2" charset="2"/>
              <a:buChar char="n"/>
              <a:defRPr/>
            </a:pPr>
            <a:r>
              <a:rPr lang="en-US" altLang="en-US" sz="1050" dirty="0" smtClean="0">
                <a:ea typeface="LF_Kai"/>
                <a:cs typeface="LF_Kai"/>
              </a:rPr>
              <a:t>Coal Gasification Plant: 225,000Nm3/</a:t>
            </a:r>
            <a:r>
              <a:rPr lang="en-US" altLang="en-US" sz="1050" dirty="0" err="1" smtClean="0">
                <a:ea typeface="LF_Kai"/>
                <a:cs typeface="LF_Kai"/>
              </a:rPr>
              <a:t>Hr</a:t>
            </a:r>
            <a:endParaRPr lang="en-US" altLang="en-US" sz="1050" dirty="0" smtClean="0">
              <a:ea typeface="LF_Kai"/>
              <a:cs typeface="LF_Kai"/>
            </a:endParaRPr>
          </a:p>
          <a:p>
            <a:pPr marL="1587" lvl="1" indent="0" eaLnBrk="1" hangingPunct="1">
              <a:lnSpc>
                <a:spcPct val="110000"/>
              </a:lnSpc>
              <a:spcBef>
                <a:spcPts val="500"/>
              </a:spcBef>
              <a:buClr>
                <a:srgbClr val="767F34"/>
              </a:buClr>
              <a:buSzPct val="92000"/>
              <a:buFont typeface="Arial" pitchFamily="34" charset="0"/>
              <a:buNone/>
              <a:defRPr/>
            </a:pPr>
            <a:endParaRPr lang="en-US" altLang="en-US" sz="900" dirty="0" smtClean="0">
              <a:ea typeface="LF_Kai"/>
              <a:cs typeface="LF_Kai"/>
            </a:endParaRPr>
          </a:p>
        </p:txBody>
      </p:sp>
      <p:sp>
        <p:nvSpPr>
          <p:cNvPr id="39955" name="TextBox 19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581275" y="1477963"/>
            <a:ext cx="1901825" cy="4846637"/>
          </a:xfrm>
          <a:prstGeom prst="roundRect">
            <a:avLst>
              <a:gd name="adj" fmla="val 8898"/>
            </a:avLst>
          </a:prstGeom>
          <a:noFill/>
          <a:ln w="15875">
            <a:solidFill>
              <a:srgbClr val="F5821E"/>
            </a:solidFill>
            <a:round/>
            <a:headEnd/>
            <a:tailEnd/>
          </a:ln>
        </p:spPr>
        <p:txBody>
          <a:bodyPr/>
          <a:lstStyle/>
          <a:p>
            <a:pPr marL="127000" lvl="1" indent="-125413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</a:pPr>
            <a:endParaRPr lang="en-US" altLang="en-US" sz="900">
              <a:latin typeface="Calibri" pitchFamily="34" charset="0"/>
            </a:endParaRPr>
          </a:p>
        </p:txBody>
      </p:sp>
      <p:sp>
        <p:nvSpPr>
          <p:cNvPr id="39956" name="TextBox 24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533400" y="1457325"/>
            <a:ext cx="1901825" cy="4846638"/>
          </a:xfrm>
          <a:prstGeom prst="roundRect">
            <a:avLst>
              <a:gd name="adj" fmla="val 8898"/>
            </a:avLst>
          </a:prstGeom>
          <a:noFill/>
          <a:ln w="15875">
            <a:solidFill>
              <a:srgbClr val="F5821E"/>
            </a:solidFill>
            <a:round/>
            <a:headEnd/>
            <a:tailEnd/>
          </a:ln>
        </p:spPr>
        <p:txBody>
          <a:bodyPr/>
          <a:lstStyle/>
          <a:p>
            <a:pPr marL="127000" lvl="1" indent="-125413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</a:pPr>
            <a:endParaRPr lang="en-US" altLang="en-US" sz="900">
              <a:latin typeface="Calibri" pitchFamily="34" charset="0"/>
            </a:endParaRPr>
          </a:p>
        </p:txBody>
      </p:sp>
      <p:sp>
        <p:nvSpPr>
          <p:cNvPr id="27669" name="TextBox 29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4691063" y="2743200"/>
            <a:ext cx="1852612" cy="685800"/>
          </a:xfrm>
          <a:prstGeom prst="rect">
            <a:avLst/>
          </a:prstGeom>
          <a:solidFill>
            <a:srgbClr val="FDEADA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127000" indent="-125413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lvl="1" eaLnBrk="1" hangingPunct="1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  <a:defRPr/>
            </a:pPr>
            <a:r>
              <a:rPr lang="nn-NO" altLang="en-US" sz="1050" dirty="0" smtClean="0">
                <a:ea typeface="LF_Kai"/>
                <a:cs typeface="LF_Kai"/>
              </a:rPr>
              <a:t>Wire Rod: 0.6MT</a:t>
            </a:r>
          </a:p>
          <a:p>
            <a:pPr lvl="1" eaLnBrk="1" hangingPunct="1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  <a:defRPr/>
            </a:pPr>
            <a:r>
              <a:rPr lang="nn-NO" altLang="en-US" sz="1050" dirty="0" smtClean="0">
                <a:ea typeface="LF_Kai"/>
                <a:cs typeface="LF_Kai"/>
              </a:rPr>
              <a:t>Bar Mill: 1.0MT</a:t>
            </a:r>
          </a:p>
        </p:txBody>
      </p:sp>
      <p:sp>
        <p:nvSpPr>
          <p:cNvPr id="27670" name="TextBox 30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4694238" y="3429000"/>
            <a:ext cx="1844675" cy="62388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txBody>
          <a:bodyPr/>
          <a:lstStyle>
            <a:lvl1pPr marL="342900" indent="-342900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127000" indent="-125413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lvl="1" eaLnBrk="1" hangingPunct="1">
              <a:lnSpc>
                <a:spcPct val="110000"/>
              </a:lnSpc>
              <a:spcBef>
                <a:spcPts val="500"/>
              </a:spcBef>
              <a:buClr>
                <a:srgbClr val="767F34"/>
              </a:buClr>
              <a:buSzPct val="92000"/>
              <a:buFont typeface="Wingdings" pitchFamily="2" charset="2"/>
              <a:buChar char="n"/>
              <a:defRPr/>
            </a:pPr>
            <a:r>
              <a:rPr lang="en-US" altLang="en-US" sz="1050" dirty="0" smtClean="0">
                <a:ea typeface="LF_Kai"/>
                <a:cs typeface="LF_Kai"/>
              </a:rPr>
              <a:t>Steel capacity: 3.0 MT</a:t>
            </a:r>
          </a:p>
          <a:p>
            <a:pPr lvl="1" eaLnBrk="1" hangingPunct="1">
              <a:lnSpc>
                <a:spcPct val="110000"/>
              </a:lnSpc>
              <a:spcBef>
                <a:spcPts val="500"/>
              </a:spcBef>
              <a:buClr>
                <a:srgbClr val="767F34"/>
              </a:buClr>
              <a:buSzPct val="92000"/>
              <a:buFont typeface="Wingdings" pitchFamily="2" charset="2"/>
              <a:buChar char="n"/>
              <a:defRPr/>
            </a:pPr>
            <a:r>
              <a:rPr lang="en-US" altLang="en-US" sz="1050" dirty="0" smtClean="0">
                <a:ea typeface="LF_Kai"/>
                <a:cs typeface="LF_Kai"/>
              </a:rPr>
              <a:t>Power: 1,320 MW</a:t>
            </a:r>
          </a:p>
        </p:txBody>
      </p:sp>
      <p:sp>
        <p:nvSpPr>
          <p:cNvPr id="39959" name="TextBox 28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4660900" y="1474788"/>
            <a:ext cx="1901825" cy="2578100"/>
          </a:xfrm>
          <a:prstGeom prst="roundRect">
            <a:avLst>
              <a:gd name="adj" fmla="val 8898"/>
            </a:avLst>
          </a:prstGeom>
          <a:noFill/>
          <a:ln w="15875">
            <a:solidFill>
              <a:srgbClr val="F5821E"/>
            </a:solidFill>
            <a:round/>
            <a:headEnd/>
            <a:tailEnd/>
          </a:ln>
        </p:spPr>
        <p:txBody>
          <a:bodyPr/>
          <a:lstStyle/>
          <a:p>
            <a:pPr marL="127000" lvl="1" indent="-125413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</a:pPr>
            <a:endParaRPr lang="en-US" altLang="en-US" sz="900">
              <a:latin typeface="Calibri" pitchFamily="34" charset="0"/>
            </a:endParaRPr>
          </a:p>
        </p:txBody>
      </p:sp>
      <p:sp>
        <p:nvSpPr>
          <p:cNvPr id="27672" name="TextBox 31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6735763" y="2743200"/>
            <a:ext cx="1844675" cy="304800"/>
          </a:xfrm>
          <a:prstGeom prst="rect">
            <a:avLst/>
          </a:prstGeom>
          <a:solidFill>
            <a:srgbClr val="FDEADA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127000" indent="-125413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lvl="1" eaLnBrk="1" hangingPunct="1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  <a:defRPr/>
            </a:pPr>
            <a:r>
              <a:rPr lang="nn-NO" altLang="en-US" sz="1050" dirty="0" smtClean="0">
                <a:ea typeface="LF_Kai"/>
                <a:cs typeface="LF_Kai"/>
              </a:rPr>
              <a:t>Pelletization Plant: 4.5MT</a:t>
            </a:r>
          </a:p>
        </p:txBody>
      </p:sp>
      <p:sp>
        <p:nvSpPr>
          <p:cNvPr id="27673" name="TextBox 32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6738938" y="3094038"/>
            <a:ext cx="1844675" cy="48736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txBody>
          <a:bodyPr/>
          <a:lstStyle>
            <a:lvl1pPr marL="342900" indent="-342900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127000" indent="-125413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lvl="1" eaLnBrk="1" hangingPunct="1">
              <a:lnSpc>
                <a:spcPct val="110000"/>
              </a:lnSpc>
              <a:spcBef>
                <a:spcPts val="500"/>
              </a:spcBef>
              <a:buClr>
                <a:srgbClr val="767F34"/>
              </a:buClr>
              <a:buSzPct val="92000"/>
              <a:buFont typeface="Wingdings" pitchFamily="2" charset="2"/>
              <a:buChar char="n"/>
              <a:defRPr/>
            </a:pPr>
            <a:r>
              <a:rPr lang="en-US" altLang="en-US" sz="1050" dirty="0" err="1" smtClean="0">
                <a:ea typeface="LF_Kai"/>
                <a:cs typeface="LF_Kai"/>
              </a:rPr>
              <a:t>Pelletization</a:t>
            </a:r>
            <a:r>
              <a:rPr lang="en-US" altLang="en-US" sz="1050" dirty="0" smtClean="0">
                <a:ea typeface="LF_Kai"/>
                <a:cs typeface="LF_Kai"/>
              </a:rPr>
              <a:t> Plant: 4.5MT</a:t>
            </a:r>
          </a:p>
        </p:txBody>
      </p:sp>
      <p:sp>
        <p:nvSpPr>
          <p:cNvPr id="39962" name="Rectangle 10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6710363" y="1477963"/>
            <a:ext cx="1900237" cy="2178050"/>
          </a:xfrm>
          <a:prstGeom prst="roundRect">
            <a:avLst>
              <a:gd name="adj" fmla="val 8403"/>
            </a:avLst>
          </a:prstGeom>
          <a:noFill/>
          <a:ln w="15875">
            <a:solidFill>
              <a:srgbClr val="F5821E"/>
            </a:solidFill>
            <a:miter lim="800000"/>
            <a:headEnd/>
            <a:tailEnd/>
          </a:ln>
        </p:spPr>
        <p:txBody>
          <a:bodyPr tIns="36576" rIns="36576" bIns="36576"/>
          <a:lstStyle/>
          <a:p>
            <a:pPr defTabSz="1019175">
              <a:lnSpc>
                <a:spcPct val="110000"/>
              </a:lnSpc>
              <a:spcBef>
                <a:spcPct val="70000"/>
              </a:spcBef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27675" name="TextBox 33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6732588" y="5257800"/>
            <a:ext cx="1844675" cy="990600"/>
          </a:xfrm>
          <a:prstGeom prst="rect">
            <a:avLst/>
          </a:prstGeom>
          <a:solidFill>
            <a:srgbClr val="FDEADA"/>
          </a:solidFill>
          <a:ln>
            <a:noFill/>
          </a:ln>
        </p:spPr>
        <p:txBody>
          <a:bodyPr/>
          <a:lstStyle>
            <a:lvl1pPr marL="342900" indent="-342900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127000" indent="-125413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lvl="1" eaLnBrk="1" hangingPunct="1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  <a:defRPr/>
            </a:pPr>
            <a:r>
              <a:rPr lang="en-US" altLang="en-US" sz="1050" dirty="0" smtClean="0">
                <a:ea typeface="LF_Kai"/>
                <a:cs typeface="LF_Kai"/>
              </a:rPr>
              <a:t>Machinery &amp; Castings: </a:t>
            </a:r>
            <a:br>
              <a:rPr lang="en-US" altLang="en-US" sz="1050" dirty="0" smtClean="0">
                <a:ea typeface="LF_Kai"/>
                <a:cs typeface="LF_Kai"/>
              </a:rPr>
            </a:br>
            <a:r>
              <a:rPr lang="en-US" altLang="en-US" sz="1050" dirty="0" smtClean="0">
                <a:ea typeface="LF_Kai"/>
                <a:cs typeface="LF_Kai"/>
              </a:rPr>
              <a:t>11,500 T</a:t>
            </a:r>
          </a:p>
          <a:p>
            <a:pPr lvl="1" eaLnBrk="1" hangingPunct="1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  <a:defRPr/>
            </a:pPr>
            <a:r>
              <a:rPr lang="en-US" altLang="en-US" sz="1050" dirty="0" smtClean="0">
                <a:ea typeface="LF_Kai"/>
                <a:cs typeface="LF_Kai"/>
              </a:rPr>
              <a:t>Ingots: 30,000 T</a:t>
            </a:r>
          </a:p>
          <a:p>
            <a:pPr lvl="1" eaLnBrk="1" hangingPunct="1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  <a:defRPr/>
            </a:pPr>
            <a:r>
              <a:rPr lang="en-US" altLang="en-US" sz="1050" dirty="0" smtClean="0">
                <a:ea typeface="LF_Kai"/>
                <a:cs typeface="LF_Kai"/>
              </a:rPr>
              <a:t>CF Castings: 3,000 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381000" y="6400800"/>
            <a:ext cx="228600" cy="131763"/>
          </a:xfrm>
          <a:prstGeom prst="rect">
            <a:avLst/>
          </a:prstGeom>
          <a:solidFill>
            <a:srgbClr val="FDEADA"/>
          </a:solidFill>
          <a:ln>
            <a:solidFill>
              <a:srgbClr val="F582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latin typeface="Calibri" pitchFamily="34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1600200" y="6400800"/>
            <a:ext cx="193675" cy="131763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767F3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latin typeface="Calibri" pitchFamily="34" charset="0"/>
            </a:endParaRPr>
          </a:p>
        </p:txBody>
      </p:sp>
      <p:sp>
        <p:nvSpPr>
          <p:cNvPr id="39966" name="Rectangle 10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4648200" y="4487863"/>
            <a:ext cx="1900238" cy="1836737"/>
          </a:xfrm>
          <a:prstGeom prst="roundRect">
            <a:avLst>
              <a:gd name="adj" fmla="val 8403"/>
            </a:avLst>
          </a:prstGeom>
          <a:noFill/>
          <a:ln w="15875">
            <a:solidFill>
              <a:srgbClr val="F5821E"/>
            </a:solidFill>
            <a:miter lim="800000"/>
            <a:headEnd/>
            <a:tailEnd/>
          </a:ln>
        </p:spPr>
        <p:txBody>
          <a:bodyPr tIns="36576" rIns="36576" bIns="36576"/>
          <a:lstStyle/>
          <a:p>
            <a:pPr defTabSz="1019175">
              <a:lnSpc>
                <a:spcPct val="110000"/>
              </a:lnSpc>
              <a:spcBef>
                <a:spcPct val="70000"/>
              </a:spcBef>
            </a:pPr>
            <a:endParaRPr lang="en-US" alt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9967" name="TextBox 30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4648200" y="4130675"/>
            <a:ext cx="1900238" cy="288925"/>
          </a:xfrm>
          <a:prstGeom prst="rect">
            <a:avLst/>
          </a:prstGeom>
          <a:solidFill>
            <a:srgbClr val="F5821E"/>
          </a:solidFill>
          <a:ln w="9525">
            <a:solidFill>
              <a:schemeClr val="bg2"/>
            </a:solidFill>
            <a:miter lim="800000"/>
            <a:headEnd/>
            <a:tailEnd/>
          </a:ln>
          <a:effectLst>
            <a:outerShdw dist="64007" dir="5400000" rotWithShape="0">
              <a:schemeClr val="bg1"/>
            </a:outerShdw>
          </a:effectLst>
        </p:spPr>
        <p:txBody>
          <a:bodyPr lIns="45720" tIns="36575" bIns="36575" anchor="b">
            <a:spAutoFit/>
          </a:bodyPr>
          <a:lstStyle/>
          <a:p>
            <a:pPr algn="ctr"/>
            <a:r>
              <a:rPr lang="en-US" altLang="en-US" sz="1400" b="1">
                <a:solidFill>
                  <a:srgbClr val="FFFFFF"/>
                </a:solidFill>
                <a:latin typeface="Calibri" pitchFamily="34" charset="0"/>
              </a:rPr>
              <a:t>Oman</a:t>
            </a:r>
          </a:p>
        </p:txBody>
      </p:sp>
      <p:sp>
        <p:nvSpPr>
          <p:cNvPr id="27680" name="TextBox 33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4708525" y="5562600"/>
            <a:ext cx="1844675" cy="6858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txBody>
          <a:bodyPr/>
          <a:lstStyle>
            <a:lvl1pPr marL="342900" indent="-342900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127000" indent="-125413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lvl="1" eaLnBrk="1" hangingPunct="1">
              <a:lnSpc>
                <a:spcPct val="110000"/>
              </a:lnSpc>
              <a:spcBef>
                <a:spcPts val="500"/>
              </a:spcBef>
              <a:buClr>
                <a:srgbClr val="767F34"/>
              </a:buClr>
              <a:buSzPct val="92000"/>
              <a:buFont typeface="Wingdings" pitchFamily="2" charset="2"/>
              <a:buChar char="n"/>
              <a:defRPr/>
            </a:pPr>
            <a:r>
              <a:rPr lang="en-US" altLang="en-US" sz="1000" dirty="0" smtClean="0">
                <a:ea typeface="LF_Kai"/>
                <a:cs typeface="LF_Kai"/>
              </a:rPr>
              <a:t>Phase 1: SMS Plant : 2MTPA</a:t>
            </a:r>
          </a:p>
          <a:p>
            <a:pPr lvl="1" eaLnBrk="1" hangingPunct="1">
              <a:lnSpc>
                <a:spcPct val="110000"/>
              </a:lnSpc>
              <a:spcBef>
                <a:spcPts val="500"/>
              </a:spcBef>
              <a:buClr>
                <a:srgbClr val="767F34"/>
              </a:buClr>
              <a:buSzPct val="92000"/>
              <a:buFont typeface="Wingdings" pitchFamily="2" charset="2"/>
              <a:buChar char="n"/>
              <a:defRPr/>
            </a:pPr>
            <a:r>
              <a:rPr lang="en-US" altLang="en-US" sz="1000" dirty="0" smtClean="0">
                <a:ea typeface="LF_Kai"/>
                <a:cs typeface="LF_Kai"/>
              </a:rPr>
              <a:t>Phase 2: Rebar &amp; Section Mill: 2 MTPA</a:t>
            </a:r>
          </a:p>
        </p:txBody>
      </p:sp>
      <p:pic>
        <p:nvPicPr>
          <p:cNvPr id="39969" name="Picture 15" descr="Oman 1.jpg"/>
          <p:cNvPicPr>
            <a:picLocks noChangeAspect="1"/>
          </p:cNvPicPr>
          <p:nvPr/>
        </p:nvPicPr>
        <p:blipFill>
          <a:blip r:embed="rId32" cstate="print"/>
          <a:srcRect l="31177" r="4971" b="2020"/>
          <a:stretch>
            <a:fillRect/>
          </a:stretch>
        </p:blipFill>
        <p:spPr bwMode="auto">
          <a:xfrm>
            <a:off x="4708525" y="4572000"/>
            <a:ext cx="1803400" cy="64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682" name="TextBox 31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4708525" y="5257800"/>
            <a:ext cx="1844675" cy="304800"/>
          </a:xfrm>
          <a:prstGeom prst="rect">
            <a:avLst/>
          </a:prstGeom>
          <a:solidFill>
            <a:srgbClr val="FDEADA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127000" indent="-125413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lvl="1" eaLnBrk="1" hangingPunct="1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  <a:defRPr/>
            </a:pPr>
            <a:r>
              <a:rPr lang="nn-NO" altLang="en-US" sz="1050" dirty="0" smtClean="0">
                <a:ea typeface="LF_Kai"/>
                <a:cs typeface="LF_Kai"/>
              </a:rPr>
              <a:t>HBI Plant: 1.6 MTPA</a:t>
            </a:r>
          </a:p>
        </p:txBody>
      </p:sp>
      <p:sp>
        <p:nvSpPr>
          <p:cNvPr id="38" name="Title 1"/>
          <p:cNvSpPr txBox="1">
            <a:spLocks/>
          </p:cNvSpPr>
          <p:nvPr/>
        </p:nvSpPr>
        <p:spPr bwMode="auto">
          <a:xfrm>
            <a:off x="121489" y="120563"/>
            <a:ext cx="8794113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9298" algn="l"/>
              </a:tabLst>
              <a:defRPr/>
            </a:pPr>
            <a:r>
              <a:rPr kumimoji="0" lang="en-US" sz="30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itchFamily="34" charset="0"/>
                <a:ea typeface="+mj-ea"/>
                <a:cs typeface="Calibri" pitchFamily="34" charset="0"/>
              </a:rPr>
              <a:t>Overview of Steel Facilities</a:t>
            </a:r>
            <a:endParaRPr kumimoji="0" lang="en-US" sz="3000" b="1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alibri" pitchFamily="34" charset="0"/>
              <a:ea typeface="+mj-ea"/>
              <a:cs typeface="Calibri" pitchFamily="34" charset="0"/>
            </a:endParaRPr>
          </a:p>
        </p:txBody>
      </p:sp>
      <p:pic>
        <p:nvPicPr>
          <p:cNvPr id="39" name="Picture 3"/>
          <p:cNvPicPr>
            <a:picLocks noChangeAspect="1" noChangeArrowheads="1"/>
          </p:cNvPicPr>
          <p:nvPr/>
        </p:nvPicPr>
        <p:blipFill>
          <a:blip r:embed="rId33" cstate="print"/>
          <a:srcRect/>
          <a:stretch>
            <a:fillRect/>
          </a:stretch>
        </p:blipFill>
        <p:spPr bwMode="auto">
          <a:xfrm>
            <a:off x="8057866" y="0"/>
            <a:ext cx="1086134" cy="477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 txBox="1">
            <a:spLocks/>
          </p:cNvSpPr>
          <p:nvPr/>
        </p:nvSpPr>
        <p:spPr>
          <a:xfrm>
            <a:off x="330200" y="228600"/>
            <a:ext cx="8526463" cy="617537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en-GB" sz="2800" i="1" kern="0" dirty="0">
              <a:solidFill>
                <a:srgbClr val="000000"/>
              </a:solidFill>
              <a:latin typeface="Cambria" pitchFamily="18" charset="0"/>
              <a:cs typeface="Cambria" pitchFamily="18" charset="0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0" y="6324600"/>
            <a:ext cx="9144000" cy="0"/>
          </a:xfrm>
          <a:prstGeom prst="line">
            <a:avLst/>
          </a:prstGeom>
          <a:ln w="63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 descr="DSC_8445 Overview of 1000 MW O P Jindal Super Thermal Power Plant at Tamnar, Chhattisgarh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538" t="6432" r="1285" b="5099"/>
          <a:stretch>
            <a:fillRect/>
          </a:stretch>
        </p:blipFill>
        <p:spPr bwMode="auto">
          <a:xfrm>
            <a:off x="0" y="990600"/>
            <a:ext cx="5105400" cy="289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2"/>
          <p:cNvSpPr/>
          <p:nvPr/>
        </p:nvSpPr>
        <p:spPr>
          <a:xfrm>
            <a:off x="5148263" y="990600"/>
            <a:ext cx="3995737" cy="2895600"/>
          </a:xfrm>
          <a:prstGeom prst="rect">
            <a:avLst/>
          </a:prstGeom>
          <a:solidFill>
            <a:srgbClr val="EA893F"/>
          </a:solidFill>
          <a:ln w="762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spcBef>
                <a:spcPts val="1800"/>
              </a:spcBef>
              <a:buClr>
                <a:srgbClr val="F5821E"/>
              </a:buClr>
            </a:pPr>
            <a:r>
              <a:rPr lang="en-US" altLang="en-US" i="1" dirty="0">
                <a:solidFill>
                  <a:schemeClr val="bg1"/>
                </a:solidFill>
                <a:latin typeface="Cambria" pitchFamily="18" charset="0"/>
              </a:rPr>
              <a:t>96.43% subsidiary of JSPL</a:t>
            </a:r>
          </a:p>
          <a:p>
            <a:pPr>
              <a:spcBef>
                <a:spcPts val="1800"/>
              </a:spcBef>
              <a:buClr>
                <a:srgbClr val="F5821E"/>
              </a:buClr>
            </a:pPr>
            <a:r>
              <a:rPr lang="en-US" altLang="en-US" i="1" dirty="0">
                <a:solidFill>
                  <a:schemeClr val="bg1"/>
                </a:solidFill>
                <a:latin typeface="Cambria" pitchFamily="18" charset="0"/>
              </a:rPr>
              <a:t>1000 MW IPP operational in </a:t>
            </a:r>
            <a:r>
              <a:rPr lang="en-US" altLang="en-US" i="1" dirty="0" err="1">
                <a:solidFill>
                  <a:schemeClr val="bg1"/>
                </a:solidFill>
                <a:latin typeface="Cambria" pitchFamily="18" charset="0"/>
              </a:rPr>
              <a:t>Tamnar</a:t>
            </a:r>
            <a:r>
              <a:rPr lang="en-US" altLang="en-US" i="1" dirty="0">
                <a:solidFill>
                  <a:schemeClr val="bg1"/>
                </a:solidFill>
                <a:latin typeface="Cambria" pitchFamily="18" charset="0"/>
              </a:rPr>
              <a:t>, Chhattisgarh</a:t>
            </a:r>
          </a:p>
          <a:p>
            <a:pPr>
              <a:spcBef>
                <a:spcPts val="1800"/>
              </a:spcBef>
              <a:buClr>
                <a:srgbClr val="F5821E"/>
              </a:buClr>
            </a:pPr>
            <a:r>
              <a:rPr lang="en-US" altLang="en-US" i="1" dirty="0">
                <a:solidFill>
                  <a:schemeClr val="bg1"/>
                </a:solidFill>
                <a:latin typeface="Cambria" pitchFamily="18" charset="0"/>
              </a:rPr>
              <a:t>2400 MW in advanced stages of completion at </a:t>
            </a:r>
            <a:r>
              <a:rPr lang="en-US" altLang="en-US" i="1" dirty="0" err="1">
                <a:solidFill>
                  <a:schemeClr val="bg1"/>
                </a:solidFill>
                <a:latin typeface="Cambria" pitchFamily="18" charset="0"/>
              </a:rPr>
              <a:t>Tamnar</a:t>
            </a:r>
            <a:endParaRPr lang="en-US" altLang="en-US" i="1" dirty="0">
              <a:solidFill>
                <a:schemeClr val="bg1"/>
              </a:solidFill>
              <a:latin typeface="Cambria" pitchFamily="18" charset="0"/>
            </a:endParaRP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4092255639"/>
              </p:ext>
            </p:extLst>
          </p:nvPr>
        </p:nvGraphicFramePr>
        <p:xfrm>
          <a:off x="114300" y="3950195"/>
          <a:ext cx="8915400" cy="2374405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3162889"/>
                <a:gridCol w="1700216"/>
                <a:gridCol w="2134792"/>
                <a:gridCol w="1917503"/>
              </a:tblGrid>
              <a:tr h="302167">
                <a:tc gridSpan="2">
                  <a:txBody>
                    <a:bodyPr/>
                    <a:lstStyle/>
                    <a:p>
                      <a:pPr algn="l"/>
                      <a:r>
                        <a:rPr lang="en-US" sz="1400" b="1" baseline="0" dirty="0" smtClean="0">
                          <a:latin typeface="Cambria" pitchFamily="18" charset="0"/>
                        </a:rPr>
                        <a:t>Projects </a:t>
                      </a:r>
                      <a:r>
                        <a:rPr lang="en-US" sz="1400" b="1" dirty="0" smtClean="0">
                          <a:latin typeface="Cambria" pitchFamily="18" charset="0"/>
                        </a:rPr>
                        <a:t>Under</a:t>
                      </a:r>
                      <a:r>
                        <a:rPr lang="en-US" sz="1400" b="1" baseline="0" dirty="0" smtClean="0">
                          <a:latin typeface="Cambria" pitchFamily="18" charset="0"/>
                        </a:rPr>
                        <a:t> Implementation (9,820 MW)</a:t>
                      </a:r>
                      <a:endParaRPr lang="en-US" sz="1400" b="1" dirty="0">
                        <a:latin typeface="Cambria" pitchFamily="18" charset="0"/>
                      </a:endParaRPr>
                    </a:p>
                  </a:txBody>
                  <a:tcPr marL="82966" marR="82966" marT="41337" marB="41337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b="1" dirty="0">
                        <a:latin typeface="Cambria" pitchFamily="18" charset="0"/>
                      </a:endParaRPr>
                    </a:p>
                  </a:txBody>
                  <a:tcPr marL="82966" marR="82966" marT="41337" marB="41337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b="1" dirty="0">
                        <a:latin typeface="Cambria" pitchFamily="18" charset="0"/>
                      </a:endParaRPr>
                    </a:p>
                  </a:txBody>
                  <a:tcPr marL="82966" marR="82966" marT="41337" marB="41337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286635">
                <a:tc>
                  <a:txBody>
                    <a:bodyPr/>
                    <a:lstStyle/>
                    <a:p>
                      <a:r>
                        <a:rPr lang="en-US" sz="1400" b="1" u="sng" dirty="0" smtClean="0">
                          <a:latin typeface="Cambria" pitchFamily="18" charset="0"/>
                        </a:rPr>
                        <a:t>Project</a:t>
                      </a:r>
                      <a:r>
                        <a:rPr lang="en-US" sz="1400" b="1" u="sng" baseline="0" dirty="0" smtClean="0">
                          <a:latin typeface="Cambria" pitchFamily="18" charset="0"/>
                        </a:rPr>
                        <a:t> under JPL</a:t>
                      </a:r>
                      <a:endParaRPr lang="en-US" sz="1400" b="1" u="sng" dirty="0">
                        <a:latin typeface="Cambria" pitchFamily="18" charset="0"/>
                      </a:endParaRPr>
                    </a:p>
                  </a:txBody>
                  <a:tcPr marL="82966" marR="82966" marT="41337" marB="41337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Cambria" pitchFamily="18" charset="0"/>
                      </a:endParaRPr>
                    </a:p>
                  </a:txBody>
                  <a:tcPr marL="82966" marR="82966" marT="41337" marB="4133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Cambria" pitchFamily="18" charset="0"/>
                      </a:endParaRPr>
                    </a:p>
                  </a:txBody>
                  <a:tcPr marL="82966" marR="82966" marT="41337" marB="4133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latin typeface="Cambria" pitchFamily="18" charset="0"/>
                        </a:rPr>
                        <a:t>Expected COD</a:t>
                      </a:r>
                      <a:endParaRPr lang="en-US" sz="1400" b="1" dirty="0">
                        <a:latin typeface="Cambria" pitchFamily="18" charset="0"/>
                      </a:endParaRPr>
                    </a:p>
                  </a:txBody>
                  <a:tcPr marL="82966" marR="82966" marT="41337" marB="4133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86635">
                <a:tc>
                  <a:txBody>
                    <a:bodyPr/>
                    <a:lstStyle/>
                    <a:p>
                      <a:r>
                        <a:rPr lang="en-US" sz="1400" dirty="0" err="1" smtClean="0">
                          <a:latin typeface="Cambria" pitchFamily="18" charset="0"/>
                        </a:rPr>
                        <a:t>Tamnar</a:t>
                      </a:r>
                      <a:r>
                        <a:rPr lang="en-US" sz="1400" dirty="0" smtClean="0">
                          <a:latin typeface="Cambria" pitchFamily="18" charset="0"/>
                        </a:rPr>
                        <a:t> II (2,400</a:t>
                      </a:r>
                      <a:r>
                        <a:rPr lang="en-US" sz="1400" baseline="0" dirty="0" smtClean="0">
                          <a:latin typeface="Cambria" pitchFamily="18" charset="0"/>
                        </a:rPr>
                        <a:t> MW)</a:t>
                      </a:r>
                      <a:endParaRPr lang="en-US" sz="1400" dirty="0">
                        <a:latin typeface="Cambria" pitchFamily="18" charset="0"/>
                      </a:endParaRPr>
                    </a:p>
                  </a:txBody>
                  <a:tcPr marL="82966" marR="82966" marT="41337" marB="41337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Cambria" pitchFamily="18" charset="0"/>
                        </a:rPr>
                        <a:t>Thermal</a:t>
                      </a:r>
                      <a:endParaRPr lang="en-US" sz="1400" dirty="0">
                        <a:latin typeface="Cambria" pitchFamily="18" charset="0"/>
                      </a:endParaRPr>
                    </a:p>
                  </a:txBody>
                  <a:tcPr marL="82966" marR="82966" marT="41337" marB="4133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Cambria" pitchFamily="18" charset="0"/>
                        </a:rPr>
                        <a:t>Linkage</a:t>
                      </a:r>
                      <a:endParaRPr lang="en-US" sz="1400" dirty="0">
                        <a:latin typeface="Cambria" pitchFamily="18" charset="0"/>
                      </a:endParaRPr>
                    </a:p>
                  </a:txBody>
                  <a:tcPr marL="82966" marR="82966" marT="41337" marB="4133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Cambria" pitchFamily="18" charset="0"/>
                        </a:rPr>
                        <a:t>FY</a:t>
                      </a:r>
                      <a:r>
                        <a:rPr lang="en-US" sz="1400" baseline="0" dirty="0" smtClean="0">
                          <a:latin typeface="Cambria" pitchFamily="18" charset="0"/>
                        </a:rPr>
                        <a:t> 2014-15</a:t>
                      </a:r>
                      <a:endParaRPr lang="en-US" sz="1400" dirty="0">
                        <a:latin typeface="Cambria" pitchFamily="18" charset="0"/>
                      </a:endParaRPr>
                    </a:p>
                  </a:txBody>
                  <a:tcPr marL="82966" marR="82966" marT="41337" marB="4133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86635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Cambria" pitchFamily="18" charset="0"/>
                        </a:rPr>
                        <a:t>Hydro (6100 MW)</a:t>
                      </a:r>
                      <a:endParaRPr lang="en-US" sz="1400" dirty="0">
                        <a:latin typeface="Cambria" pitchFamily="18" charset="0"/>
                      </a:endParaRPr>
                    </a:p>
                  </a:txBody>
                  <a:tcPr marL="82966" marR="82966" marT="41337" marB="41337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Cambria" pitchFamily="18" charset="0"/>
                        </a:rPr>
                        <a:t>Hydro</a:t>
                      </a:r>
                      <a:endParaRPr lang="en-US" sz="1400" dirty="0">
                        <a:latin typeface="Cambria" pitchFamily="18" charset="0"/>
                      </a:endParaRPr>
                    </a:p>
                  </a:txBody>
                  <a:tcPr marL="82966" marR="82966" marT="41337" marB="4133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Cambria" pitchFamily="18" charset="0"/>
                        </a:rPr>
                        <a:t>Run Of The River</a:t>
                      </a:r>
                      <a:endParaRPr lang="en-US" sz="1400" dirty="0">
                        <a:latin typeface="Cambria" pitchFamily="18" charset="0"/>
                      </a:endParaRPr>
                    </a:p>
                  </a:txBody>
                  <a:tcPr marL="82966" marR="82966" marT="41337" marB="4133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Cambria" pitchFamily="18" charset="0"/>
                      </a:endParaRPr>
                    </a:p>
                  </a:txBody>
                  <a:tcPr marL="82966" marR="82966" marT="41337" marB="4133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8663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u="sng" dirty="0" smtClean="0">
                          <a:latin typeface="Cambria" pitchFamily="18" charset="0"/>
                        </a:rPr>
                        <a:t>Project</a:t>
                      </a:r>
                      <a:r>
                        <a:rPr lang="en-US" sz="1400" b="1" u="sng" baseline="0" dirty="0" smtClean="0">
                          <a:latin typeface="Cambria" pitchFamily="18" charset="0"/>
                        </a:rPr>
                        <a:t> under JSPL</a:t>
                      </a:r>
                      <a:endParaRPr lang="en-US" sz="1400" dirty="0">
                        <a:latin typeface="Cambria" pitchFamily="18" charset="0"/>
                      </a:endParaRPr>
                    </a:p>
                  </a:txBody>
                  <a:tcPr marL="82966" marR="82966" marT="41337" marB="41337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Cambria" pitchFamily="18" charset="0"/>
                      </a:endParaRPr>
                    </a:p>
                  </a:txBody>
                  <a:tcPr marL="82966" marR="82966" marT="41337" marB="4133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Cambria" pitchFamily="18" charset="0"/>
                      </a:endParaRPr>
                    </a:p>
                  </a:txBody>
                  <a:tcPr marL="82966" marR="82966" marT="41337" marB="4133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Cambria" pitchFamily="18" charset="0"/>
                      </a:endParaRPr>
                    </a:p>
                  </a:txBody>
                  <a:tcPr marL="82966" marR="82966" marT="41337" marB="4133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94205">
                <a:tc>
                  <a:txBody>
                    <a:bodyPr/>
                    <a:lstStyle/>
                    <a:p>
                      <a:r>
                        <a:rPr lang="en-US" sz="1400" dirty="0" err="1" smtClean="0">
                          <a:latin typeface="Cambria" pitchFamily="18" charset="0"/>
                        </a:rPr>
                        <a:t>Godda</a:t>
                      </a:r>
                      <a:r>
                        <a:rPr lang="en-US" sz="1400" dirty="0" smtClean="0">
                          <a:latin typeface="Cambria" pitchFamily="18" charset="0"/>
                        </a:rPr>
                        <a:t> (1,320</a:t>
                      </a:r>
                      <a:r>
                        <a:rPr lang="en-US" sz="1400" baseline="0" dirty="0" smtClean="0">
                          <a:latin typeface="Cambria" pitchFamily="18" charset="0"/>
                        </a:rPr>
                        <a:t> MW)</a:t>
                      </a:r>
                      <a:endParaRPr lang="en-US" sz="1400" dirty="0">
                        <a:latin typeface="Cambria" pitchFamily="18" charset="0"/>
                      </a:endParaRPr>
                    </a:p>
                  </a:txBody>
                  <a:tcPr marL="82966" marR="82966" marT="41337" marB="41337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latin typeface="Cambria" pitchFamily="18" charset="0"/>
                        </a:rPr>
                        <a:t>Thermal</a:t>
                      </a:r>
                    </a:p>
                  </a:txBody>
                  <a:tcPr marL="82966" marR="82966" marT="41337" marB="4133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latin typeface="Cambria" pitchFamily="18" charset="0"/>
                        </a:rPr>
                        <a:t>Captive Mine</a:t>
                      </a:r>
                    </a:p>
                  </a:txBody>
                  <a:tcPr marL="82966" marR="82966" marT="41337" marB="4133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>
                        <a:latin typeface="Cambria" pitchFamily="18" charset="0"/>
                      </a:endParaRPr>
                    </a:p>
                  </a:txBody>
                  <a:tcPr marL="82966" marR="82966" marT="41337" marB="4133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86635">
                <a:tc gridSpan="4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tx1"/>
                          </a:solidFill>
                          <a:latin typeface="Cambria" pitchFamily="18" charset="0"/>
                          <a:ea typeface="+mn-ea"/>
                          <a:cs typeface="+mn-cs"/>
                        </a:rPr>
                        <a:t>Projects Under Planning (1,980 MW)-JPL </a:t>
                      </a:r>
                      <a:endParaRPr lang="en-US" sz="1400" b="1" kern="1200" dirty="0">
                        <a:solidFill>
                          <a:schemeClr val="tx1"/>
                        </a:solidFill>
                        <a:latin typeface="Cambria" pitchFamily="18" charset="0"/>
                        <a:ea typeface="+mn-ea"/>
                        <a:cs typeface="+mn-cs"/>
                      </a:endParaRPr>
                    </a:p>
                  </a:txBody>
                  <a:tcPr marL="82966" marR="82966" marT="41337" marB="41337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 smtClean="0">
                        <a:latin typeface="Cambria" pitchFamily="18" charset="0"/>
                      </a:endParaRPr>
                    </a:p>
                  </a:txBody>
                  <a:tcPr marL="82966" marR="82966" marT="41337" marB="4133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 smtClean="0">
                        <a:latin typeface="Cambria" pitchFamily="18" charset="0"/>
                      </a:endParaRPr>
                    </a:p>
                  </a:txBody>
                  <a:tcPr marL="82966" marR="82966" marT="41337" marB="4133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>
                        <a:latin typeface="Cambria" pitchFamily="18" charset="0"/>
                      </a:endParaRPr>
                    </a:p>
                  </a:txBody>
                  <a:tcPr marL="82966" marR="82966" marT="41337" marB="4133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94205">
                <a:tc>
                  <a:txBody>
                    <a:bodyPr/>
                    <a:lstStyle/>
                    <a:p>
                      <a:r>
                        <a:rPr lang="en-US" sz="1400" kern="1200" dirty="0" err="1" smtClean="0">
                          <a:solidFill>
                            <a:schemeClr val="tx1"/>
                          </a:solidFill>
                          <a:latin typeface="Cambria" pitchFamily="18" charset="0"/>
                          <a:ea typeface="+mn-ea"/>
                          <a:cs typeface="+mn-cs"/>
                        </a:rPr>
                        <a:t>Kineta</a:t>
                      </a:r>
                      <a:r>
                        <a:rPr lang="en-US" sz="1400" kern="1200" dirty="0" smtClean="0">
                          <a:solidFill>
                            <a:schemeClr val="tx1"/>
                          </a:solidFill>
                          <a:latin typeface="Cambria" pitchFamily="18" charset="0"/>
                          <a:ea typeface="+mn-ea"/>
                          <a:cs typeface="+mn-cs"/>
                        </a:rPr>
                        <a:t> (1980 MW)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Cambria" pitchFamily="18" charset="0"/>
                        <a:ea typeface="+mn-ea"/>
                        <a:cs typeface="+mn-cs"/>
                      </a:endParaRPr>
                    </a:p>
                  </a:txBody>
                  <a:tcPr marL="82966" marR="82966" marT="41337" marB="41337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tx1"/>
                          </a:solidFill>
                          <a:latin typeface="Cambria" pitchFamily="18" charset="0"/>
                          <a:ea typeface="+mn-ea"/>
                          <a:cs typeface="+mn-cs"/>
                        </a:rPr>
                        <a:t>Thermal</a:t>
                      </a:r>
                      <a:endParaRPr lang="en-US" dirty="0"/>
                    </a:p>
                  </a:txBody>
                  <a:tcPr marL="82966" marR="82966" marT="41337" marB="4133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kern="1200" dirty="0" smtClean="0">
                          <a:solidFill>
                            <a:schemeClr val="tx1"/>
                          </a:solidFill>
                          <a:latin typeface="Cambria" pitchFamily="18" charset="0"/>
                          <a:ea typeface="+mn-ea"/>
                          <a:cs typeface="+mn-cs"/>
                        </a:rPr>
                        <a:t>Linkage/imported coal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Cambria" pitchFamily="18" charset="0"/>
                        <a:ea typeface="+mn-ea"/>
                        <a:cs typeface="+mn-cs"/>
                      </a:endParaRPr>
                    </a:p>
                  </a:txBody>
                  <a:tcPr marL="82966" marR="82966" marT="41337" marB="4133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latin typeface="Cambria" pitchFamily="18" charset="0"/>
                      </a:endParaRPr>
                    </a:p>
                  </a:txBody>
                  <a:tcPr marL="82966" marR="82966" marT="41337" marB="4133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5" name="Title 1"/>
          <p:cNvSpPr txBox="1">
            <a:spLocks/>
          </p:cNvSpPr>
          <p:nvPr/>
        </p:nvSpPr>
        <p:spPr bwMode="auto">
          <a:xfrm>
            <a:off x="121489" y="120563"/>
            <a:ext cx="8794113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9298" algn="l"/>
              </a:tabLst>
              <a:defRPr/>
            </a:pPr>
            <a:r>
              <a:rPr kumimoji="0" lang="en-US" sz="30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itchFamily="34" charset="0"/>
                <a:ea typeface="+mj-ea"/>
                <a:cs typeface="Calibri" pitchFamily="34" charset="0"/>
              </a:rPr>
              <a:t>Jindal Power Ltd. </a:t>
            </a:r>
            <a:endParaRPr kumimoji="0" lang="en-US" sz="3000" b="1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alibri" pitchFamily="34" charset="0"/>
              <a:ea typeface="+mj-ea"/>
              <a:cs typeface="Calibri" pitchFamily="34" charset="0"/>
            </a:endParaRPr>
          </a:p>
        </p:txBody>
      </p:sp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057866" y="0"/>
            <a:ext cx="1086134" cy="477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2916077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1" name="Freeform 5"/>
          <p:cNvSpPr>
            <a:spLocks noChangeAspect="1"/>
          </p:cNvSpPr>
          <p:nvPr/>
        </p:nvSpPr>
        <p:spPr bwMode="gray">
          <a:xfrm>
            <a:off x="5773738" y="2954338"/>
            <a:ext cx="328612" cy="330200"/>
          </a:xfrm>
          <a:custGeom>
            <a:avLst/>
            <a:gdLst>
              <a:gd name="T0" fmla="*/ 2147483647 w 3825"/>
              <a:gd name="T1" fmla="*/ 2147483647 h 3752"/>
              <a:gd name="T2" fmla="*/ 2147483647 w 3825"/>
              <a:gd name="T3" fmla="*/ 2147483647 h 3752"/>
              <a:gd name="T4" fmla="*/ 2147483647 w 3825"/>
              <a:gd name="T5" fmla="*/ 2147483647 h 3752"/>
              <a:gd name="T6" fmla="*/ 2147483647 w 3825"/>
              <a:gd name="T7" fmla="*/ 2147483647 h 3752"/>
              <a:gd name="T8" fmla="*/ 2147483647 w 3825"/>
              <a:gd name="T9" fmla="*/ 2147483647 h 3752"/>
              <a:gd name="T10" fmla="*/ 2147483647 w 3825"/>
              <a:gd name="T11" fmla="*/ 2147483647 h 3752"/>
              <a:gd name="T12" fmla="*/ 2147483647 w 3825"/>
              <a:gd name="T13" fmla="*/ 2147483647 h 3752"/>
              <a:gd name="T14" fmla="*/ 2147483647 w 3825"/>
              <a:gd name="T15" fmla="*/ 2147483647 h 3752"/>
              <a:gd name="T16" fmla="*/ 2147483647 w 3825"/>
              <a:gd name="T17" fmla="*/ 2147483647 h 3752"/>
              <a:gd name="T18" fmla="*/ 2147483647 w 3825"/>
              <a:gd name="T19" fmla="*/ 2147483647 h 3752"/>
              <a:gd name="T20" fmla="*/ 2147483647 w 3825"/>
              <a:gd name="T21" fmla="*/ 2147483647 h 3752"/>
              <a:gd name="T22" fmla="*/ 2147483647 w 3825"/>
              <a:gd name="T23" fmla="*/ 2147483647 h 3752"/>
              <a:gd name="T24" fmla="*/ 2147483647 w 3825"/>
              <a:gd name="T25" fmla="*/ 2147483647 h 3752"/>
              <a:gd name="T26" fmla="*/ 2147483647 w 3825"/>
              <a:gd name="T27" fmla="*/ 2147483647 h 3752"/>
              <a:gd name="T28" fmla="*/ 2147483647 w 3825"/>
              <a:gd name="T29" fmla="*/ 2147483647 h 3752"/>
              <a:gd name="T30" fmla="*/ 2147483647 w 3825"/>
              <a:gd name="T31" fmla="*/ 2147483647 h 3752"/>
              <a:gd name="T32" fmla="*/ 2147483647 w 3825"/>
              <a:gd name="T33" fmla="*/ 2147483647 h 3752"/>
              <a:gd name="T34" fmla="*/ 2147483647 w 3825"/>
              <a:gd name="T35" fmla="*/ 2147483647 h 3752"/>
              <a:gd name="T36" fmla="*/ 2147483647 w 3825"/>
              <a:gd name="T37" fmla="*/ 2147483647 h 3752"/>
              <a:gd name="T38" fmla="*/ 2147483647 w 3825"/>
              <a:gd name="T39" fmla="*/ 2147483647 h 3752"/>
              <a:gd name="T40" fmla="*/ 2147483647 w 3825"/>
              <a:gd name="T41" fmla="*/ 2147483647 h 3752"/>
              <a:gd name="T42" fmla="*/ 2147483647 w 3825"/>
              <a:gd name="T43" fmla="*/ 2147483647 h 3752"/>
              <a:gd name="T44" fmla="*/ 2147483647 w 3825"/>
              <a:gd name="T45" fmla="*/ 2147483647 h 3752"/>
              <a:gd name="T46" fmla="*/ 2147483647 w 3825"/>
              <a:gd name="T47" fmla="*/ 2147483647 h 3752"/>
              <a:gd name="T48" fmla="*/ 2147483647 w 3825"/>
              <a:gd name="T49" fmla="*/ 2147483647 h 3752"/>
              <a:gd name="T50" fmla="*/ 2147483647 w 3825"/>
              <a:gd name="T51" fmla="*/ 2147483647 h 3752"/>
              <a:gd name="T52" fmla="*/ 2147483647 w 3825"/>
              <a:gd name="T53" fmla="*/ 2147483647 h 3752"/>
              <a:gd name="T54" fmla="*/ 2147483647 w 3825"/>
              <a:gd name="T55" fmla="*/ 2147483647 h 3752"/>
              <a:gd name="T56" fmla="*/ 2147483647 w 3825"/>
              <a:gd name="T57" fmla="*/ 2147483647 h 3752"/>
              <a:gd name="T58" fmla="*/ 2147483647 w 3825"/>
              <a:gd name="T59" fmla="*/ 2147483647 h 3752"/>
              <a:gd name="T60" fmla="*/ 2147483647 w 3825"/>
              <a:gd name="T61" fmla="*/ 2147483647 h 3752"/>
              <a:gd name="T62" fmla="*/ 2147483647 w 3825"/>
              <a:gd name="T63" fmla="*/ 2147483647 h 3752"/>
              <a:gd name="T64" fmla="*/ 2147483647 w 3825"/>
              <a:gd name="T65" fmla="*/ 2147483647 h 3752"/>
              <a:gd name="T66" fmla="*/ 2147483647 w 3825"/>
              <a:gd name="T67" fmla="*/ 2147483647 h 3752"/>
              <a:gd name="T68" fmla="*/ 2147483647 w 3825"/>
              <a:gd name="T69" fmla="*/ 2147483647 h 3752"/>
              <a:gd name="T70" fmla="*/ 2147483647 w 3825"/>
              <a:gd name="T71" fmla="*/ 2147483647 h 3752"/>
              <a:gd name="T72" fmla="*/ 2147483647 w 3825"/>
              <a:gd name="T73" fmla="*/ 2147483647 h 3752"/>
              <a:gd name="T74" fmla="*/ 2147483647 w 3825"/>
              <a:gd name="T75" fmla="*/ 2147483647 h 3752"/>
              <a:gd name="T76" fmla="*/ 2147483647 w 3825"/>
              <a:gd name="T77" fmla="*/ 2147483647 h 3752"/>
              <a:gd name="T78" fmla="*/ 2147483647 w 3825"/>
              <a:gd name="T79" fmla="*/ 2147483647 h 3752"/>
              <a:gd name="T80" fmla="*/ 2147483647 w 3825"/>
              <a:gd name="T81" fmla="*/ 2147483647 h 3752"/>
              <a:gd name="T82" fmla="*/ 2147483647 w 3825"/>
              <a:gd name="T83" fmla="*/ 2147483647 h 3752"/>
              <a:gd name="T84" fmla="*/ 2147483647 w 3825"/>
              <a:gd name="T85" fmla="*/ 2147483647 h 3752"/>
              <a:gd name="T86" fmla="*/ 2147483647 w 3825"/>
              <a:gd name="T87" fmla="*/ 2147483647 h 3752"/>
              <a:gd name="T88" fmla="*/ 2147483647 w 3825"/>
              <a:gd name="T89" fmla="*/ 2147483647 h 3752"/>
              <a:gd name="T90" fmla="*/ 2147483647 w 3825"/>
              <a:gd name="T91" fmla="*/ 2147483647 h 3752"/>
              <a:gd name="T92" fmla="*/ 2147483647 w 3825"/>
              <a:gd name="T93" fmla="*/ 2147483647 h 3752"/>
              <a:gd name="T94" fmla="*/ 2147483647 w 3825"/>
              <a:gd name="T95" fmla="*/ 2147483647 h 3752"/>
              <a:gd name="T96" fmla="*/ 2147483647 w 3825"/>
              <a:gd name="T97" fmla="*/ 2147483647 h 3752"/>
              <a:gd name="T98" fmla="*/ 2147483647 w 3825"/>
              <a:gd name="T99" fmla="*/ 2147483647 h 3752"/>
              <a:gd name="T100" fmla="*/ 2147483647 w 3825"/>
              <a:gd name="T101" fmla="*/ 2147483647 h 3752"/>
              <a:gd name="T102" fmla="*/ 2147483647 w 3825"/>
              <a:gd name="T103" fmla="*/ 2147483647 h 3752"/>
              <a:gd name="T104" fmla="*/ 2147483647 w 3825"/>
              <a:gd name="T105" fmla="*/ 2147483647 h 3752"/>
              <a:gd name="T106" fmla="*/ 2147483647 w 3825"/>
              <a:gd name="T107" fmla="*/ 2147483647 h 3752"/>
              <a:gd name="T108" fmla="*/ 2147483647 w 3825"/>
              <a:gd name="T109" fmla="*/ 2147483647 h 3752"/>
              <a:gd name="T110" fmla="*/ 2147483647 w 3825"/>
              <a:gd name="T111" fmla="*/ 2147483647 h 3752"/>
              <a:gd name="T112" fmla="*/ 2147483647 w 3825"/>
              <a:gd name="T113" fmla="*/ 2147483647 h 3752"/>
              <a:gd name="T114" fmla="*/ 2147483647 w 3825"/>
              <a:gd name="T115" fmla="*/ 2147483647 h 3752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3825"/>
              <a:gd name="T175" fmla="*/ 0 h 3752"/>
              <a:gd name="T176" fmla="*/ 3825 w 3825"/>
              <a:gd name="T177" fmla="*/ 3752 h 3752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3825" h="3752">
                <a:moveTo>
                  <a:pt x="297" y="2111"/>
                </a:moveTo>
                <a:lnTo>
                  <a:pt x="419" y="2165"/>
                </a:lnTo>
                <a:lnTo>
                  <a:pt x="477" y="2138"/>
                </a:lnTo>
                <a:lnTo>
                  <a:pt x="689" y="2129"/>
                </a:lnTo>
                <a:lnTo>
                  <a:pt x="765" y="2129"/>
                </a:lnTo>
                <a:lnTo>
                  <a:pt x="846" y="2156"/>
                </a:lnTo>
                <a:lnTo>
                  <a:pt x="900" y="2111"/>
                </a:lnTo>
                <a:lnTo>
                  <a:pt x="923" y="2107"/>
                </a:lnTo>
                <a:lnTo>
                  <a:pt x="1107" y="2111"/>
                </a:lnTo>
                <a:lnTo>
                  <a:pt x="1292" y="2062"/>
                </a:lnTo>
                <a:lnTo>
                  <a:pt x="1404" y="2044"/>
                </a:lnTo>
                <a:lnTo>
                  <a:pt x="1449" y="2008"/>
                </a:lnTo>
                <a:lnTo>
                  <a:pt x="1449" y="1981"/>
                </a:lnTo>
                <a:lnTo>
                  <a:pt x="1431" y="1949"/>
                </a:lnTo>
                <a:lnTo>
                  <a:pt x="1449" y="1859"/>
                </a:lnTo>
                <a:lnTo>
                  <a:pt x="1440" y="1801"/>
                </a:lnTo>
                <a:lnTo>
                  <a:pt x="1458" y="1738"/>
                </a:lnTo>
                <a:lnTo>
                  <a:pt x="1481" y="1711"/>
                </a:lnTo>
                <a:lnTo>
                  <a:pt x="1535" y="1670"/>
                </a:lnTo>
                <a:lnTo>
                  <a:pt x="1562" y="1625"/>
                </a:lnTo>
                <a:lnTo>
                  <a:pt x="1598" y="1598"/>
                </a:lnTo>
                <a:lnTo>
                  <a:pt x="1616" y="1616"/>
                </a:lnTo>
                <a:lnTo>
                  <a:pt x="1616" y="1625"/>
                </a:lnTo>
                <a:lnTo>
                  <a:pt x="1674" y="1634"/>
                </a:lnTo>
                <a:lnTo>
                  <a:pt x="1805" y="1607"/>
                </a:lnTo>
                <a:lnTo>
                  <a:pt x="1823" y="1580"/>
                </a:lnTo>
                <a:lnTo>
                  <a:pt x="1778" y="1563"/>
                </a:lnTo>
                <a:lnTo>
                  <a:pt x="1913" y="1477"/>
                </a:lnTo>
                <a:lnTo>
                  <a:pt x="2025" y="1495"/>
                </a:lnTo>
                <a:lnTo>
                  <a:pt x="1998" y="1477"/>
                </a:lnTo>
                <a:lnTo>
                  <a:pt x="2016" y="1459"/>
                </a:lnTo>
                <a:lnTo>
                  <a:pt x="2034" y="1459"/>
                </a:lnTo>
                <a:lnTo>
                  <a:pt x="2075" y="1486"/>
                </a:lnTo>
                <a:lnTo>
                  <a:pt x="2093" y="1522"/>
                </a:lnTo>
                <a:lnTo>
                  <a:pt x="2111" y="1531"/>
                </a:lnTo>
                <a:lnTo>
                  <a:pt x="2223" y="1432"/>
                </a:lnTo>
                <a:lnTo>
                  <a:pt x="2205" y="1293"/>
                </a:lnTo>
                <a:lnTo>
                  <a:pt x="2223" y="1248"/>
                </a:lnTo>
                <a:lnTo>
                  <a:pt x="2250" y="1234"/>
                </a:lnTo>
                <a:lnTo>
                  <a:pt x="2250" y="1180"/>
                </a:lnTo>
                <a:lnTo>
                  <a:pt x="2259" y="1153"/>
                </a:lnTo>
                <a:lnTo>
                  <a:pt x="2286" y="1153"/>
                </a:lnTo>
                <a:lnTo>
                  <a:pt x="2295" y="1095"/>
                </a:lnTo>
                <a:lnTo>
                  <a:pt x="2354" y="1077"/>
                </a:lnTo>
                <a:lnTo>
                  <a:pt x="2390" y="1077"/>
                </a:lnTo>
                <a:lnTo>
                  <a:pt x="2493" y="1005"/>
                </a:lnTo>
                <a:lnTo>
                  <a:pt x="2453" y="893"/>
                </a:lnTo>
                <a:lnTo>
                  <a:pt x="2426" y="893"/>
                </a:lnTo>
                <a:lnTo>
                  <a:pt x="2399" y="848"/>
                </a:lnTo>
                <a:lnTo>
                  <a:pt x="2390" y="839"/>
                </a:lnTo>
                <a:lnTo>
                  <a:pt x="2408" y="812"/>
                </a:lnTo>
                <a:lnTo>
                  <a:pt x="2435" y="807"/>
                </a:lnTo>
                <a:lnTo>
                  <a:pt x="2583" y="830"/>
                </a:lnTo>
                <a:lnTo>
                  <a:pt x="2669" y="807"/>
                </a:lnTo>
                <a:lnTo>
                  <a:pt x="2705" y="762"/>
                </a:lnTo>
                <a:lnTo>
                  <a:pt x="2705" y="735"/>
                </a:lnTo>
                <a:lnTo>
                  <a:pt x="2714" y="708"/>
                </a:lnTo>
                <a:lnTo>
                  <a:pt x="2678" y="690"/>
                </a:lnTo>
                <a:lnTo>
                  <a:pt x="2678" y="668"/>
                </a:lnTo>
                <a:lnTo>
                  <a:pt x="2750" y="569"/>
                </a:lnTo>
                <a:lnTo>
                  <a:pt x="2817" y="519"/>
                </a:lnTo>
                <a:lnTo>
                  <a:pt x="2835" y="483"/>
                </a:lnTo>
                <a:lnTo>
                  <a:pt x="2826" y="430"/>
                </a:lnTo>
                <a:lnTo>
                  <a:pt x="2853" y="380"/>
                </a:lnTo>
                <a:lnTo>
                  <a:pt x="2808" y="272"/>
                </a:lnTo>
                <a:lnTo>
                  <a:pt x="2732" y="214"/>
                </a:lnTo>
                <a:lnTo>
                  <a:pt x="2750" y="169"/>
                </a:lnTo>
                <a:lnTo>
                  <a:pt x="2835" y="106"/>
                </a:lnTo>
                <a:lnTo>
                  <a:pt x="2844" y="83"/>
                </a:lnTo>
                <a:lnTo>
                  <a:pt x="2916" y="92"/>
                </a:lnTo>
                <a:lnTo>
                  <a:pt x="2916" y="65"/>
                </a:lnTo>
                <a:lnTo>
                  <a:pt x="2957" y="56"/>
                </a:lnTo>
                <a:lnTo>
                  <a:pt x="2966" y="20"/>
                </a:lnTo>
                <a:lnTo>
                  <a:pt x="3047" y="0"/>
                </a:lnTo>
                <a:lnTo>
                  <a:pt x="3066" y="149"/>
                </a:lnTo>
                <a:lnTo>
                  <a:pt x="3102" y="230"/>
                </a:lnTo>
                <a:lnTo>
                  <a:pt x="3150" y="288"/>
                </a:lnTo>
                <a:lnTo>
                  <a:pt x="3201" y="336"/>
                </a:lnTo>
                <a:lnTo>
                  <a:pt x="3299" y="366"/>
                </a:lnTo>
                <a:lnTo>
                  <a:pt x="3386" y="378"/>
                </a:lnTo>
                <a:lnTo>
                  <a:pt x="3440" y="380"/>
                </a:lnTo>
                <a:lnTo>
                  <a:pt x="3488" y="398"/>
                </a:lnTo>
                <a:cubicBezTo>
                  <a:pt x="3513" y="404"/>
                  <a:pt x="3568" y="394"/>
                  <a:pt x="3588" y="419"/>
                </a:cubicBezTo>
                <a:cubicBezTo>
                  <a:pt x="3617" y="437"/>
                  <a:pt x="3589" y="501"/>
                  <a:pt x="3608" y="551"/>
                </a:cubicBezTo>
                <a:cubicBezTo>
                  <a:pt x="3590" y="567"/>
                  <a:pt x="3565" y="535"/>
                  <a:pt x="3546" y="540"/>
                </a:cubicBezTo>
                <a:lnTo>
                  <a:pt x="3485" y="576"/>
                </a:lnTo>
                <a:lnTo>
                  <a:pt x="3462" y="557"/>
                </a:lnTo>
                <a:lnTo>
                  <a:pt x="3425" y="581"/>
                </a:lnTo>
                <a:lnTo>
                  <a:pt x="3426" y="618"/>
                </a:lnTo>
                <a:lnTo>
                  <a:pt x="3387" y="674"/>
                </a:lnTo>
                <a:lnTo>
                  <a:pt x="3438" y="708"/>
                </a:lnTo>
                <a:lnTo>
                  <a:pt x="3407" y="758"/>
                </a:lnTo>
                <a:lnTo>
                  <a:pt x="3443" y="774"/>
                </a:lnTo>
                <a:lnTo>
                  <a:pt x="3486" y="780"/>
                </a:lnTo>
                <a:lnTo>
                  <a:pt x="3519" y="794"/>
                </a:lnTo>
                <a:lnTo>
                  <a:pt x="3462" y="858"/>
                </a:lnTo>
                <a:lnTo>
                  <a:pt x="3441" y="857"/>
                </a:lnTo>
                <a:lnTo>
                  <a:pt x="3507" y="923"/>
                </a:lnTo>
                <a:lnTo>
                  <a:pt x="3515" y="938"/>
                </a:lnTo>
                <a:lnTo>
                  <a:pt x="3524" y="969"/>
                </a:lnTo>
                <a:lnTo>
                  <a:pt x="3525" y="954"/>
                </a:lnTo>
                <a:lnTo>
                  <a:pt x="3426" y="1037"/>
                </a:lnTo>
                <a:lnTo>
                  <a:pt x="3488" y="1059"/>
                </a:lnTo>
                <a:lnTo>
                  <a:pt x="3486" y="1080"/>
                </a:lnTo>
                <a:lnTo>
                  <a:pt x="3549" y="1122"/>
                </a:lnTo>
                <a:lnTo>
                  <a:pt x="3543" y="1137"/>
                </a:lnTo>
                <a:lnTo>
                  <a:pt x="3566" y="1139"/>
                </a:lnTo>
                <a:lnTo>
                  <a:pt x="3594" y="1157"/>
                </a:lnTo>
                <a:lnTo>
                  <a:pt x="3644" y="1160"/>
                </a:lnTo>
                <a:lnTo>
                  <a:pt x="3645" y="1262"/>
                </a:lnTo>
                <a:lnTo>
                  <a:pt x="3788" y="1278"/>
                </a:lnTo>
                <a:lnTo>
                  <a:pt x="3810" y="1302"/>
                </a:lnTo>
                <a:lnTo>
                  <a:pt x="3825" y="1337"/>
                </a:lnTo>
                <a:lnTo>
                  <a:pt x="3783" y="1376"/>
                </a:lnTo>
                <a:lnTo>
                  <a:pt x="3684" y="1379"/>
                </a:lnTo>
                <a:lnTo>
                  <a:pt x="3632" y="1430"/>
                </a:lnTo>
                <a:lnTo>
                  <a:pt x="3603" y="1458"/>
                </a:lnTo>
                <a:lnTo>
                  <a:pt x="3611" y="1505"/>
                </a:lnTo>
                <a:lnTo>
                  <a:pt x="3647" y="1584"/>
                </a:lnTo>
                <a:lnTo>
                  <a:pt x="3605" y="1643"/>
                </a:lnTo>
                <a:lnTo>
                  <a:pt x="3663" y="1640"/>
                </a:lnTo>
                <a:lnTo>
                  <a:pt x="3672" y="1661"/>
                </a:lnTo>
                <a:lnTo>
                  <a:pt x="3684" y="1676"/>
                </a:lnTo>
                <a:lnTo>
                  <a:pt x="3656" y="1677"/>
                </a:lnTo>
                <a:lnTo>
                  <a:pt x="3624" y="1680"/>
                </a:lnTo>
                <a:lnTo>
                  <a:pt x="3605" y="1720"/>
                </a:lnTo>
                <a:lnTo>
                  <a:pt x="3542" y="1747"/>
                </a:lnTo>
                <a:lnTo>
                  <a:pt x="3480" y="1805"/>
                </a:lnTo>
                <a:lnTo>
                  <a:pt x="3438" y="1850"/>
                </a:lnTo>
                <a:lnTo>
                  <a:pt x="3411" y="1913"/>
                </a:lnTo>
                <a:lnTo>
                  <a:pt x="3407" y="1953"/>
                </a:lnTo>
                <a:lnTo>
                  <a:pt x="3383" y="1964"/>
                </a:lnTo>
                <a:lnTo>
                  <a:pt x="3287" y="2022"/>
                </a:lnTo>
                <a:lnTo>
                  <a:pt x="3222" y="2168"/>
                </a:lnTo>
                <a:lnTo>
                  <a:pt x="3144" y="2256"/>
                </a:lnTo>
                <a:lnTo>
                  <a:pt x="3006" y="2358"/>
                </a:lnTo>
                <a:lnTo>
                  <a:pt x="2871" y="2571"/>
                </a:lnTo>
                <a:lnTo>
                  <a:pt x="2835" y="2601"/>
                </a:lnTo>
                <a:lnTo>
                  <a:pt x="2705" y="2601"/>
                </a:lnTo>
                <a:lnTo>
                  <a:pt x="2631" y="2634"/>
                </a:lnTo>
                <a:lnTo>
                  <a:pt x="2565" y="2565"/>
                </a:lnTo>
                <a:lnTo>
                  <a:pt x="2528" y="2543"/>
                </a:lnTo>
                <a:lnTo>
                  <a:pt x="2396" y="2669"/>
                </a:lnTo>
                <a:lnTo>
                  <a:pt x="2289" y="2781"/>
                </a:lnTo>
                <a:lnTo>
                  <a:pt x="2289" y="2822"/>
                </a:lnTo>
                <a:lnTo>
                  <a:pt x="2268" y="2907"/>
                </a:lnTo>
                <a:lnTo>
                  <a:pt x="2295" y="2943"/>
                </a:lnTo>
                <a:lnTo>
                  <a:pt x="2313" y="2961"/>
                </a:lnTo>
                <a:lnTo>
                  <a:pt x="2427" y="2960"/>
                </a:lnTo>
                <a:lnTo>
                  <a:pt x="2456" y="2993"/>
                </a:lnTo>
                <a:lnTo>
                  <a:pt x="2466" y="3026"/>
                </a:lnTo>
                <a:lnTo>
                  <a:pt x="2430" y="3125"/>
                </a:lnTo>
                <a:lnTo>
                  <a:pt x="2429" y="3161"/>
                </a:lnTo>
                <a:lnTo>
                  <a:pt x="2493" y="3221"/>
                </a:lnTo>
                <a:lnTo>
                  <a:pt x="2546" y="3203"/>
                </a:lnTo>
                <a:lnTo>
                  <a:pt x="2562" y="3219"/>
                </a:lnTo>
                <a:lnTo>
                  <a:pt x="2567" y="3315"/>
                </a:lnTo>
                <a:lnTo>
                  <a:pt x="2610" y="3388"/>
                </a:lnTo>
                <a:lnTo>
                  <a:pt x="2688" y="3461"/>
                </a:lnTo>
                <a:lnTo>
                  <a:pt x="2684" y="3483"/>
                </a:lnTo>
                <a:lnTo>
                  <a:pt x="2648" y="3500"/>
                </a:lnTo>
                <a:lnTo>
                  <a:pt x="2643" y="3557"/>
                </a:lnTo>
                <a:lnTo>
                  <a:pt x="2687" y="3558"/>
                </a:lnTo>
                <a:lnTo>
                  <a:pt x="2684" y="3579"/>
                </a:lnTo>
                <a:lnTo>
                  <a:pt x="2649" y="3584"/>
                </a:lnTo>
                <a:lnTo>
                  <a:pt x="2624" y="3602"/>
                </a:lnTo>
                <a:lnTo>
                  <a:pt x="2597" y="3620"/>
                </a:lnTo>
                <a:lnTo>
                  <a:pt x="2570" y="3605"/>
                </a:lnTo>
                <a:lnTo>
                  <a:pt x="2565" y="3568"/>
                </a:lnTo>
                <a:lnTo>
                  <a:pt x="2531" y="3563"/>
                </a:lnTo>
                <a:lnTo>
                  <a:pt x="2445" y="3581"/>
                </a:lnTo>
                <a:lnTo>
                  <a:pt x="2426" y="3621"/>
                </a:lnTo>
                <a:lnTo>
                  <a:pt x="2408" y="3640"/>
                </a:lnTo>
                <a:lnTo>
                  <a:pt x="2340" y="3640"/>
                </a:lnTo>
                <a:lnTo>
                  <a:pt x="2301" y="3609"/>
                </a:lnTo>
                <a:lnTo>
                  <a:pt x="2271" y="3602"/>
                </a:lnTo>
                <a:lnTo>
                  <a:pt x="2250" y="3604"/>
                </a:lnTo>
                <a:lnTo>
                  <a:pt x="2151" y="3605"/>
                </a:lnTo>
                <a:lnTo>
                  <a:pt x="2129" y="3604"/>
                </a:lnTo>
                <a:lnTo>
                  <a:pt x="2115" y="3602"/>
                </a:lnTo>
                <a:lnTo>
                  <a:pt x="2093" y="3586"/>
                </a:lnTo>
                <a:lnTo>
                  <a:pt x="2070" y="3672"/>
                </a:lnTo>
                <a:lnTo>
                  <a:pt x="1926" y="3678"/>
                </a:lnTo>
                <a:lnTo>
                  <a:pt x="1901" y="3729"/>
                </a:lnTo>
                <a:lnTo>
                  <a:pt x="1886" y="3752"/>
                </a:lnTo>
                <a:lnTo>
                  <a:pt x="1764" y="3734"/>
                </a:lnTo>
                <a:lnTo>
                  <a:pt x="1746" y="3716"/>
                </a:lnTo>
                <a:lnTo>
                  <a:pt x="1683" y="3595"/>
                </a:lnTo>
                <a:lnTo>
                  <a:pt x="1647" y="3491"/>
                </a:lnTo>
                <a:lnTo>
                  <a:pt x="1544" y="3455"/>
                </a:lnTo>
                <a:lnTo>
                  <a:pt x="1526" y="3361"/>
                </a:lnTo>
                <a:lnTo>
                  <a:pt x="1481" y="3307"/>
                </a:lnTo>
                <a:lnTo>
                  <a:pt x="1404" y="3280"/>
                </a:lnTo>
                <a:lnTo>
                  <a:pt x="1301" y="3298"/>
                </a:lnTo>
                <a:lnTo>
                  <a:pt x="1202" y="3298"/>
                </a:lnTo>
                <a:lnTo>
                  <a:pt x="1134" y="3325"/>
                </a:lnTo>
                <a:lnTo>
                  <a:pt x="1089" y="3325"/>
                </a:lnTo>
                <a:lnTo>
                  <a:pt x="1013" y="3316"/>
                </a:lnTo>
                <a:lnTo>
                  <a:pt x="986" y="3370"/>
                </a:lnTo>
                <a:lnTo>
                  <a:pt x="959" y="3343"/>
                </a:lnTo>
                <a:lnTo>
                  <a:pt x="900" y="3343"/>
                </a:lnTo>
                <a:lnTo>
                  <a:pt x="855" y="3307"/>
                </a:lnTo>
                <a:lnTo>
                  <a:pt x="783" y="3316"/>
                </a:lnTo>
                <a:lnTo>
                  <a:pt x="725" y="3307"/>
                </a:lnTo>
                <a:lnTo>
                  <a:pt x="689" y="3343"/>
                </a:lnTo>
                <a:lnTo>
                  <a:pt x="626" y="3352"/>
                </a:lnTo>
                <a:lnTo>
                  <a:pt x="437" y="3334"/>
                </a:lnTo>
                <a:lnTo>
                  <a:pt x="356" y="3379"/>
                </a:lnTo>
                <a:lnTo>
                  <a:pt x="329" y="3352"/>
                </a:lnTo>
                <a:lnTo>
                  <a:pt x="297" y="3379"/>
                </a:lnTo>
                <a:lnTo>
                  <a:pt x="225" y="3406"/>
                </a:lnTo>
                <a:lnTo>
                  <a:pt x="207" y="3379"/>
                </a:lnTo>
                <a:lnTo>
                  <a:pt x="198" y="3361"/>
                </a:lnTo>
                <a:lnTo>
                  <a:pt x="207" y="3239"/>
                </a:lnTo>
                <a:lnTo>
                  <a:pt x="270" y="3100"/>
                </a:lnTo>
                <a:lnTo>
                  <a:pt x="374" y="3001"/>
                </a:lnTo>
                <a:lnTo>
                  <a:pt x="504" y="2952"/>
                </a:lnTo>
                <a:lnTo>
                  <a:pt x="567" y="2943"/>
                </a:lnTo>
                <a:lnTo>
                  <a:pt x="626" y="2880"/>
                </a:lnTo>
                <a:lnTo>
                  <a:pt x="644" y="2853"/>
                </a:lnTo>
                <a:lnTo>
                  <a:pt x="635" y="2812"/>
                </a:lnTo>
                <a:lnTo>
                  <a:pt x="612" y="2785"/>
                </a:lnTo>
                <a:lnTo>
                  <a:pt x="513" y="2767"/>
                </a:lnTo>
                <a:lnTo>
                  <a:pt x="513" y="2628"/>
                </a:lnTo>
                <a:lnTo>
                  <a:pt x="495" y="2516"/>
                </a:lnTo>
                <a:lnTo>
                  <a:pt x="464" y="2480"/>
                </a:lnTo>
                <a:lnTo>
                  <a:pt x="338" y="2444"/>
                </a:lnTo>
                <a:lnTo>
                  <a:pt x="207" y="2358"/>
                </a:lnTo>
                <a:lnTo>
                  <a:pt x="95" y="2156"/>
                </a:lnTo>
                <a:lnTo>
                  <a:pt x="0" y="2062"/>
                </a:lnTo>
                <a:lnTo>
                  <a:pt x="18" y="2044"/>
                </a:lnTo>
                <a:lnTo>
                  <a:pt x="297" y="2111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372" name="Freeform 6"/>
          <p:cNvSpPr>
            <a:spLocks noChangeAspect="1"/>
          </p:cNvSpPr>
          <p:nvPr/>
        </p:nvSpPr>
        <p:spPr bwMode="gray">
          <a:xfrm>
            <a:off x="4824413" y="2662238"/>
            <a:ext cx="95250" cy="130175"/>
          </a:xfrm>
          <a:custGeom>
            <a:avLst/>
            <a:gdLst>
              <a:gd name="T0" fmla="*/ 2147483647 w 1727"/>
              <a:gd name="T1" fmla="*/ 2147483647 h 2370"/>
              <a:gd name="T2" fmla="*/ 2147483647 w 1727"/>
              <a:gd name="T3" fmla="*/ 2147483647 h 2370"/>
              <a:gd name="T4" fmla="*/ 2147483647 w 1727"/>
              <a:gd name="T5" fmla="*/ 2147483647 h 2370"/>
              <a:gd name="T6" fmla="*/ 2147483647 w 1727"/>
              <a:gd name="T7" fmla="*/ 2147483647 h 2370"/>
              <a:gd name="T8" fmla="*/ 2147483647 w 1727"/>
              <a:gd name="T9" fmla="*/ 2147483647 h 2370"/>
              <a:gd name="T10" fmla="*/ 2147483647 w 1727"/>
              <a:gd name="T11" fmla="*/ 2147483647 h 2370"/>
              <a:gd name="T12" fmla="*/ 2147483647 w 1727"/>
              <a:gd name="T13" fmla="*/ 2147483647 h 2370"/>
              <a:gd name="T14" fmla="*/ 2147483647 w 1727"/>
              <a:gd name="T15" fmla="*/ 2147483647 h 2370"/>
              <a:gd name="T16" fmla="*/ 2147483647 w 1727"/>
              <a:gd name="T17" fmla="*/ 2147483647 h 2370"/>
              <a:gd name="T18" fmla="*/ 2147483647 w 1727"/>
              <a:gd name="T19" fmla="*/ 2147483647 h 2370"/>
              <a:gd name="T20" fmla="*/ 2147483647 w 1727"/>
              <a:gd name="T21" fmla="*/ 2147483647 h 2370"/>
              <a:gd name="T22" fmla="*/ 2147483647 w 1727"/>
              <a:gd name="T23" fmla="*/ 2147483647 h 2370"/>
              <a:gd name="T24" fmla="*/ 2147483647 w 1727"/>
              <a:gd name="T25" fmla="*/ 2147483647 h 2370"/>
              <a:gd name="T26" fmla="*/ 2147483647 w 1727"/>
              <a:gd name="T27" fmla="*/ 2147483647 h 2370"/>
              <a:gd name="T28" fmla="*/ 2147483647 w 1727"/>
              <a:gd name="T29" fmla="*/ 2147483647 h 2370"/>
              <a:gd name="T30" fmla="*/ 2147483647 w 1727"/>
              <a:gd name="T31" fmla="*/ 2147483647 h 2370"/>
              <a:gd name="T32" fmla="*/ 2147483647 w 1727"/>
              <a:gd name="T33" fmla="*/ 2147483647 h 2370"/>
              <a:gd name="T34" fmla="*/ 2147483647 w 1727"/>
              <a:gd name="T35" fmla="*/ 2147483647 h 2370"/>
              <a:gd name="T36" fmla="*/ 2147483647 w 1727"/>
              <a:gd name="T37" fmla="*/ 2147483647 h 2370"/>
              <a:gd name="T38" fmla="*/ 2147483647 w 1727"/>
              <a:gd name="T39" fmla="*/ 2147483647 h 2370"/>
              <a:gd name="T40" fmla="*/ 2147483647 w 1727"/>
              <a:gd name="T41" fmla="*/ 2147483647 h 2370"/>
              <a:gd name="T42" fmla="*/ 2147483647 w 1727"/>
              <a:gd name="T43" fmla="*/ 2147483647 h 2370"/>
              <a:gd name="T44" fmla="*/ 2147483647 w 1727"/>
              <a:gd name="T45" fmla="*/ 2147483647 h 2370"/>
              <a:gd name="T46" fmla="*/ 2147483647 w 1727"/>
              <a:gd name="T47" fmla="*/ 0 h 2370"/>
              <a:gd name="T48" fmla="*/ 2147483647 w 1727"/>
              <a:gd name="T49" fmla="*/ 2147483647 h 2370"/>
              <a:gd name="T50" fmla="*/ 0 w 1727"/>
              <a:gd name="T51" fmla="*/ 2147483647 h 2370"/>
              <a:gd name="T52" fmla="*/ 2147483647 w 1727"/>
              <a:gd name="T53" fmla="*/ 2147483647 h 2370"/>
              <a:gd name="T54" fmla="*/ 2147483647 w 1727"/>
              <a:gd name="T55" fmla="*/ 2147483647 h 2370"/>
              <a:gd name="T56" fmla="*/ 2147483647 w 1727"/>
              <a:gd name="T57" fmla="*/ 2147483647 h 2370"/>
              <a:gd name="T58" fmla="*/ 2147483647 w 1727"/>
              <a:gd name="T59" fmla="*/ 2147483647 h 2370"/>
              <a:gd name="T60" fmla="*/ 2147483647 w 1727"/>
              <a:gd name="T61" fmla="*/ 2147483647 h 2370"/>
              <a:gd name="T62" fmla="*/ 2147483647 w 1727"/>
              <a:gd name="T63" fmla="*/ 2147483647 h 2370"/>
              <a:gd name="T64" fmla="*/ 2147483647 w 1727"/>
              <a:gd name="T65" fmla="*/ 2147483647 h 2370"/>
              <a:gd name="T66" fmla="*/ 2147483647 w 1727"/>
              <a:gd name="T67" fmla="*/ 2147483647 h 2370"/>
              <a:gd name="T68" fmla="*/ 2147483647 w 1727"/>
              <a:gd name="T69" fmla="*/ 2147483647 h 2370"/>
              <a:gd name="T70" fmla="*/ 2147483647 w 1727"/>
              <a:gd name="T71" fmla="*/ 2147483647 h 2370"/>
              <a:gd name="T72" fmla="*/ 2147483647 w 1727"/>
              <a:gd name="T73" fmla="*/ 2147483647 h 2370"/>
              <a:gd name="T74" fmla="*/ 2147483647 w 1727"/>
              <a:gd name="T75" fmla="*/ 2147483647 h 2370"/>
              <a:gd name="T76" fmla="*/ 2147483647 w 1727"/>
              <a:gd name="T77" fmla="*/ 2147483647 h 2370"/>
              <a:gd name="T78" fmla="*/ 2147483647 w 1727"/>
              <a:gd name="T79" fmla="*/ 2147483647 h 2370"/>
              <a:gd name="T80" fmla="*/ 2147483647 w 1727"/>
              <a:gd name="T81" fmla="*/ 2147483647 h 2370"/>
              <a:gd name="T82" fmla="*/ 2147483647 w 1727"/>
              <a:gd name="T83" fmla="*/ 2147483647 h 2370"/>
              <a:gd name="T84" fmla="*/ 2147483647 w 1727"/>
              <a:gd name="T85" fmla="*/ 2147483647 h 2370"/>
              <a:gd name="T86" fmla="*/ 2147483647 w 1727"/>
              <a:gd name="T87" fmla="*/ 2147483647 h 2370"/>
              <a:gd name="T88" fmla="*/ 2147483647 w 1727"/>
              <a:gd name="T89" fmla="*/ 2147483647 h 2370"/>
              <a:gd name="T90" fmla="*/ 2147483647 w 1727"/>
              <a:gd name="T91" fmla="*/ 2147483647 h 2370"/>
              <a:gd name="T92" fmla="*/ 2147483647 w 1727"/>
              <a:gd name="T93" fmla="*/ 2147483647 h 2370"/>
              <a:gd name="T94" fmla="*/ 2147483647 w 1727"/>
              <a:gd name="T95" fmla="*/ 2147483647 h 2370"/>
              <a:gd name="T96" fmla="*/ 2147483647 w 1727"/>
              <a:gd name="T97" fmla="*/ 2147483647 h 2370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1727"/>
              <a:gd name="T148" fmla="*/ 0 h 2370"/>
              <a:gd name="T149" fmla="*/ 1727 w 1727"/>
              <a:gd name="T150" fmla="*/ 2370 h 2370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1727" h="2370">
                <a:moveTo>
                  <a:pt x="809" y="2343"/>
                </a:moveTo>
                <a:lnTo>
                  <a:pt x="845" y="2370"/>
                </a:lnTo>
                <a:lnTo>
                  <a:pt x="881" y="2280"/>
                </a:lnTo>
                <a:lnTo>
                  <a:pt x="998" y="2254"/>
                </a:lnTo>
                <a:lnTo>
                  <a:pt x="1070" y="2298"/>
                </a:lnTo>
                <a:lnTo>
                  <a:pt x="1151" y="2227"/>
                </a:lnTo>
                <a:lnTo>
                  <a:pt x="1547" y="2254"/>
                </a:lnTo>
                <a:lnTo>
                  <a:pt x="1547" y="2065"/>
                </a:lnTo>
                <a:lnTo>
                  <a:pt x="1727" y="1796"/>
                </a:lnTo>
                <a:lnTo>
                  <a:pt x="1547" y="1562"/>
                </a:lnTo>
                <a:lnTo>
                  <a:pt x="1529" y="1401"/>
                </a:lnTo>
                <a:lnTo>
                  <a:pt x="1547" y="1257"/>
                </a:lnTo>
                <a:lnTo>
                  <a:pt x="1673" y="1203"/>
                </a:lnTo>
                <a:lnTo>
                  <a:pt x="1601" y="1185"/>
                </a:lnTo>
                <a:lnTo>
                  <a:pt x="1547" y="1059"/>
                </a:lnTo>
                <a:lnTo>
                  <a:pt x="1619" y="979"/>
                </a:lnTo>
                <a:lnTo>
                  <a:pt x="1556" y="898"/>
                </a:lnTo>
                <a:lnTo>
                  <a:pt x="1484" y="961"/>
                </a:lnTo>
                <a:lnTo>
                  <a:pt x="1151" y="799"/>
                </a:lnTo>
                <a:lnTo>
                  <a:pt x="1115" y="602"/>
                </a:lnTo>
                <a:lnTo>
                  <a:pt x="980" y="548"/>
                </a:lnTo>
                <a:lnTo>
                  <a:pt x="836" y="215"/>
                </a:lnTo>
                <a:lnTo>
                  <a:pt x="630" y="45"/>
                </a:lnTo>
                <a:lnTo>
                  <a:pt x="576" y="0"/>
                </a:lnTo>
                <a:lnTo>
                  <a:pt x="387" y="36"/>
                </a:lnTo>
                <a:lnTo>
                  <a:pt x="0" y="171"/>
                </a:lnTo>
                <a:lnTo>
                  <a:pt x="72" y="215"/>
                </a:lnTo>
                <a:lnTo>
                  <a:pt x="54" y="350"/>
                </a:lnTo>
                <a:lnTo>
                  <a:pt x="144" y="368"/>
                </a:lnTo>
                <a:lnTo>
                  <a:pt x="99" y="449"/>
                </a:lnTo>
                <a:lnTo>
                  <a:pt x="297" y="530"/>
                </a:lnTo>
                <a:lnTo>
                  <a:pt x="198" y="548"/>
                </a:lnTo>
                <a:lnTo>
                  <a:pt x="171" y="718"/>
                </a:lnTo>
                <a:lnTo>
                  <a:pt x="270" y="718"/>
                </a:lnTo>
                <a:lnTo>
                  <a:pt x="279" y="745"/>
                </a:lnTo>
                <a:lnTo>
                  <a:pt x="179" y="1050"/>
                </a:lnTo>
                <a:lnTo>
                  <a:pt x="387" y="1212"/>
                </a:lnTo>
                <a:lnTo>
                  <a:pt x="360" y="1257"/>
                </a:lnTo>
                <a:lnTo>
                  <a:pt x="252" y="1248"/>
                </a:lnTo>
                <a:lnTo>
                  <a:pt x="234" y="1257"/>
                </a:lnTo>
                <a:lnTo>
                  <a:pt x="353" y="1386"/>
                </a:lnTo>
                <a:lnTo>
                  <a:pt x="351" y="1463"/>
                </a:lnTo>
                <a:lnTo>
                  <a:pt x="173" y="1526"/>
                </a:lnTo>
                <a:lnTo>
                  <a:pt x="357" y="1637"/>
                </a:lnTo>
                <a:lnTo>
                  <a:pt x="464" y="1751"/>
                </a:lnTo>
                <a:lnTo>
                  <a:pt x="584" y="1833"/>
                </a:lnTo>
                <a:lnTo>
                  <a:pt x="689" y="1946"/>
                </a:lnTo>
                <a:lnTo>
                  <a:pt x="578" y="1994"/>
                </a:lnTo>
                <a:lnTo>
                  <a:pt x="587" y="2117"/>
                </a:lnTo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373" name="Freeform 7"/>
          <p:cNvSpPr>
            <a:spLocks noChangeAspect="1"/>
          </p:cNvSpPr>
          <p:nvPr/>
        </p:nvSpPr>
        <p:spPr bwMode="gray">
          <a:xfrm>
            <a:off x="4819650" y="2746375"/>
            <a:ext cx="42863" cy="52388"/>
          </a:xfrm>
          <a:custGeom>
            <a:avLst/>
            <a:gdLst>
              <a:gd name="T0" fmla="*/ 2147483647 w 785"/>
              <a:gd name="T1" fmla="*/ 0 h 954"/>
              <a:gd name="T2" fmla="*/ 2147483647 w 785"/>
              <a:gd name="T3" fmla="*/ 2147483647 h 954"/>
              <a:gd name="T4" fmla="*/ 2147483647 w 785"/>
              <a:gd name="T5" fmla="*/ 2147483647 h 954"/>
              <a:gd name="T6" fmla="*/ 2147483647 w 785"/>
              <a:gd name="T7" fmla="*/ 2147483647 h 954"/>
              <a:gd name="T8" fmla="*/ 2147483647 w 785"/>
              <a:gd name="T9" fmla="*/ 2147483647 h 954"/>
              <a:gd name="T10" fmla="*/ 2147483647 w 785"/>
              <a:gd name="T11" fmla="*/ 2147483647 h 954"/>
              <a:gd name="T12" fmla="*/ 2147483647 w 785"/>
              <a:gd name="T13" fmla="*/ 2147483647 h 954"/>
              <a:gd name="T14" fmla="*/ 2147483647 w 785"/>
              <a:gd name="T15" fmla="*/ 2147483647 h 954"/>
              <a:gd name="T16" fmla="*/ 2147483647 w 785"/>
              <a:gd name="T17" fmla="*/ 2147483647 h 954"/>
              <a:gd name="T18" fmla="*/ 2147483647 w 785"/>
              <a:gd name="T19" fmla="*/ 2147483647 h 954"/>
              <a:gd name="T20" fmla="*/ 2147483647 w 785"/>
              <a:gd name="T21" fmla="*/ 2147483647 h 954"/>
              <a:gd name="T22" fmla="*/ 2147483647 w 785"/>
              <a:gd name="T23" fmla="*/ 2147483647 h 954"/>
              <a:gd name="T24" fmla="*/ 2147483647 w 785"/>
              <a:gd name="T25" fmla="*/ 2147483647 h 954"/>
              <a:gd name="T26" fmla="*/ 2147483647 w 785"/>
              <a:gd name="T27" fmla="*/ 2147483647 h 954"/>
              <a:gd name="T28" fmla="*/ 0 w 785"/>
              <a:gd name="T29" fmla="*/ 2147483647 h 954"/>
              <a:gd name="T30" fmla="*/ 2147483647 w 785"/>
              <a:gd name="T31" fmla="*/ 2147483647 h 954"/>
              <a:gd name="T32" fmla="*/ 2147483647 w 785"/>
              <a:gd name="T33" fmla="*/ 2147483647 h 954"/>
              <a:gd name="T34" fmla="*/ 2147483647 w 785"/>
              <a:gd name="T35" fmla="*/ 2147483647 h 954"/>
              <a:gd name="T36" fmla="*/ 2147483647 w 785"/>
              <a:gd name="T37" fmla="*/ 2147483647 h 954"/>
              <a:gd name="T38" fmla="*/ 2147483647 w 785"/>
              <a:gd name="T39" fmla="*/ 2147483647 h 954"/>
              <a:gd name="T40" fmla="*/ 2147483647 w 785"/>
              <a:gd name="T41" fmla="*/ 2147483647 h 954"/>
              <a:gd name="T42" fmla="*/ 2147483647 w 785"/>
              <a:gd name="T43" fmla="*/ 2147483647 h 954"/>
              <a:gd name="T44" fmla="*/ 2147483647 w 785"/>
              <a:gd name="T45" fmla="*/ 2147483647 h 954"/>
              <a:gd name="T46" fmla="*/ 2147483647 w 785"/>
              <a:gd name="T47" fmla="*/ 2147483647 h 954"/>
              <a:gd name="T48" fmla="*/ 2147483647 w 785"/>
              <a:gd name="T49" fmla="*/ 2147483647 h 954"/>
              <a:gd name="T50" fmla="*/ 2147483647 w 785"/>
              <a:gd name="T51" fmla="*/ 2147483647 h 954"/>
              <a:gd name="T52" fmla="*/ 2147483647 w 785"/>
              <a:gd name="T53" fmla="*/ 2147483647 h 954"/>
              <a:gd name="T54" fmla="*/ 2147483647 w 785"/>
              <a:gd name="T55" fmla="*/ 2147483647 h 954"/>
              <a:gd name="T56" fmla="*/ 2147483647 w 785"/>
              <a:gd name="T57" fmla="*/ 0 h 95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785"/>
              <a:gd name="T88" fmla="*/ 0 h 954"/>
              <a:gd name="T89" fmla="*/ 785 w 785"/>
              <a:gd name="T90" fmla="*/ 954 h 954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785" h="954">
                <a:moveTo>
                  <a:pt x="266" y="0"/>
                </a:moveTo>
                <a:lnTo>
                  <a:pt x="207" y="22"/>
                </a:lnTo>
                <a:lnTo>
                  <a:pt x="252" y="108"/>
                </a:lnTo>
                <a:lnTo>
                  <a:pt x="252" y="144"/>
                </a:lnTo>
                <a:lnTo>
                  <a:pt x="225" y="144"/>
                </a:lnTo>
                <a:lnTo>
                  <a:pt x="206" y="102"/>
                </a:lnTo>
                <a:lnTo>
                  <a:pt x="158" y="100"/>
                </a:lnTo>
                <a:lnTo>
                  <a:pt x="78" y="193"/>
                </a:lnTo>
                <a:lnTo>
                  <a:pt x="69" y="276"/>
                </a:lnTo>
                <a:lnTo>
                  <a:pt x="32" y="279"/>
                </a:lnTo>
                <a:lnTo>
                  <a:pt x="2" y="376"/>
                </a:lnTo>
                <a:lnTo>
                  <a:pt x="38" y="456"/>
                </a:lnTo>
                <a:lnTo>
                  <a:pt x="36" y="489"/>
                </a:lnTo>
                <a:lnTo>
                  <a:pt x="5" y="544"/>
                </a:lnTo>
                <a:lnTo>
                  <a:pt x="0" y="602"/>
                </a:lnTo>
                <a:lnTo>
                  <a:pt x="126" y="692"/>
                </a:lnTo>
                <a:lnTo>
                  <a:pt x="216" y="772"/>
                </a:lnTo>
                <a:lnTo>
                  <a:pt x="270" y="817"/>
                </a:lnTo>
                <a:lnTo>
                  <a:pt x="324" y="925"/>
                </a:lnTo>
                <a:lnTo>
                  <a:pt x="360" y="954"/>
                </a:lnTo>
                <a:lnTo>
                  <a:pt x="408" y="657"/>
                </a:lnTo>
                <a:lnTo>
                  <a:pt x="522" y="521"/>
                </a:lnTo>
                <a:lnTo>
                  <a:pt x="684" y="593"/>
                </a:lnTo>
                <a:lnTo>
                  <a:pt x="681" y="469"/>
                </a:lnTo>
                <a:lnTo>
                  <a:pt x="785" y="419"/>
                </a:lnTo>
                <a:lnTo>
                  <a:pt x="681" y="307"/>
                </a:lnTo>
                <a:lnTo>
                  <a:pt x="561" y="226"/>
                </a:lnTo>
                <a:lnTo>
                  <a:pt x="450" y="109"/>
                </a:lnTo>
                <a:lnTo>
                  <a:pt x="266" y="0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grpSp>
        <p:nvGrpSpPr>
          <p:cNvPr id="2" name="Group 8"/>
          <p:cNvGrpSpPr>
            <a:grpSpLocks/>
          </p:cNvGrpSpPr>
          <p:nvPr/>
        </p:nvGrpSpPr>
        <p:grpSpPr bwMode="auto">
          <a:xfrm>
            <a:off x="7961313" y="3573463"/>
            <a:ext cx="363537" cy="274637"/>
            <a:chOff x="4999" y="2272"/>
            <a:chExt cx="229" cy="173"/>
          </a:xfrm>
        </p:grpSpPr>
        <p:sp>
          <p:nvSpPr>
            <p:cNvPr id="58688" name="Freeform 9"/>
            <p:cNvSpPr>
              <a:spLocks/>
            </p:cNvSpPr>
            <p:nvPr/>
          </p:nvSpPr>
          <p:spPr bwMode="gray">
            <a:xfrm>
              <a:off x="5122" y="2303"/>
              <a:ext cx="10" cy="8"/>
            </a:xfrm>
            <a:custGeom>
              <a:avLst/>
              <a:gdLst>
                <a:gd name="T0" fmla="*/ 0 w 10"/>
                <a:gd name="T1" fmla="*/ 0 h 8"/>
                <a:gd name="T2" fmla="*/ 7 w 10"/>
                <a:gd name="T3" fmla="*/ 0 h 8"/>
                <a:gd name="T4" fmla="*/ 10 w 10"/>
                <a:gd name="T5" fmla="*/ 4 h 8"/>
                <a:gd name="T6" fmla="*/ 10 w 10"/>
                <a:gd name="T7" fmla="*/ 8 h 8"/>
                <a:gd name="T8" fmla="*/ 6 w 10"/>
                <a:gd name="T9" fmla="*/ 2 h 8"/>
                <a:gd name="T10" fmla="*/ 0 w 10"/>
                <a:gd name="T11" fmla="*/ 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8"/>
                <a:gd name="T20" fmla="*/ 10 w 10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8">
                  <a:moveTo>
                    <a:pt x="0" y="0"/>
                  </a:moveTo>
                  <a:lnTo>
                    <a:pt x="7" y="0"/>
                  </a:lnTo>
                  <a:lnTo>
                    <a:pt x="10" y="4"/>
                  </a:lnTo>
                  <a:lnTo>
                    <a:pt x="10" y="8"/>
                  </a:lnTo>
                  <a:lnTo>
                    <a:pt x="6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6350" cap="flat" cmpd="sng">
              <a:solidFill>
                <a:srgbClr val="B2B2B2"/>
              </a:solidFill>
              <a:prstDash val="solid"/>
              <a:bevel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89" name="Freeform 10"/>
            <p:cNvSpPr>
              <a:spLocks/>
            </p:cNvSpPr>
            <p:nvPr/>
          </p:nvSpPr>
          <p:spPr bwMode="gray">
            <a:xfrm>
              <a:off x="4999" y="2335"/>
              <a:ext cx="2" cy="2"/>
            </a:xfrm>
            <a:custGeom>
              <a:avLst/>
              <a:gdLst>
                <a:gd name="T0" fmla="*/ 0 w 2"/>
                <a:gd name="T1" fmla="*/ 0 h 2"/>
                <a:gd name="T2" fmla="*/ 2 w 2"/>
                <a:gd name="T3" fmla="*/ 2 h 2"/>
                <a:gd name="T4" fmla="*/ 0 w 2"/>
                <a:gd name="T5" fmla="*/ 2 h 2"/>
                <a:gd name="T6" fmla="*/ 0 w 2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2"/>
                <a:gd name="T14" fmla="*/ 2 w 2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2">
                  <a:moveTo>
                    <a:pt x="0" y="0"/>
                  </a:moveTo>
                  <a:lnTo>
                    <a:pt x="2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EAEAEA"/>
            </a:solidFill>
            <a:ln w="6350" cap="flat" cmpd="sng">
              <a:solidFill>
                <a:srgbClr val="B2B2B2"/>
              </a:solidFill>
              <a:prstDash val="solid"/>
              <a:bevel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90" name="Freeform 11"/>
            <p:cNvSpPr>
              <a:spLocks/>
            </p:cNvSpPr>
            <p:nvPr/>
          </p:nvSpPr>
          <p:spPr bwMode="gray">
            <a:xfrm>
              <a:off x="5227" y="2441"/>
              <a:ext cx="1" cy="3"/>
            </a:xfrm>
            <a:custGeom>
              <a:avLst/>
              <a:gdLst>
                <a:gd name="T0" fmla="*/ 0 w 1"/>
                <a:gd name="T1" fmla="*/ 0 h 3"/>
                <a:gd name="T2" fmla="*/ 1 w 1"/>
                <a:gd name="T3" fmla="*/ 3 h 3"/>
                <a:gd name="T4" fmla="*/ 0 w 1"/>
                <a:gd name="T5" fmla="*/ 0 h 3"/>
                <a:gd name="T6" fmla="*/ 0 60000 65536"/>
                <a:gd name="T7" fmla="*/ 0 60000 65536"/>
                <a:gd name="T8" fmla="*/ 0 60000 65536"/>
                <a:gd name="T9" fmla="*/ 0 w 1"/>
                <a:gd name="T10" fmla="*/ 0 h 3"/>
                <a:gd name="T11" fmla="*/ 1 w 1"/>
                <a:gd name="T12" fmla="*/ 3 h 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3">
                  <a:moveTo>
                    <a:pt x="0" y="0"/>
                  </a:moveTo>
                  <a:lnTo>
                    <a:pt x="1" y="3"/>
                  </a:lnTo>
                  <a:lnTo>
                    <a:pt x="0" y="0"/>
                  </a:lnTo>
                </a:path>
              </a:pathLst>
            </a:custGeom>
            <a:solidFill>
              <a:srgbClr val="EAEAEA"/>
            </a:solidFill>
            <a:ln w="6350" cap="flat" cmpd="sng">
              <a:solidFill>
                <a:srgbClr val="B2B2B2"/>
              </a:solidFill>
              <a:prstDash val="solid"/>
              <a:bevel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91" name="Freeform 12"/>
            <p:cNvSpPr>
              <a:spLocks/>
            </p:cNvSpPr>
            <p:nvPr/>
          </p:nvSpPr>
          <p:spPr bwMode="gray">
            <a:xfrm>
              <a:off x="5206" y="2406"/>
              <a:ext cx="3" cy="8"/>
            </a:xfrm>
            <a:custGeom>
              <a:avLst/>
              <a:gdLst>
                <a:gd name="T0" fmla="*/ 0 w 3"/>
                <a:gd name="T1" fmla="*/ 0 h 8"/>
                <a:gd name="T2" fmla="*/ 3 w 3"/>
                <a:gd name="T3" fmla="*/ 8 h 8"/>
                <a:gd name="T4" fmla="*/ 1 w 3"/>
                <a:gd name="T5" fmla="*/ 7 h 8"/>
                <a:gd name="T6" fmla="*/ 0 w 3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8"/>
                <a:gd name="T14" fmla="*/ 3 w 3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8">
                  <a:moveTo>
                    <a:pt x="0" y="0"/>
                  </a:moveTo>
                  <a:lnTo>
                    <a:pt x="3" y="8"/>
                  </a:lnTo>
                  <a:lnTo>
                    <a:pt x="1" y="7"/>
                  </a:lnTo>
                  <a:lnTo>
                    <a:pt x="0" y="0"/>
                  </a:lnTo>
                </a:path>
              </a:pathLst>
            </a:custGeom>
            <a:solidFill>
              <a:srgbClr val="EAEAEA"/>
            </a:solidFill>
            <a:ln w="6350" cap="flat" cmpd="sng">
              <a:solidFill>
                <a:srgbClr val="B2B2B2"/>
              </a:solidFill>
              <a:prstDash val="solid"/>
              <a:bevel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92" name="Freeform 13"/>
            <p:cNvSpPr>
              <a:spLocks/>
            </p:cNvSpPr>
            <p:nvPr/>
          </p:nvSpPr>
          <p:spPr bwMode="gray">
            <a:xfrm>
              <a:off x="5159" y="2444"/>
              <a:ext cx="1" cy="1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  <a:gd name="T6" fmla="*/ 0 60000 65536"/>
                <a:gd name="T7" fmla="*/ 0 60000 65536"/>
                <a:gd name="T8" fmla="*/ 0 60000 65536"/>
                <a:gd name="T9" fmla="*/ 0 w 1"/>
                <a:gd name="T10" fmla="*/ 0 h 1"/>
                <a:gd name="T11" fmla="*/ 1 w 1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1">
                  <a:moveTo>
                    <a:pt x="0" y="0"/>
                  </a:moveTo>
                  <a:lnTo>
                    <a:pt x="1" y="1"/>
                  </a:lnTo>
                  <a:lnTo>
                    <a:pt x="0" y="0"/>
                  </a:lnTo>
                </a:path>
              </a:pathLst>
            </a:custGeom>
            <a:solidFill>
              <a:srgbClr val="EAEAEA"/>
            </a:solidFill>
            <a:ln w="6350" cap="flat" cmpd="sng">
              <a:solidFill>
                <a:srgbClr val="B2B2B2"/>
              </a:solidFill>
              <a:prstDash val="solid"/>
              <a:bevel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93" name="Freeform 14"/>
            <p:cNvSpPr>
              <a:spLocks/>
            </p:cNvSpPr>
            <p:nvPr/>
          </p:nvSpPr>
          <p:spPr bwMode="gray">
            <a:xfrm>
              <a:off x="5066" y="2358"/>
              <a:ext cx="2" cy="1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1 h 1"/>
                <a:gd name="T4" fmla="*/ 2 w 2"/>
                <a:gd name="T5" fmla="*/ 0 h 1"/>
                <a:gd name="T6" fmla="*/ 0 60000 65536"/>
                <a:gd name="T7" fmla="*/ 0 60000 65536"/>
                <a:gd name="T8" fmla="*/ 0 60000 65536"/>
                <a:gd name="T9" fmla="*/ 0 w 2"/>
                <a:gd name="T10" fmla="*/ 0 h 1"/>
                <a:gd name="T11" fmla="*/ 2 w 2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" h="1">
                  <a:moveTo>
                    <a:pt x="2" y="0"/>
                  </a:moveTo>
                  <a:lnTo>
                    <a:pt x="0" y="1"/>
                  </a:lnTo>
                  <a:lnTo>
                    <a:pt x="2" y="0"/>
                  </a:lnTo>
                </a:path>
              </a:pathLst>
            </a:custGeom>
            <a:solidFill>
              <a:srgbClr val="EAEAEA"/>
            </a:solidFill>
            <a:ln w="6350" cap="flat" cmpd="sng">
              <a:solidFill>
                <a:srgbClr val="B2B2B2"/>
              </a:solidFill>
              <a:prstDash val="solid"/>
              <a:bevel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94" name="Freeform 15"/>
            <p:cNvSpPr>
              <a:spLocks/>
            </p:cNvSpPr>
            <p:nvPr/>
          </p:nvSpPr>
          <p:spPr bwMode="gray">
            <a:xfrm>
              <a:off x="5178" y="2309"/>
              <a:ext cx="4" cy="5"/>
            </a:xfrm>
            <a:custGeom>
              <a:avLst/>
              <a:gdLst>
                <a:gd name="T0" fmla="*/ 0 w 4"/>
                <a:gd name="T1" fmla="*/ 0 h 5"/>
                <a:gd name="T2" fmla="*/ 4 w 4"/>
                <a:gd name="T3" fmla="*/ 2 h 5"/>
                <a:gd name="T4" fmla="*/ 3 w 4"/>
                <a:gd name="T5" fmla="*/ 5 h 5"/>
                <a:gd name="T6" fmla="*/ 0 w 4"/>
                <a:gd name="T7" fmla="*/ 2 h 5"/>
                <a:gd name="T8" fmla="*/ 0 w 4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0" y="0"/>
                  </a:moveTo>
                  <a:lnTo>
                    <a:pt x="4" y="2"/>
                  </a:lnTo>
                  <a:lnTo>
                    <a:pt x="3" y="5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EAEAEA"/>
            </a:solidFill>
            <a:ln w="6350" cap="flat" cmpd="sng">
              <a:solidFill>
                <a:srgbClr val="B2B2B2"/>
              </a:solidFill>
              <a:prstDash val="solid"/>
              <a:bevel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95" name="Freeform 16"/>
            <p:cNvSpPr>
              <a:spLocks/>
            </p:cNvSpPr>
            <p:nvPr/>
          </p:nvSpPr>
          <p:spPr bwMode="gray">
            <a:xfrm>
              <a:off x="5119" y="2272"/>
              <a:ext cx="5" cy="5"/>
            </a:xfrm>
            <a:custGeom>
              <a:avLst/>
              <a:gdLst>
                <a:gd name="T0" fmla="*/ 3 w 5"/>
                <a:gd name="T1" fmla="*/ 0 h 5"/>
                <a:gd name="T2" fmla="*/ 5 w 5"/>
                <a:gd name="T3" fmla="*/ 1 h 5"/>
                <a:gd name="T4" fmla="*/ 2 w 5"/>
                <a:gd name="T5" fmla="*/ 5 h 5"/>
                <a:gd name="T6" fmla="*/ 0 w 5"/>
                <a:gd name="T7" fmla="*/ 5 h 5"/>
                <a:gd name="T8" fmla="*/ 0 w 5"/>
                <a:gd name="T9" fmla="*/ 1 h 5"/>
                <a:gd name="T10" fmla="*/ 3 w 5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5"/>
                <a:gd name="T20" fmla="*/ 5 w 5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5">
                  <a:moveTo>
                    <a:pt x="3" y="0"/>
                  </a:moveTo>
                  <a:lnTo>
                    <a:pt x="5" y="1"/>
                  </a:lnTo>
                  <a:lnTo>
                    <a:pt x="2" y="5"/>
                  </a:lnTo>
                  <a:lnTo>
                    <a:pt x="0" y="5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EAEAEA"/>
            </a:solidFill>
            <a:ln w="6350" cap="flat" cmpd="sng">
              <a:solidFill>
                <a:srgbClr val="B2B2B2"/>
              </a:solidFill>
              <a:prstDash val="solid"/>
              <a:bevel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</p:grpSp>
      <p:sp>
        <p:nvSpPr>
          <p:cNvPr id="58375" name="Freeform 17"/>
          <p:cNvSpPr>
            <a:spLocks noChangeAspect="1"/>
          </p:cNvSpPr>
          <p:nvPr/>
        </p:nvSpPr>
        <p:spPr bwMode="gray">
          <a:xfrm>
            <a:off x="4178300" y="2343150"/>
            <a:ext cx="95250" cy="146050"/>
          </a:xfrm>
          <a:custGeom>
            <a:avLst/>
            <a:gdLst>
              <a:gd name="T0" fmla="*/ 2147483647 w 871"/>
              <a:gd name="T1" fmla="*/ 2147483647 h 1327"/>
              <a:gd name="T2" fmla="*/ 2147483647 w 871"/>
              <a:gd name="T3" fmla="*/ 2147483647 h 1327"/>
              <a:gd name="T4" fmla="*/ 2147483647 w 871"/>
              <a:gd name="T5" fmla="*/ 2147483647 h 1327"/>
              <a:gd name="T6" fmla="*/ 2147483647 w 871"/>
              <a:gd name="T7" fmla="*/ 2147483647 h 1327"/>
              <a:gd name="T8" fmla="*/ 2147483647 w 871"/>
              <a:gd name="T9" fmla="*/ 2147483647 h 1327"/>
              <a:gd name="T10" fmla="*/ 2147483647 w 871"/>
              <a:gd name="T11" fmla="*/ 2147483647 h 1327"/>
              <a:gd name="T12" fmla="*/ 2147483647 w 871"/>
              <a:gd name="T13" fmla="*/ 2147483647 h 1327"/>
              <a:gd name="T14" fmla="*/ 2147483647 w 871"/>
              <a:gd name="T15" fmla="*/ 2147483647 h 1327"/>
              <a:gd name="T16" fmla="*/ 2147483647 w 871"/>
              <a:gd name="T17" fmla="*/ 2147483647 h 1327"/>
              <a:gd name="T18" fmla="*/ 2147483647 w 871"/>
              <a:gd name="T19" fmla="*/ 2147483647 h 1327"/>
              <a:gd name="T20" fmla="*/ 2147483647 w 871"/>
              <a:gd name="T21" fmla="*/ 2147483647 h 1327"/>
              <a:gd name="T22" fmla="*/ 2147483647 w 871"/>
              <a:gd name="T23" fmla="*/ 2147483647 h 1327"/>
              <a:gd name="T24" fmla="*/ 2147483647 w 871"/>
              <a:gd name="T25" fmla="*/ 2147483647 h 1327"/>
              <a:gd name="T26" fmla="*/ 2147483647 w 871"/>
              <a:gd name="T27" fmla="*/ 2147483647 h 1327"/>
              <a:gd name="T28" fmla="*/ 2147483647 w 871"/>
              <a:gd name="T29" fmla="*/ 2147483647 h 1327"/>
              <a:gd name="T30" fmla="*/ 2147483647 w 871"/>
              <a:gd name="T31" fmla="*/ 2147483647 h 1327"/>
              <a:gd name="T32" fmla="*/ 2147483647 w 871"/>
              <a:gd name="T33" fmla="*/ 2147483647 h 1327"/>
              <a:gd name="T34" fmla="*/ 2147483647 w 871"/>
              <a:gd name="T35" fmla="*/ 2147483647 h 1327"/>
              <a:gd name="T36" fmla="*/ 2147483647 w 871"/>
              <a:gd name="T37" fmla="*/ 2147483647 h 1327"/>
              <a:gd name="T38" fmla="*/ 2147483647 w 871"/>
              <a:gd name="T39" fmla="*/ 2147483647 h 1327"/>
              <a:gd name="T40" fmla="*/ 2147483647 w 871"/>
              <a:gd name="T41" fmla="*/ 2147483647 h 1327"/>
              <a:gd name="T42" fmla="*/ 2147483647 w 871"/>
              <a:gd name="T43" fmla="*/ 2147483647 h 1327"/>
              <a:gd name="T44" fmla="*/ 2147483647 w 871"/>
              <a:gd name="T45" fmla="*/ 2147483647 h 1327"/>
              <a:gd name="T46" fmla="*/ 2147483647 w 871"/>
              <a:gd name="T47" fmla="*/ 2147483647 h 1327"/>
              <a:gd name="T48" fmla="*/ 2147483647 w 871"/>
              <a:gd name="T49" fmla="*/ 2147483647 h 1327"/>
              <a:gd name="T50" fmla="*/ 2147483647 w 871"/>
              <a:gd name="T51" fmla="*/ 2147483647 h 1327"/>
              <a:gd name="T52" fmla="*/ 2147483647 w 871"/>
              <a:gd name="T53" fmla="*/ 2147483647 h 1327"/>
              <a:gd name="T54" fmla="*/ 2147483647 w 871"/>
              <a:gd name="T55" fmla="*/ 2147483647 h 1327"/>
              <a:gd name="T56" fmla="*/ 2147483647 w 871"/>
              <a:gd name="T57" fmla="*/ 2147483647 h 1327"/>
              <a:gd name="T58" fmla="*/ 2147483647 w 871"/>
              <a:gd name="T59" fmla="*/ 2147483647 h 1327"/>
              <a:gd name="T60" fmla="*/ 2147483647 w 871"/>
              <a:gd name="T61" fmla="*/ 2147483647 h 1327"/>
              <a:gd name="T62" fmla="*/ 2147483647 w 871"/>
              <a:gd name="T63" fmla="*/ 2147483647 h 1327"/>
              <a:gd name="T64" fmla="*/ 2147483647 w 871"/>
              <a:gd name="T65" fmla="*/ 2147483647 h 1327"/>
              <a:gd name="T66" fmla="*/ 2147483647 w 871"/>
              <a:gd name="T67" fmla="*/ 2147483647 h 1327"/>
              <a:gd name="T68" fmla="*/ 2147483647 w 871"/>
              <a:gd name="T69" fmla="*/ 2147483647 h 1327"/>
              <a:gd name="T70" fmla="*/ 2147483647 w 871"/>
              <a:gd name="T71" fmla="*/ 0 h 1327"/>
              <a:gd name="T72" fmla="*/ 2147483647 w 871"/>
              <a:gd name="T73" fmla="*/ 2147483647 h 1327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871"/>
              <a:gd name="T112" fmla="*/ 0 h 1327"/>
              <a:gd name="T113" fmla="*/ 871 w 871"/>
              <a:gd name="T114" fmla="*/ 1327 h 1327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871" h="1327">
                <a:moveTo>
                  <a:pt x="578" y="126"/>
                </a:moveTo>
                <a:lnTo>
                  <a:pt x="560" y="31"/>
                </a:lnTo>
                <a:lnTo>
                  <a:pt x="444" y="72"/>
                </a:lnTo>
                <a:lnTo>
                  <a:pt x="329" y="229"/>
                </a:lnTo>
                <a:lnTo>
                  <a:pt x="444" y="251"/>
                </a:lnTo>
                <a:lnTo>
                  <a:pt x="431" y="305"/>
                </a:lnTo>
                <a:lnTo>
                  <a:pt x="364" y="350"/>
                </a:lnTo>
                <a:lnTo>
                  <a:pt x="364" y="390"/>
                </a:lnTo>
                <a:lnTo>
                  <a:pt x="129" y="363"/>
                </a:lnTo>
                <a:lnTo>
                  <a:pt x="93" y="426"/>
                </a:lnTo>
                <a:lnTo>
                  <a:pt x="111" y="489"/>
                </a:lnTo>
                <a:lnTo>
                  <a:pt x="49" y="489"/>
                </a:lnTo>
                <a:lnTo>
                  <a:pt x="164" y="547"/>
                </a:lnTo>
                <a:lnTo>
                  <a:pt x="67" y="632"/>
                </a:lnTo>
                <a:lnTo>
                  <a:pt x="102" y="708"/>
                </a:lnTo>
                <a:lnTo>
                  <a:pt x="289" y="758"/>
                </a:lnTo>
                <a:lnTo>
                  <a:pt x="200" y="820"/>
                </a:lnTo>
                <a:lnTo>
                  <a:pt x="178" y="910"/>
                </a:lnTo>
                <a:lnTo>
                  <a:pt x="116" y="964"/>
                </a:lnTo>
                <a:lnTo>
                  <a:pt x="240" y="950"/>
                </a:lnTo>
                <a:lnTo>
                  <a:pt x="302" y="888"/>
                </a:lnTo>
                <a:lnTo>
                  <a:pt x="307" y="924"/>
                </a:lnTo>
                <a:lnTo>
                  <a:pt x="338" y="946"/>
                </a:lnTo>
                <a:lnTo>
                  <a:pt x="156" y="982"/>
                </a:lnTo>
                <a:lnTo>
                  <a:pt x="102" y="1076"/>
                </a:lnTo>
                <a:lnTo>
                  <a:pt x="4" y="1098"/>
                </a:lnTo>
                <a:lnTo>
                  <a:pt x="0" y="1134"/>
                </a:lnTo>
                <a:lnTo>
                  <a:pt x="93" y="1139"/>
                </a:lnTo>
                <a:lnTo>
                  <a:pt x="13" y="1215"/>
                </a:lnTo>
                <a:lnTo>
                  <a:pt x="142" y="1210"/>
                </a:lnTo>
                <a:lnTo>
                  <a:pt x="58" y="1291"/>
                </a:lnTo>
                <a:lnTo>
                  <a:pt x="169" y="1251"/>
                </a:lnTo>
                <a:lnTo>
                  <a:pt x="169" y="1291"/>
                </a:lnTo>
                <a:lnTo>
                  <a:pt x="124" y="1305"/>
                </a:lnTo>
                <a:lnTo>
                  <a:pt x="129" y="1327"/>
                </a:lnTo>
                <a:lnTo>
                  <a:pt x="227" y="1318"/>
                </a:lnTo>
                <a:lnTo>
                  <a:pt x="382" y="1269"/>
                </a:lnTo>
                <a:lnTo>
                  <a:pt x="409" y="1246"/>
                </a:lnTo>
                <a:lnTo>
                  <a:pt x="409" y="1193"/>
                </a:lnTo>
                <a:lnTo>
                  <a:pt x="444" y="1228"/>
                </a:lnTo>
                <a:lnTo>
                  <a:pt x="542" y="1188"/>
                </a:lnTo>
                <a:lnTo>
                  <a:pt x="569" y="1125"/>
                </a:lnTo>
                <a:lnTo>
                  <a:pt x="809" y="1098"/>
                </a:lnTo>
                <a:lnTo>
                  <a:pt x="804" y="1040"/>
                </a:lnTo>
                <a:lnTo>
                  <a:pt x="871" y="847"/>
                </a:lnTo>
                <a:lnTo>
                  <a:pt x="844" y="699"/>
                </a:lnTo>
                <a:lnTo>
                  <a:pt x="871" y="641"/>
                </a:lnTo>
                <a:lnTo>
                  <a:pt x="818" y="516"/>
                </a:lnTo>
                <a:lnTo>
                  <a:pt x="858" y="471"/>
                </a:lnTo>
                <a:lnTo>
                  <a:pt x="837" y="434"/>
                </a:lnTo>
                <a:lnTo>
                  <a:pt x="775" y="444"/>
                </a:lnTo>
                <a:lnTo>
                  <a:pt x="773" y="408"/>
                </a:lnTo>
                <a:lnTo>
                  <a:pt x="749" y="402"/>
                </a:lnTo>
                <a:lnTo>
                  <a:pt x="725" y="356"/>
                </a:lnTo>
                <a:lnTo>
                  <a:pt x="695" y="322"/>
                </a:lnTo>
                <a:lnTo>
                  <a:pt x="665" y="364"/>
                </a:lnTo>
                <a:lnTo>
                  <a:pt x="645" y="424"/>
                </a:lnTo>
                <a:lnTo>
                  <a:pt x="583" y="422"/>
                </a:lnTo>
                <a:lnTo>
                  <a:pt x="525" y="382"/>
                </a:lnTo>
                <a:lnTo>
                  <a:pt x="465" y="304"/>
                </a:lnTo>
                <a:lnTo>
                  <a:pt x="497" y="278"/>
                </a:lnTo>
                <a:lnTo>
                  <a:pt x="533" y="272"/>
                </a:lnTo>
                <a:lnTo>
                  <a:pt x="551" y="254"/>
                </a:lnTo>
                <a:lnTo>
                  <a:pt x="515" y="234"/>
                </a:lnTo>
                <a:lnTo>
                  <a:pt x="527" y="210"/>
                </a:lnTo>
                <a:lnTo>
                  <a:pt x="589" y="200"/>
                </a:lnTo>
                <a:lnTo>
                  <a:pt x="621" y="104"/>
                </a:lnTo>
                <a:lnTo>
                  <a:pt x="653" y="99"/>
                </a:lnTo>
                <a:lnTo>
                  <a:pt x="653" y="85"/>
                </a:lnTo>
                <a:lnTo>
                  <a:pt x="693" y="36"/>
                </a:lnTo>
                <a:lnTo>
                  <a:pt x="653" y="0"/>
                </a:lnTo>
                <a:lnTo>
                  <a:pt x="618" y="0"/>
                </a:lnTo>
                <a:lnTo>
                  <a:pt x="591" y="45"/>
                </a:lnTo>
                <a:lnTo>
                  <a:pt x="591" y="121"/>
                </a:lnTo>
                <a:lnTo>
                  <a:pt x="578" y="126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grpSp>
        <p:nvGrpSpPr>
          <p:cNvPr id="3" name="Group 18"/>
          <p:cNvGrpSpPr>
            <a:grpSpLocks/>
          </p:cNvGrpSpPr>
          <p:nvPr/>
        </p:nvGrpSpPr>
        <p:grpSpPr bwMode="auto">
          <a:xfrm>
            <a:off x="1239838" y="1482725"/>
            <a:ext cx="1984375" cy="1314450"/>
            <a:chOff x="1087" y="1265"/>
            <a:chExt cx="1250" cy="828"/>
          </a:xfrm>
        </p:grpSpPr>
        <p:sp>
          <p:nvSpPr>
            <p:cNvPr id="58641" name="Freeform 19"/>
            <p:cNvSpPr>
              <a:spLocks/>
            </p:cNvSpPr>
            <p:nvPr/>
          </p:nvSpPr>
          <p:spPr bwMode="auto">
            <a:xfrm>
              <a:off x="1087" y="1265"/>
              <a:ext cx="1209" cy="828"/>
            </a:xfrm>
            <a:custGeom>
              <a:avLst/>
              <a:gdLst>
                <a:gd name="T0" fmla="*/ 860 w 1209"/>
                <a:gd name="T1" fmla="*/ 813 h 828"/>
                <a:gd name="T2" fmla="*/ 844 w 1209"/>
                <a:gd name="T3" fmla="*/ 775 h 828"/>
                <a:gd name="T4" fmla="*/ 856 w 1209"/>
                <a:gd name="T5" fmla="*/ 757 h 828"/>
                <a:gd name="T6" fmla="*/ 794 w 1209"/>
                <a:gd name="T7" fmla="*/ 708 h 828"/>
                <a:gd name="T8" fmla="*/ 702 w 1209"/>
                <a:gd name="T9" fmla="*/ 707 h 828"/>
                <a:gd name="T10" fmla="*/ 399 w 1209"/>
                <a:gd name="T11" fmla="*/ 687 h 828"/>
                <a:gd name="T12" fmla="*/ 246 w 1209"/>
                <a:gd name="T13" fmla="*/ 671 h 828"/>
                <a:gd name="T14" fmla="*/ 211 w 1209"/>
                <a:gd name="T15" fmla="*/ 649 h 828"/>
                <a:gd name="T16" fmla="*/ 189 w 1209"/>
                <a:gd name="T17" fmla="*/ 629 h 828"/>
                <a:gd name="T18" fmla="*/ 150 w 1209"/>
                <a:gd name="T19" fmla="*/ 563 h 828"/>
                <a:gd name="T20" fmla="*/ 140 w 1209"/>
                <a:gd name="T21" fmla="*/ 525 h 828"/>
                <a:gd name="T22" fmla="*/ 107 w 1209"/>
                <a:gd name="T23" fmla="*/ 491 h 828"/>
                <a:gd name="T24" fmla="*/ 77 w 1209"/>
                <a:gd name="T25" fmla="*/ 439 h 828"/>
                <a:gd name="T26" fmla="*/ 64 w 1209"/>
                <a:gd name="T27" fmla="*/ 464 h 828"/>
                <a:gd name="T28" fmla="*/ 0 w 1209"/>
                <a:gd name="T29" fmla="*/ 409 h 828"/>
                <a:gd name="T30" fmla="*/ 38 w 1209"/>
                <a:gd name="T31" fmla="*/ 109 h 828"/>
                <a:gd name="T32" fmla="*/ 135 w 1209"/>
                <a:gd name="T33" fmla="*/ 81 h 828"/>
                <a:gd name="T34" fmla="*/ 134 w 1209"/>
                <a:gd name="T35" fmla="*/ 106 h 828"/>
                <a:gd name="T36" fmla="*/ 217 w 1209"/>
                <a:gd name="T37" fmla="*/ 102 h 828"/>
                <a:gd name="T38" fmla="*/ 252 w 1209"/>
                <a:gd name="T39" fmla="*/ 99 h 828"/>
                <a:gd name="T40" fmla="*/ 364 w 1209"/>
                <a:gd name="T41" fmla="*/ 149 h 828"/>
                <a:gd name="T42" fmla="*/ 453 w 1209"/>
                <a:gd name="T43" fmla="*/ 171 h 828"/>
                <a:gd name="T44" fmla="*/ 470 w 1209"/>
                <a:gd name="T45" fmla="*/ 179 h 828"/>
                <a:gd name="T46" fmla="*/ 486 w 1209"/>
                <a:gd name="T47" fmla="*/ 146 h 828"/>
                <a:gd name="T48" fmla="*/ 514 w 1209"/>
                <a:gd name="T49" fmla="*/ 153 h 828"/>
                <a:gd name="T50" fmla="*/ 601 w 1209"/>
                <a:gd name="T51" fmla="*/ 155 h 828"/>
                <a:gd name="T52" fmla="*/ 610 w 1209"/>
                <a:gd name="T53" fmla="*/ 136 h 828"/>
                <a:gd name="T54" fmla="*/ 644 w 1209"/>
                <a:gd name="T55" fmla="*/ 179 h 828"/>
                <a:gd name="T56" fmla="*/ 657 w 1209"/>
                <a:gd name="T57" fmla="*/ 121 h 828"/>
                <a:gd name="T58" fmla="*/ 628 w 1209"/>
                <a:gd name="T59" fmla="*/ 62 h 828"/>
                <a:gd name="T60" fmla="*/ 669 w 1209"/>
                <a:gd name="T61" fmla="*/ 4 h 828"/>
                <a:gd name="T62" fmla="*/ 695 w 1209"/>
                <a:gd name="T63" fmla="*/ 100 h 828"/>
                <a:gd name="T64" fmla="*/ 740 w 1209"/>
                <a:gd name="T65" fmla="*/ 118 h 828"/>
                <a:gd name="T66" fmla="*/ 793 w 1209"/>
                <a:gd name="T67" fmla="*/ 120 h 828"/>
                <a:gd name="T68" fmla="*/ 844 w 1209"/>
                <a:gd name="T69" fmla="*/ 127 h 828"/>
                <a:gd name="T70" fmla="*/ 818 w 1209"/>
                <a:gd name="T71" fmla="*/ 216 h 828"/>
                <a:gd name="T72" fmla="*/ 751 w 1209"/>
                <a:gd name="T73" fmla="*/ 252 h 828"/>
                <a:gd name="T74" fmla="*/ 721 w 1209"/>
                <a:gd name="T75" fmla="*/ 300 h 828"/>
                <a:gd name="T76" fmla="*/ 710 w 1209"/>
                <a:gd name="T77" fmla="*/ 313 h 828"/>
                <a:gd name="T78" fmla="*/ 657 w 1209"/>
                <a:gd name="T79" fmla="*/ 378 h 828"/>
                <a:gd name="T80" fmla="*/ 687 w 1209"/>
                <a:gd name="T81" fmla="*/ 495 h 828"/>
                <a:gd name="T82" fmla="*/ 830 w 1209"/>
                <a:gd name="T83" fmla="*/ 546 h 828"/>
                <a:gd name="T84" fmla="*/ 874 w 1209"/>
                <a:gd name="T85" fmla="*/ 629 h 828"/>
                <a:gd name="T86" fmla="*/ 893 w 1209"/>
                <a:gd name="T87" fmla="*/ 544 h 828"/>
                <a:gd name="T88" fmla="*/ 900 w 1209"/>
                <a:gd name="T89" fmla="*/ 426 h 828"/>
                <a:gd name="T90" fmla="*/ 890 w 1209"/>
                <a:gd name="T91" fmla="*/ 365 h 828"/>
                <a:gd name="T92" fmla="*/ 973 w 1209"/>
                <a:gd name="T93" fmla="*/ 361 h 828"/>
                <a:gd name="T94" fmla="*/ 1009 w 1209"/>
                <a:gd name="T95" fmla="*/ 398 h 828"/>
                <a:gd name="T96" fmla="*/ 1027 w 1209"/>
                <a:gd name="T97" fmla="*/ 449 h 828"/>
                <a:gd name="T98" fmla="*/ 1064 w 1209"/>
                <a:gd name="T99" fmla="*/ 444 h 828"/>
                <a:gd name="T100" fmla="*/ 1090 w 1209"/>
                <a:gd name="T101" fmla="*/ 435 h 828"/>
                <a:gd name="T102" fmla="*/ 1102 w 1209"/>
                <a:gd name="T103" fmla="*/ 471 h 828"/>
                <a:gd name="T104" fmla="*/ 1118 w 1209"/>
                <a:gd name="T105" fmla="*/ 513 h 828"/>
                <a:gd name="T106" fmla="*/ 1159 w 1209"/>
                <a:gd name="T107" fmla="*/ 544 h 828"/>
                <a:gd name="T108" fmla="*/ 1132 w 1209"/>
                <a:gd name="T109" fmla="*/ 578 h 828"/>
                <a:gd name="T110" fmla="*/ 1199 w 1209"/>
                <a:gd name="T111" fmla="*/ 592 h 828"/>
                <a:gd name="T112" fmla="*/ 1147 w 1209"/>
                <a:gd name="T113" fmla="*/ 659 h 828"/>
                <a:gd name="T114" fmla="*/ 1003 w 1209"/>
                <a:gd name="T115" fmla="*/ 718 h 828"/>
                <a:gd name="T116" fmla="*/ 1079 w 1209"/>
                <a:gd name="T117" fmla="*/ 713 h 828"/>
                <a:gd name="T118" fmla="*/ 1130 w 1209"/>
                <a:gd name="T119" fmla="*/ 759 h 828"/>
                <a:gd name="T120" fmla="*/ 1064 w 1209"/>
                <a:gd name="T121" fmla="*/ 792 h 828"/>
                <a:gd name="T122" fmla="*/ 1083 w 1209"/>
                <a:gd name="T123" fmla="*/ 751 h 828"/>
                <a:gd name="T124" fmla="*/ 1015 w 1209"/>
                <a:gd name="T125" fmla="*/ 720 h 82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209"/>
                <a:gd name="T190" fmla="*/ 0 h 828"/>
                <a:gd name="T191" fmla="*/ 1209 w 1209"/>
                <a:gd name="T192" fmla="*/ 828 h 82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209" h="828">
                  <a:moveTo>
                    <a:pt x="938" y="770"/>
                  </a:moveTo>
                  <a:lnTo>
                    <a:pt x="934" y="770"/>
                  </a:lnTo>
                  <a:lnTo>
                    <a:pt x="925" y="776"/>
                  </a:lnTo>
                  <a:lnTo>
                    <a:pt x="920" y="782"/>
                  </a:lnTo>
                  <a:lnTo>
                    <a:pt x="907" y="787"/>
                  </a:lnTo>
                  <a:lnTo>
                    <a:pt x="907" y="786"/>
                  </a:lnTo>
                  <a:lnTo>
                    <a:pt x="903" y="786"/>
                  </a:lnTo>
                  <a:lnTo>
                    <a:pt x="906" y="791"/>
                  </a:lnTo>
                  <a:lnTo>
                    <a:pt x="898" y="789"/>
                  </a:lnTo>
                  <a:lnTo>
                    <a:pt x="890" y="789"/>
                  </a:lnTo>
                  <a:lnTo>
                    <a:pt x="875" y="793"/>
                  </a:lnTo>
                  <a:lnTo>
                    <a:pt x="866" y="803"/>
                  </a:lnTo>
                  <a:lnTo>
                    <a:pt x="872" y="804"/>
                  </a:lnTo>
                  <a:lnTo>
                    <a:pt x="875" y="804"/>
                  </a:lnTo>
                  <a:lnTo>
                    <a:pt x="877" y="804"/>
                  </a:lnTo>
                  <a:lnTo>
                    <a:pt x="880" y="812"/>
                  </a:lnTo>
                  <a:lnTo>
                    <a:pt x="874" y="810"/>
                  </a:lnTo>
                  <a:lnTo>
                    <a:pt x="868" y="810"/>
                  </a:lnTo>
                  <a:lnTo>
                    <a:pt x="860" y="813"/>
                  </a:lnTo>
                  <a:lnTo>
                    <a:pt x="856" y="816"/>
                  </a:lnTo>
                  <a:lnTo>
                    <a:pt x="848" y="814"/>
                  </a:lnTo>
                  <a:lnTo>
                    <a:pt x="842" y="817"/>
                  </a:lnTo>
                  <a:lnTo>
                    <a:pt x="838" y="822"/>
                  </a:lnTo>
                  <a:lnTo>
                    <a:pt x="835" y="822"/>
                  </a:lnTo>
                  <a:lnTo>
                    <a:pt x="829" y="828"/>
                  </a:lnTo>
                  <a:lnTo>
                    <a:pt x="819" y="827"/>
                  </a:lnTo>
                  <a:lnTo>
                    <a:pt x="820" y="825"/>
                  </a:lnTo>
                  <a:lnTo>
                    <a:pt x="822" y="820"/>
                  </a:lnTo>
                  <a:lnTo>
                    <a:pt x="825" y="822"/>
                  </a:lnTo>
                  <a:lnTo>
                    <a:pt x="828" y="821"/>
                  </a:lnTo>
                  <a:lnTo>
                    <a:pt x="829" y="819"/>
                  </a:lnTo>
                  <a:lnTo>
                    <a:pt x="828" y="815"/>
                  </a:lnTo>
                  <a:lnTo>
                    <a:pt x="830" y="807"/>
                  </a:lnTo>
                  <a:lnTo>
                    <a:pt x="832" y="807"/>
                  </a:lnTo>
                  <a:lnTo>
                    <a:pt x="838" y="801"/>
                  </a:lnTo>
                  <a:lnTo>
                    <a:pt x="839" y="797"/>
                  </a:lnTo>
                  <a:lnTo>
                    <a:pt x="838" y="786"/>
                  </a:lnTo>
                  <a:lnTo>
                    <a:pt x="844" y="775"/>
                  </a:lnTo>
                  <a:lnTo>
                    <a:pt x="843" y="769"/>
                  </a:lnTo>
                  <a:lnTo>
                    <a:pt x="840" y="764"/>
                  </a:lnTo>
                  <a:lnTo>
                    <a:pt x="844" y="765"/>
                  </a:lnTo>
                  <a:lnTo>
                    <a:pt x="847" y="772"/>
                  </a:lnTo>
                  <a:lnTo>
                    <a:pt x="849" y="770"/>
                  </a:lnTo>
                  <a:lnTo>
                    <a:pt x="849" y="774"/>
                  </a:lnTo>
                  <a:lnTo>
                    <a:pt x="850" y="774"/>
                  </a:lnTo>
                  <a:lnTo>
                    <a:pt x="850" y="777"/>
                  </a:lnTo>
                  <a:lnTo>
                    <a:pt x="853" y="775"/>
                  </a:lnTo>
                  <a:lnTo>
                    <a:pt x="855" y="777"/>
                  </a:lnTo>
                  <a:lnTo>
                    <a:pt x="863" y="779"/>
                  </a:lnTo>
                  <a:lnTo>
                    <a:pt x="863" y="777"/>
                  </a:lnTo>
                  <a:lnTo>
                    <a:pt x="863" y="772"/>
                  </a:lnTo>
                  <a:lnTo>
                    <a:pt x="868" y="773"/>
                  </a:lnTo>
                  <a:lnTo>
                    <a:pt x="868" y="772"/>
                  </a:lnTo>
                  <a:lnTo>
                    <a:pt x="863" y="767"/>
                  </a:lnTo>
                  <a:lnTo>
                    <a:pt x="863" y="762"/>
                  </a:lnTo>
                  <a:lnTo>
                    <a:pt x="860" y="761"/>
                  </a:lnTo>
                  <a:lnTo>
                    <a:pt x="856" y="757"/>
                  </a:lnTo>
                  <a:lnTo>
                    <a:pt x="854" y="752"/>
                  </a:lnTo>
                  <a:lnTo>
                    <a:pt x="852" y="751"/>
                  </a:lnTo>
                  <a:lnTo>
                    <a:pt x="842" y="750"/>
                  </a:lnTo>
                  <a:lnTo>
                    <a:pt x="841" y="748"/>
                  </a:lnTo>
                  <a:lnTo>
                    <a:pt x="824" y="745"/>
                  </a:lnTo>
                  <a:lnTo>
                    <a:pt x="820" y="746"/>
                  </a:lnTo>
                  <a:lnTo>
                    <a:pt x="810" y="742"/>
                  </a:lnTo>
                  <a:lnTo>
                    <a:pt x="805" y="743"/>
                  </a:lnTo>
                  <a:lnTo>
                    <a:pt x="802" y="737"/>
                  </a:lnTo>
                  <a:lnTo>
                    <a:pt x="802" y="739"/>
                  </a:lnTo>
                  <a:lnTo>
                    <a:pt x="799" y="739"/>
                  </a:lnTo>
                  <a:lnTo>
                    <a:pt x="800" y="735"/>
                  </a:lnTo>
                  <a:lnTo>
                    <a:pt x="799" y="734"/>
                  </a:lnTo>
                  <a:lnTo>
                    <a:pt x="800" y="731"/>
                  </a:lnTo>
                  <a:lnTo>
                    <a:pt x="797" y="729"/>
                  </a:lnTo>
                  <a:lnTo>
                    <a:pt x="796" y="726"/>
                  </a:lnTo>
                  <a:lnTo>
                    <a:pt x="797" y="722"/>
                  </a:lnTo>
                  <a:lnTo>
                    <a:pt x="793" y="715"/>
                  </a:lnTo>
                  <a:lnTo>
                    <a:pt x="794" y="708"/>
                  </a:lnTo>
                  <a:lnTo>
                    <a:pt x="782" y="709"/>
                  </a:lnTo>
                  <a:lnTo>
                    <a:pt x="779" y="707"/>
                  </a:lnTo>
                  <a:lnTo>
                    <a:pt x="773" y="693"/>
                  </a:lnTo>
                  <a:lnTo>
                    <a:pt x="763" y="691"/>
                  </a:lnTo>
                  <a:lnTo>
                    <a:pt x="763" y="702"/>
                  </a:lnTo>
                  <a:lnTo>
                    <a:pt x="759" y="690"/>
                  </a:lnTo>
                  <a:lnTo>
                    <a:pt x="750" y="687"/>
                  </a:lnTo>
                  <a:lnTo>
                    <a:pt x="748" y="688"/>
                  </a:lnTo>
                  <a:lnTo>
                    <a:pt x="748" y="694"/>
                  </a:lnTo>
                  <a:lnTo>
                    <a:pt x="744" y="698"/>
                  </a:lnTo>
                  <a:lnTo>
                    <a:pt x="743" y="697"/>
                  </a:lnTo>
                  <a:lnTo>
                    <a:pt x="744" y="690"/>
                  </a:lnTo>
                  <a:lnTo>
                    <a:pt x="740" y="700"/>
                  </a:lnTo>
                  <a:lnTo>
                    <a:pt x="738" y="701"/>
                  </a:lnTo>
                  <a:lnTo>
                    <a:pt x="738" y="696"/>
                  </a:lnTo>
                  <a:lnTo>
                    <a:pt x="732" y="706"/>
                  </a:lnTo>
                  <a:lnTo>
                    <a:pt x="726" y="709"/>
                  </a:lnTo>
                  <a:lnTo>
                    <a:pt x="710" y="705"/>
                  </a:lnTo>
                  <a:lnTo>
                    <a:pt x="702" y="707"/>
                  </a:lnTo>
                  <a:lnTo>
                    <a:pt x="683" y="695"/>
                  </a:lnTo>
                  <a:lnTo>
                    <a:pt x="671" y="696"/>
                  </a:lnTo>
                  <a:lnTo>
                    <a:pt x="664" y="693"/>
                  </a:lnTo>
                  <a:lnTo>
                    <a:pt x="658" y="693"/>
                  </a:lnTo>
                  <a:lnTo>
                    <a:pt x="652" y="679"/>
                  </a:lnTo>
                  <a:lnTo>
                    <a:pt x="649" y="678"/>
                  </a:lnTo>
                  <a:lnTo>
                    <a:pt x="649" y="687"/>
                  </a:lnTo>
                  <a:lnTo>
                    <a:pt x="619" y="687"/>
                  </a:lnTo>
                  <a:lnTo>
                    <a:pt x="601" y="687"/>
                  </a:lnTo>
                  <a:lnTo>
                    <a:pt x="580" y="687"/>
                  </a:lnTo>
                  <a:lnTo>
                    <a:pt x="561" y="687"/>
                  </a:lnTo>
                  <a:lnTo>
                    <a:pt x="542" y="687"/>
                  </a:lnTo>
                  <a:lnTo>
                    <a:pt x="523" y="687"/>
                  </a:lnTo>
                  <a:lnTo>
                    <a:pt x="507" y="687"/>
                  </a:lnTo>
                  <a:lnTo>
                    <a:pt x="482" y="687"/>
                  </a:lnTo>
                  <a:lnTo>
                    <a:pt x="459" y="687"/>
                  </a:lnTo>
                  <a:lnTo>
                    <a:pt x="438" y="687"/>
                  </a:lnTo>
                  <a:lnTo>
                    <a:pt x="421" y="687"/>
                  </a:lnTo>
                  <a:lnTo>
                    <a:pt x="399" y="687"/>
                  </a:lnTo>
                  <a:lnTo>
                    <a:pt x="381" y="687"/>
                  </a:lnTo>
                  <a:lnTo>
                    <a:pt x="367" y="687"/>
                  </a:lnTo>
                  <a:lnTo>
                    <a:pt x="353" y="687"/>
                  </a:lnTo>
                  <a:lnTo>
                    <a:pt x="339" y="687"/>
                  </a:lnTo>
                  <a:lnTo>
                    <a:pt x="323" y="687"/>
                  </a:lnTo>
                  <a:lnTo>
                    <a:pt x="303" y="687"/>
                  </a:lnTo>
                  <a:lnTo>
                    <a:pt x="285" y="687"/>
                  </a:lnTo>
                  <a:lnTo>
                    <a:pt x="275" y="687"/>
                  </a:lnTo>
                  <a:lnTo>
                    <a:pt x="259" y="687"/>
                  </a:lnTo>
                  <a:lnTo>
                    <a:pt x="255" y="685"/>
                  </a:lnTo>
                  <a:lnTo>
                    <a:pt x="255" y="684"/>
                  </a:lnTo>
                  <a:lnTo>
                    <a:pt x="261" y="683"/>
                  </a:lnTo>
                  <a:lnTo>
                    <a:pt x="261" y="681"/>
                  </a:lnTo>
                  <a:lnTo>
                    <a:pt x="254" y="681"/>
                  </a:lnTo>
                  <a:lnTo>
                    <a:pt x="254" y="671"/>
                  </a:lnTo>
                  <a:lnTo>
                    <a:pt x="252" y="671"/>
                  </a:lnTo>
                  <a:lnTo>
                    <a:pt x="248" y="677"/>
                  </a:lnTo>
                  <a:lnTo>
                    <a:pt x="246" y="676"/>
                  </a:lnTo>
                  <a:lnTo>
                    <a:pt x="246" y="671"/>
                  </a:lnTo>
                  <a:lnTo>
                    <a:pt x="245" y="671"/>
                  </a:lnTo>
                  <a:lnTo>
                    <a:pt x="242" y="664"/>
                  </a:lnTo>
                  <a:lnTo>
                    <a:pt x="242" y="668"/>
                  </a:lnTo>
                  <a:lnTo>
                    <a:pt x="240" y="665"/>
                  </a:lnTo>
                  <a:lnTo>
                    <a:pt x="239" y="669"/>
                  </a:lnTo>
                  <a:lnTo>
                    <a:pt x="235" y="669"/>
                  </a:lnTo>
                  <a:lnTo>
                    <a:pt x="231" y="664"/>
                  </a:lnTo>
                  <a:lnTo>
                    <a:pt x="230" y="663"/>
                  </a:lnTo>
                  <a:lnTo>
                    <a:pt x="233" y="660"/>
                  </a:lnTo>
                  <a:lnTo>
                    <a:pt x="232" y="655"/>
                  </a:lnTo>
                  <a:lnTo>
                    <a:pt x="228" y="656"/>
                  </a:lnTo>
                  <a:lnTo>
                    <a:pt x="227" y="653"/>
                  </a:lnTo>
                  <a:lnTo>
                    <a:pt x="223" y="654"/>
                  </a:lnTo>
                  <a:lnTo>
                    <a:pt x="218" y="653"/>
                  </a:lnTo>
                  <a:lnTo>
                    <a:pt x="216" y="654"/>
                  </a:lnTo>
                  <a:lnTo>
                    <a:pt x="208" y="653"/>
                  </a:lnTo>
                  <a:lnTo>
                    <a:pt x="207" y="652"/>
                  </a:lnTo>
                  <a:lnTo>
                    <a:pt x="214" y="649"/>
                  </a:lnTo>
                  <a:lnTo>
                    <a:pt x="211" y="649"/>
                  </a:lnTo>
                  <a:lnTo>
                    <a:pt x="211" y="647"/>
                  </a:lnTo>
                  <a:lnTo>
                    <a:pt x="207" y="645"/>
                  </a:lnTo>
                  <a:lnTo>
                    <a:pt x="210" y="644"/>
                  </a:lnTo>
                  <a:lnTo>
                    <a:pt x="209" y="643"/>
                  </a:lnTo>
                  <a:lnTo>
                    <a:pt x="205" y="642"/>
                  </a:lnTo>
                  <a:lnTo>
                    <a:pt x="204" y="644"/>
                  </a:lnTo>
                  <a:lnTo>
                    <a:pt x="198" y="643"/>
                  </a:lnTo>
                  <a:lnTo>
                    <a:pt x="199" y="645"/>
                  </a:lnTo>
                  <a:lnTo>
                    <a:pt x="197" y="645"/>
                  </a:lnTo>
                  <a:lnTo>
                    <a:pt x="189" y="640"/>
                  </a:lnTo>
                  <a:lnTo>
                    <a:pt x="189" y="637"/>
                  </a:lnTo>
                  <a:lnTo>
                    <a:pt x="193" y="636"/>
                  </a:lnTo>
                  <a:lnTo>
                    <a:pt x="189" y="634"/>
                  </a:lnTo>
                  <a:lnTo>
                    <a:pt x="189" y="633"/>
                  </a:lnTo>
                  <a:lnTo>
                    <a:pt x="195" y="632"/>
                  </a:lnTo>
                  <a:lnTo>
                    <a:pt x="192" y="630"/>
                  </a:lnTo>
                  <a:lnTo>
                    <a:pt x="194" y="628"/>
                  </a:lnTo>
                  <a:lnTo>
                    <a:pt x="192" y="625"/>
                  </a:lnTo>
                  <a:lnTo>
                    <a:pt x="189" y="629"/>
                  </a:lnTo>
                  <a:lnTo>
                    <a:pt x="188" y="629"/>
                  </a:lnTo>
                  <a:lnTo>
                    <a:pt x="188" y="620"/>
                  </a:lnTo>
                  <a:lnTo>
                    <a:pt x="186" y="619"/>
                  </a:lnTo>
                  <a:lnTo>
                    <a:pt x="187" y="615"/>
                  </a:lnTo>
                  <a:lnTo>
                    <a:pt x="185" y="610"/>
                  </a:lnTo>
                  <a:lnTo>
                    <a:pt x="181" y="612"/>
                  </a:lnTo>
                  <a:lnTo>
                    <a:pt x="181" y="607"/>
                  </a:lnTo>
                  <a:lnTo>
                    <a:pt x="174" y="608"/>
                  </a:lnTo>
                  <a:lnTo>
                    <a:pt x="173" y="603"/>
                  </a:lnTo>
                  <a:lnTo>
                    <a:pt x="168" y="597"/>
                  </a:lnTo>
                  <a:lnTo>
                    <a:pt x="170" y="592"/>
                  </a:lnTo>
                  <a:lnTo>
                    <a:pt x="170" y="586"/>
                  </a:lnTo>
                  <a:lnTo>
                    <a:pt x="166" y="587"/>
                  </a:lnTo>
                  <a:lnTo>
                    <a:pt x="155" y="574"/>
                  </a:lnTo>
                  <a:lnTo>
                    <a:pt x="155" y="571"/>
                  </a:lnTo>
                  <a:lnTo>
                    <a:pt x="157" y="570"/>
                  </a:lnTo>
                  <a:lnTo>
                    <a:pt x="157" y="568"/>
                  </a:lnTo>
                  <a:lnTo>
                    <a:pt x="153" y="567"/>
                  </a:lnTo>
                  <a:lnTo>
                    <a:pt x="150" y="563"/>
                  </a:lnTo>
                  <a:lnTo>
                    <a:pt x="150" y="559"/>
                  </a:lnTo>
                  <a:lnTo>
                    <a:pt x="152" y="557"/>
                  </a:lnTo>
                  <a:lnTo>
                    <a:pt x="155" y="557"/>
                  </a:lnTo>
                  <a:lnTo>
                    <a:pt x="155" y="554"/>
                  </a:lnTo>
                  <a:lnTo>
                    <a:pt x="156" y="550"/>
                  </a:lnTo>
                  <a:lnTo>
                    <a:pt x="155" y="547"/>
                  </a:lnTo>
                  <a:lnTo>
                    <a:pt x="156" y="544"/>
                  </a:lnTo>
                  <a:lnTo>
                    <a:pt x="155" y="547"/>
                  </a:lnTo>
                  <a:lnTo>
                    <a:pt x="153" y="547"/>
                  </a:lnTo>
                  <a:lnTo>
                    <a:pt x="149" y="552"/>
                  </a:lnTo>
                  <a:lnTo>
                    <a:pt x="146" y="553"/>
                  </a:lnTo>
                  <a:lnTo>
                    <a:pt x="145" y="552"/>
                  </a:lnTo>
                  <a:lnTo>
                    <a:pt x="143" y="554"/>
                  </a:lnTo>
                  <a:lnTo>
                    <a:pt x="143" y="548"/>
                  </a:lnTo>
                  <a:lnTo>
                    <a:pt x="148" y="546"/>
                  </a:lnTo>
                  <a:lnTo>
                    <a:pt x="147" y="540"/>
                  </a:lnTo>
                  <a:lnTo>
                    <a:pt x="144" y="540"/>
                  </a:lnTo>
                  <a:lnTo>
                    <a:pt x="143" y="531"/>
                  </a:lnTo>
                  <a:lnTo>
                    <a:pt x="140" y="525"/>
                  </a:lnTo>
                  <a:lnTo>
                    <a:pt x="140" y="520"/>
                  </a:lnTo>
                  <a:lnTo>
                    <a:pt x="135" y="525"/>
                  </a:lnTo>
                  <a:lnTo>
                    <a:pt x="131" y="526"/>
                  </a:lnTo>
                  <a:lnTo>
                    <a:pt x="130" y="532"/>
                  </a:lnTo>
                  <a:lnTo>
                    <a:pt x="127" y="536"/>
                  </a:lnTo>
                  <a:lnTo>
                    <a:pt x="126" y="535"/>
                  </a:lnTo>
                  <a:lnTo>
                    <a:pt x="124" y="531"/>
                  </a:lnTo>
                  <a:lnTo>
                    <a:pt x="127" y="528"/>
                  </a:lnTo>
                  <a:lnTo>
                    <a:pt x="128" y="520"/>
                  </a:lnTo>
                  <a:lnTo>
                    <a:pt x="134" y="518"/>
                  </a:lnTo>
                  <a:lnTo>
                    <a:pt x="125" y="514"/>
                  </a:lnTo>
                  <a:lnTo>
                    <a:pt x="124" y="506"/>
                  </a:lnTo>
                  <a:lnTo>
                    <a:pt x="116" y="501"/>
                  </a:lnTo>
                  <a:lnTo>
                    <a:pt x="113" y="497"/>
                  </a:lnTo>
                  <a:lnTo>
                    <a:pt x="117" y="500"/>
                  </a:lnTo>
                  <a:lnTo>
                    <a:pt x="116" y="495"/>
                  </a:lnTo>
                  <a:lnTo>
                    <a:pt x="113" y="496"/>
                  </a:lnTo>
                  <a:lnTo>
                    <a:pt x="107" y="493"/>
                  </a:lnTo>
                  <a:lnTo>
                    <a:pt x="107" y="491"/>
                  </a:lnTo>
                  <a:lnTo>
                    <a:pt x="112" y="489"/>
                  </a:lnTo>
                  <a:lnTo>
                    <a:pt x="108" y="488"/>
                  </a:lnTo>
                  <a:lnTo>
                    <a:pt x="107" y="484"/>
                  </a:lnTo>
                  <a:lnTo>
                    <a:pt x="105" y="483"/>
                  </a:lnTo>
                  <a:lnTo>
                    <a:pt x="105" y="480"/>
                  </a:lnTo>
                  <a:lnTo>
                    <a:pt x="113" y="486"/>
                  </a:lnTo>
                  <a:lnTo>
                    <a:pt x="106" y="476"/>
                  </a:lnTo>
                  <a:lnTo>
                    <a:pt x="104" y="474"/>
                  </a:lnTo>
                  <a:lnTo>
                    <a:pt x="103" y="477"/>
                  </a:lnTo>
                  <a:lnTo>
                    <a:pt x="102" y="472"/>
                  </a:lnTo>
                  <a:lnTo>
                    <a:pt x="103" y="471"/>
                  </a:lnTo>
                  <a:lnTo>
                    <a:pt x="105" y="466"/>
                  </a:lnTo>
                  <a:lnTo>
                    <a:pt x="100" y="471"/>
                  </a:lnTo>
                  <a:lnTo>
                    <a:pt x="97" y="465"/>
                  </a:lnTo>
                  <a:lnTo>
                    <a:pt x="88" y="461"/>
                  </a:lnTo>
                  <a:lnTo>
                    <a:pt x="78" y="434"/>
                  </a:lnTo>
                  <a:lnTo>
                    <a:pt x="77" y="436"/>
                  </a:lnTo>
                  <a:lnTo>
                    <a:pt x="78" y="441"/>
                  </a:lnTo>
                  <a:lnTo>
                    <a:pt x="77" y="439"/>
                  </a:lnTo>
                  <a:lnTo>
                    <a:pt x="83" y="460"/>
                  </a:lnTo>
                  <a:lnTo>
                    <a:pt x="82" y="465"/>
                  </a:lnTo>
                  <a:lnTo>
                    <a:pt x="79" y="466"/>
                  </a:lnTo>
                  <a:lnTo>
                    <a:pt x="77" y="459"/>
                  </a:lnTo>
                  <a:lnTo>
                    <a:pt x="77" y="461"/>
                  </a:lnTo>
                  <a:lnTo>
                    <a:pt x="72" y="461"/>
                  </a:lnTo>
                  <a:lnTo>
                    <a:pt x="73" y="456"/>
                  </a:lnTo>
                  <a:lnTo>
                    <a:pt x="69" y="447"/>
                  </a:lnTo>
                  <a:lnTo>
                    <a:pt x="66" y="451"/>
                  </a:lnTo>
                  <a:lnTo>
                    <a:pt x="62" y="446"/>
                  </a:lnTo>
                  <a:lnTo>
                    <a:pt x="61" y="448"/>
                  </a:lnTo>
                  <a:lnTo>
                    <a:pt x="57" y="444"/>
                  </a:lnTo>
                  <a:lnTo>
                    <a:pt x="58" y="446"/>
                  </a:lnTo>
                  <a:lnTo>
                    <a:pt x="56" y="448"/>
                  </a:lnTo>
                  <a:lnTo>
                    <a:pt x="61" y="449"/>
                  </a:lnTo>
                  <a:lnTo>
                    <a:pt x="69" y="458"/>
                  </a:lnTo>
                  <a:lnTo>
                    <a:pt x="69" y="462"/>
                  </a:lnTo>
                  <a:lnTo>
                    <a:pt x="63" y="461"/>
                  </a:lnTo>
                  <a:lnTo>
                    <a:pt x="64" y="464"/>
                  </a:lnTo>
                  <a:lnTo>
                    <a:pt x="61" y="465"/>
                  </a:lnTo>
                  <a:lnTo>
                    <a:pt x="47" y="456"/>
                  </a:lnTo>
                  <a:lnTo>
                    <a:pt x="49" y="453"/>
                  </a:lnTo>
                  <a:lnTo>
                    <a:pt x="46" y="454"/>
                  </a:lnTo>
                  <a:lnTo>
                    <a:pt x="39" y="445"/>
                  </a:lnTo>
                  <a:lnTo>
                    <a:pt x="40" y="436"/>
                  </a:lnTo>
                  <a:lnTo>
                    <a:pt x="41" y="435"/>
                  </a:lnTo>
                  <a:lnTo>
                    <a:pt x="45" y="430"/>
                  </a:lnTo>
                  <a:lnTo>
                    <a:pt x="41" y="427"/>
                  </a:lnTo>
                  <a:lnTo>
                    <a:pt x="44" y="430"/>
                  </a:lnTo>
                  <a:lnTo>
                    <a:pt x="40" y="433"/>
                  </a:lnTo>
                  <a:lnTo>
                    <a:pt x="27" y="417"/>
                  </a:lnTo>
                  <a:lnTo>
                    <a:pt x="25" y="416"/>
                  </a:lnTo>
                  <a:lnTo>
                    <a:pt x="26" y="409"/>
                  </a:lnTo>
                  <a:lnTo>
                    <a:pt x="18" y="409"/>
                  </a:lnTo>
                  <a:lnTo>
                    <a:pt x="15" y="413"/>
                  </a:lnTo>
                  <a:lnTo>
                    <a:pt x="9" y="409"/>
                  </a:lnTo>
                  <a:lnTo>
                    <a:pt x="5" y="412"/>
                  </a:lnTo>
                  <a:lnTo>
                    <a:pt x="0" y="409"/>
                  </a:lnTo>
                  <a:lnTo>
                    <a:pt x="0" y="392"/>
                  </a:lnTo>
                  <a:lnTo>
                    <a:pt x="0" y="375"/>
                  </a:lnTo>
                  <a:lnTo>
                    <a:pt x="0" y="357"/>
                  </a:lnTo>
                  <a:lnTo>
                    <a:pt x="0" y="339"/>
                  </a:lnTo>
                  <a:lnTo>
                    <a:pt x="0" y="321"/>
                  </a:lnTo>
                  <a:lnTo>
                    <a:pt x="0" y="302"/>
                  </a:lnTo>
                  <a:lnTo>
                    <a:pt x="0" y="283"/>
                  </a:lnTo>
                  <a:lnTo>
                    <a:pt x="0" y="264"/>
                  </a:lnTo>
                  <a:lnTo>
                    <a:pt x="0" y="244"/>
                  </a:lnTo>
                  <a:lnTo>
                    <a:pt x="0" y="224"/>
                  </a:lnTo>
                  <a:lnTo>
                    <a:pt x="0" y="203"/>
                  </a:lnTo>
                  <a:lnTo>
                    <a:pt x="0" y="181"/>
                  </a:lnTo>
                  <a:lnTo>
                    <a:pt x="0" y="159"/>
                  </a:lnTo>
                  <a:lnTo>
                    <a:pt x="0" y="137"/>
                  </a:lnTo>
                  <a:lnTo>
                    <a:pt x="0" y="114"/>
                  </a:lnTo>
                  <a:lnTo>
                    <a:pt x="0" y="90"/>
                  </a:lnTo>
                  <a:lnTo>
                    <a:pt x="24" y="96"/>
                  </a:lnTo>
                  <a:lnTo>
                    <a:pt x="34" y="109"/>
                  </a:lnTo>
                  <a:lnTo>
                    <a:pt x="38" y="109"/>
                  </a:lnTo>
                  <a:lnTo>
                    <a:pt x="50" y="121"/>
                  </a:lnTo>
                  <a:lnTo>
                    <a:pt x="66" y="122"/>
                  </a:lnTo>
                  <a:lnTo>
                    <a:pt x="64" y="124"/>
                  </a:lnTo>
                  <a:lnTo>
                    <a:pt x="71" y="124"/>
                  </a:lnTo>
                  <a:lnTo>
                    <a:pt x="80" y="132"/>
                  </a:lnTo>
                  <a:lnTo>
                    <a:pt x="83" y="132"/>
                  </a:lnTo>
                  <a:lnTo>
                    <a:pt x="78" y="123"/>
                  </a:lnTo>
                  <a:lnTo>
                    <a:pt x="88" y="124"/>
                  </a:lnTo>
                  <a:lnTo>
                    <a:pt x="97" y="136"/>
                  </a:lnTo>
                  <a:lnTo>
                    <a:pt x="98" y="134"/>
                  </a:lnTo>
                  <a:lnTo>
                    <a:pt x="97" y="129"/>
                  </a:lnTo>
                  <a:lnTo>
                    <a:pt x="90" y="116"/>
                  </a:lnTo>
                  <a:lnTo>
                    <a:pt x="101" y="106"/>
                  </a:lnTo>
                  <a:lnTo>
                    <a:pt x="112" y="102"/>
                  </a:lnTo>
                  <a:lnTo>
                    <a:pt x="114" y="100"/>
                  </a:lnTo>
                  <a:lnTo>
                    <a:pt x="114" y="95"/>
                  </a:lnTo>
                  <a:lnTo>
                    <a:pt x="120" y="89"/>
                  </a:lnTo>
                  <a:lnTo>
                    <a:pt x="125" y="91"/>
                  </a:lnTo>
                  <a:lnTo>
                    <a:pt x="135" y="81"/>
                  </a:lnTo>
                  <a:lnTo>
                    <a:pt x="140" y="82"/>
                  </a:lnTo>
                  <a:lnTo>
                    <a:pt x="143" y="75"/>
                  </a:lnTo>
                  <a:lnTo>
                    <a:pt x="148" y="72"/>
                  </a:lnTo>
                  <a:lnTo>
                    <a:pt x="155" y="76"/>
                  </a:lnTo>
                  <a:lnTo>
                    <a:pt x="161" y="69"/>
                  </a:lnTo>
                  <a:lnTo>
                    <a:pt x="163" y="76"/>
                  </a:lnTo>
                  <a:lnTo>
                    <a:pt x="161" y="80"/>
                  </a:lnTo>
                  <a:lnTo>
                    <a:pt x="142" y="97"/>
                  </a:lnTo>
                  <a:lnTo>
                    <a:pt x="129" y="99"/>
                  </a:lnTo>
                  <a:lnTo>
                    <a:pt x="119" y="113"/>
                  </a:lnTo>
                  <a:lnTo>
                    <a:pt x="117" y="110"/>
                  </a:lnTo>
                  <a:lnTo>
                    <a:pt x="114" y="115"/>
                  </a:lnTo>
                  <a:lnTo>
                    <a:pt x="114" y="117"/>
                  </a:lnTo>
                  <a:lnTo>
                    <a:pt x="116" y="116"/>
                  </a:lnTo>
                  <a:lnTo>
                    <a:pt x="125" y="112"/>
                  </a:lnTo>
                  <a:lnTo>
                    <a:pt x="130" y="106"/>
                  </a:lnTo>
                  <a:lnTo>
                    <a:pt x="130" y="103"/>
                  </a:lnTo>
                  <a:lnTo>
                    <a:pt x="134" y="102"/>
                  </a:lnTo>
                  <a:lnTo>
                    <a:pt x="134" y="106"/>
                  </a:lnTo>
                  <a:lnTo>
                    <a:pt x="135" y="102"/>
                  </a:lnTo>
                  <a:lnTo>
                    <a:pt x="136" y="105"/>
                  </a:lnTo>
                  <a:lnTo>
                    <a:pt x="141" y="100"/>
                  </a:lnTo>
                  <a:lnTo>
                    <a:pt x="142" y="101"/>
                  </a:lnTo>
                  <a:lnTo>
                    <a:pt x="141" y="111"/>
                  </a:lnTo>
                  <a:lnTo>
                    <a:pt x="151" y="92"/>
                  </a:lnTo>
                  <a:lnTo>
                    <a:pt x="171" y="80"/>
                  </a:lnTo>
                  <a:lnTo>
                    <a:pt x="171" y="85"/>
                  </a:lnTo>
                  <a:lnTo>
                    <a:pt x="168" y="91"/>
                  </a:lnTo>
                  <a:lnTo>
                    <a:pt x="179" y="81"/>
                  </a:lnTo>
                  <a:lnTo>
                    <a:pt x="180" y="74"/>
                  </a:lnTo>
                  <a:lnTo>
                    <a:pt x="189" y="69"/>
                  </a:lnTo>
                  <a:lnTo>
                    <a:pt x="183" y="66"/>
                  </a:lnTo>
                  <a:lnTo>
                    <a:pt x="181" y="62"/>
                  </a:lnTo>
                  <a:lnTo>
                    <a:pt x="183" y="56"/>
                  </a:lnTo>
                  <a:lnTo>
                    <a:pt x="194" y="66"/>
                  </a:lnTo>
                  <a:lnTo>
                    <a:pt x="204" y="94"/>
                  </a:lnTo>
                  <a:lnTo>
                    <a:pt x="215" y="105"/>
                  </a:lnTo>
                  <a:lnTo>
                    <a:pt x="217" y="102"/>
                  </a:lnTo>
                  <a:lnTo>
                    <a:pt x="224" y="98"/>
                  </a:lnTo>
                  <a:lnTo>
                    <a:pt x="220" y="94"/>
                  </a:lnTo>
                  <a:lnTo>
                    <a:pt x="225" y="91"/>
                  </a:lnTo>
                  <a:lnTo>
                    <a:pt x="224" y="88"/>
                  </a:lnTo>
                  <a:lnTo>
                    <a:pt x="225" y="82"/>
                  </a:lnTo>
                  <a:lnTo>
                    <a:pt x="224" y="79"/>
                  </a:lnTo>
                  <a:lnTo>
                    <a:pt x="229" y="77"/>
                  </a:lnTo>
                  <a:lnTo>
                    <a:pt x="231" y="80"/>
                  </a:lnTo>
                  <a:lnTo>
                    <a:pt x="234" y="78"/>
                  </a:lnTo>
                  <a:lnTo>
                    <a:pt x="231" y="74"/>
                  </a:lnTo>
                  <a:lnTo>
                    <a:pt x="235" y="74"/>
                  </a:lnTo>
                  <a:lnTo>
                    <a:pt x="235" y="77"/>
                  </a:lnTo>
                  <a:lnTo>
                    <a:pt x="234" y="90"/>
                  </a:lnTo>
                  <a:lnTo>
                    <a:pt x="240" y="91"/>
                  </a:lnTo>
                  <a:lnTo>
                    <a:pt x="234" y="101"/>
                  </a:lnTo>
                  <a:lnTo>
                    <a:pt x="234" y="105"/>
                  </a:lnTo>
                  <a:lnTo>
                    <a:pt x="243" y="105"/>
                  </a:lnTo>
                  <a:lnTo>
                    <a:pt x="249" y="103"/>
                  </a:lnTo>
                  <a:lnTo>
                    <a:pt x="252" y="99"/>
                  </a:lnTo>
                  <a:lnTo>
                    <a:pt x="254" y="87"/>
                  </a:lnTo>
                  <a:lnTo>
                    <a:pt x="272" y="87"/>
                  </a:lnTo>
                  <a:lnTo>
                    <a:pt x="286" y="95"/>
                  </a:lnTo>
                  <a:lnTo>
                    <a:pt x="291" y="101"/>
                  </a:lnTo>
                  <a:lnTo>
                    <a:pt x="316" y="110"/>
                  </a:lnTo>
                  <a:lnTo>
                    <a:pt x="331" y="121"/>
                  </a:lnTo>
                  <a:lnTo>
                    <a:pt x="351" y="123"/>
                  </a:lnTo>
                  <a:lnTo>
                    <a:pt x="354" y="126"/>
                  </a:lnTo>
                  <a:lnTo>
                    <a:pt x="355" y="124"/>
                  </a:lnTo>
                  <a:lnTo>
                    <a:pt x="350" y="120"/>
                  </a:lnTo>
                  <a:lnTo>
                    <a:pt x="365" y="121"/>
                  </a:lnTo>
                  <a:lnTo>
                    <a:pt x="368" y="126"/>
                  </a:lnTo>
                  <a:lnTo>
                    <a:pt x="370" y="125"/>
                  </a:lnTo>
                  <a:lnTo>
                    <a:pt x="380" y="136"/>
                  </a:lnTo>
                  <a:lnTo>
                    <a:pt x="380" y="142"/>
                  </a:lnTo>
                  <a:lnTo>
                    <a:pt x="382" y="139"/>
                  </a:lnTo>
                  <a:lnTo>
                    <a:pt x="382" y="146"/>
                  </a:lnTo>
                  <a:lnTo>
                    <a:pt x="368" y="146"/>
                  </a:lnTo>
                  <a:lnTo>
                    <a:pt x="364" y="149"/>
                  </a:lnTo>
                  <a:lnTo>
                    <a:pt x="364" y="156"/>
                  </a:lnTo>
                  <a:lnTo>
                    <a:pt x="360" y="159"/>
                  </a:lnTo>
                  <a:lnTo>
                    <a:pt x="367" y="163"/>
                  </a:lnTo>
                  <a:lnTo>
                    <a:pt x="372" y="166"/>
                  </a:lnTo>
                  <a:lnTo>
                    <a:pt x="413" y="167"/>
                  </a:lnTo>
                  <a:lnTo>
                    <a:pt x="413" y="165"/>
                  </a:lnTo>
                  <a:lnTo>
                    <a:pt x="419" y="166"/>
                  </a:lnTo>
                  <a:lnTo>
                    <a:pt x="420" y="162"/>
                  </a:lnTo>
                  <a:lnTo>
                    <a:pt x="424" y="161"/>
                  </a:lnTo>
                  <a:lnTo>
                    <a:pt x="423" y="166"/>
                  </a:lnTo>
                  <a:lnTo>
                    <a:pt x="425" y="166"/>
                  </a:lnTo>
                  <a:lnTo>
                    <a:pt x="438" y="155"/>
                  </a:lnTo>
                  <a:lnTo>
                    <a:pt x="440" y="159"/>
                  </a:lnTo>
                  <a:lnTo>
                    <a:pt x="439" y="161"/>
                  </a:lnTo>
                  <a:lnTo>
                    <a:pt x="442" y="160"/>
                  </a:lnTo>
                  <a:lnTo>
                    <a:pt x="443" y="164"/>
                  </a:lnTo>
                  <a:lnTo>
                    <a:pt x="442" y="166"/>
                  </a:lnTo>
                  <a:lnTo>
                    <a:pt x="454" y="166"/>
                  </a:lnTo>
                  <a:lnTo>
                    <a:pt x="453" y="171"/>
                  </a:lnTo>
                  <a:lnTo>
                    <a:pt x="455" y="173"/>
                  </a:lnTo>
                  <a:lnTo>
                    <a:pt x="454" y="176"/>
                  </a:lnTo>
                  <a:lnTo>
                    <a:pt x="455" y="178"/>
                  </a:lnTo>
                  <a:lnTo>
                    <a:pt x="457" y="170"/>
                  </a:lnTo>
                  <a:lnTo>
                    <a:pt x="459" y="173"/>
                  </a:lnTo>
                  <a:lnTo>
                    <a:pt x="458" y="178"/>
                  </a:lnTo>
                  <a:lnTo>
                    <a:pt x="462" y="177"/>
                  </a:lnTo>
                  <a:lnTo>
                    <a:pt x="464" y="182"/>
                  </a:lnTo>
                  <a:lnTo>
                    <a:pt x="466" y="182"/>
                  </a:lnTo>
                  <a:lnTo>
                    <a:pt x="469" y="189"/>
                  </a:lnTo>
                  <a:lnTo>
                    <a:pt x="461" y="191"/>
                  </a:lnTo>
                  <a:lnTo>
                    <a:pt x="465" y="198"/>
                  </a:lnTo>
                  <a:lnTo>
                    <a:pt x="470" y="202"/>
                  </a:lnTo>
                  <a:lnTo>
                    <a:pt x="470" y="197"/>
                  </a:lnTo>
                  <a:lnTo>
                    <a:pt x="478" y="196"/>
                  </a:lnTo>
                  <a:lnTo>
                    <a:pt x="475" y="192"/>
                  </a:lnTo>
                  <a:lnTo>
                    <a:pt x="478" y="189"/>
                  </a:lnTo>
                  <a:lnTo>
                    <a:pt x="475" y="189"/>
                  </a:lnTo>
                  <a:lnTo>
                    <a:pt x="470" y="179"/>
                  </a:lnTo>
                  <a:lnTo>
                    <a:pt x="471" y="173"/>
                  </a:lnTo>
                  <a:lnTo>
                    <a:pt x="470" y="170"/>
                  </a:lnTo>
                  <a:lnTo>
                    <a:pt x="466" y="166"/>
                  </a:lnTo>
                  <a:lnTo>
                    <a:pt x="471" y="159"/>
                  </a:lnTo>
                  <a:lnTo>
                    <a:pt x="470" y="158"/>
                  </a:lnTo>
                  <a:lnTo>
                    <a:pt x="471" y="155"/>
                  </a:lnTo>
                  <a:lnTo>
                    <a:pt x="489" y="148"/>
                  </a:lnTo>
                  <a:lnTo>
                    <a:pt x="489" y="144"/>
                  </a:lnTo>
                  <a:lnTo>
                    <a:pt x="491" y="146"/>
                  </a:lnTo>
                  <a:lnTo>
                    <a:pt x="494" y="140"/>
                  </a:lnTo>
                  <a:lnTo>
                    <a:pt x="493" y="138"/>
                  </a:lnTo>
                  <a:lnTo>
                    <a:pt x="497" y="136"/>
                  </a:lnTo>
                  <a:lnTo>
                    <a:pt x="495" y="136"/>
                  </a:lnTo>
                  <a:lnTo>
                    <a:pt x="497" y="131"/>
                  </a:lnTo>
                  <a:lnTo>
                    <a:pt x="486" y="134"/>
                  </a:lnTo>
                  <a:lnTo>
                    <a:pt x="488" y="137"/>
                  </a:lnTo>
                  <a:lnTo>
                    <a:pt x="484" y="138"/>
                  </a:lnTo>
                  <a:lnTo>
                    <a:pt x="486" y="142"/>
                  </a:lnTo>
                  <a:lnTo>
                    <a:pt x="486" y="146"/>
                  </a:lnTo>
                  <a:lnTo>
                    <a:pt x="484" y="142"/>
                  </a:lnTo>
                  <a:lnTo>
                    <a:pt x="478" y="146"/>
                  </a:lnTo>
                  <a:lnTo>
                    <a:pt x="473" y="143"/>
                  </a:lnTo>
                  <a:lnTo>
                    <a:pt x="468" y="145"/>
                  </a:lnTo>
                  <a:lnTo>
                    <a:pt x="471" y="149"/>
                  </a:lnTo>
                  <a:lnTo>
                    <a:pt x="467" y="151"/>
                  </a:lnTo>
                  <a:lnTo>
                    <a:pt x="460" y="150"/>
                  </a:lnTo>
                  <a:lnTo>
                    <a:pt x="458" y="148"/>
                  </a:lnTo>
                  <a:lnTo>
                    <a:pt x="456" y="147"/>
                  </a:lnTo>
                  <a:lnTo>
                    <a:pt x="455" y="143"/>
                  </a:lnTo>
                  <a:lnTo>
                    <a:pt x="463" y="132"/>
                  </a:lnTo>
                  <a:lnTo>
                    <a:pt x="470" y="131"/>
                  </a:lnTo>
                  <a:lnTo>
                    <a:pt x="492" y="119"/>
                  </a:lnTo>
                  <a:lnTo>
                    <a:pt x="502" y="128"/>
                  </a:lnTo>
                  <a:lnTo>
                    <a:pt x="500" y="130"/>
                  </a:lnTo>
                  <a:lnTo>
                    <a:pt x="504" y="138"/>
                  </a:lnTo>
                  <a:lnTo>
                    <a:pt x="501" y="139"/>
                  </a:lnTo>
                  <a:lnTo>
                    <a:pt x="514" y="148"/>
                  </a:lnTo>
                  <a:lnTo>
                    <a:pt x="514" y="153"/>
                  </a:lnTo>
                  <a:lnTo>
                    <a:pt x="524" y="155"/>
                  </a:lnTo>
                  <a:lnTo>
                    <a:pt x="526" y="156"/>
                  </a:lnTo>
                  <a:lnTo>
                    <a:pt x="526" y="154"/>
                  </a:lnTo>
                  <a:lnTo>
                    <a:pt x="529" y="153"/>
                  </a:lnTo>
                  <a:lnTo>
                    <a:pt x="529" y="150"/>
                  </a:lnTo>
                  <a:lnTo>
                    <a:pt x="534" y="152"/>
                  </a:lnTo>
                  <a:lnTo>
                    <a:pt x="534" y="156"/>
                  </a:lnTo>
                  <a:lnTo>
                    <a:pt x="542" y="166"/>
                  </a:lnTo>
                  <a:lnTo>
                    <a:pt x="547" y="169"/>
                  </a:lnTo>
                  <a:lnTo>
                    <a:pt x="552" y="166"/>
                  </a:lnTo>
                  <a:lnTo>
                    <a:pt x="558" y="168"/>
                  </a:lnTo>
                  <a:lnTo>
                    <a:pt x="563" y="166"/>
                  </a:lnTo>
                  <a:lnTo>
                    <a:pt x="569" y="167"/>
                  </a:lnTo>
                  <a:lnTo>
                    <a:pt x="575" y="162"/>
                  </a:lnTo>
                  <a:lnTo>
                    <a:pt x="587" y="163"/>
                  </a:lnTo>
                  <a:lnTo>
                    <a:pt x="594" y="167"/>
                  </a:lnTo>
                  <a:lnTo>
                    <a:pt x="603" y="166"/>
                  </a:lnTo>
                  <a:lnTo>
                    <a:pt x="599" y="156"/>
                  </a:lnTo>
                  <a:lnTo>
                    <a:pt x="601" y="155"/>
                  </a:lnTo>
                  <a:lnTo>
                    <a:pt x="607" y="166"/>
                  </a:lnTo>
                  <a:lnTo>
                    <a:pt x="618" y="171"/>
                  </a:lnTo>
                  <a:lnTo>
                    <a:pt x="621" y="168"/>
                  </a:lnTo>
                  <a:lnTo>
                    <a:pt x="620" y="159"/>
                  </a:lnTo>
                  <a:lnTo>
                    <a:pt x="617" y="161"/>
                  </a:lnTo>
                  <a:lnTo>
                    <a:pt x="616" y="158"/>
                  </a:lnTo>
                  <a:lnTo>
                    <a:pt x="610" y="158"/>
                  </a:lnTo>
                  <a:lnTo>
                    <a:pt x="609" y="161"/>
                  </a:lnTo>
                  <a:lnTo>
                    <a:pt x="610" y="164"/>
                  </a:lnTo>
                  <a:lnTo>
                    <a:pt x="608" y="163"/>
                  </a:lnTo>
                  <a:lnTo>
                    <a:pt x="602" y="153"/>
                  </a:lnTo>
                  <a:lnTo>
                    <a:pt x="605" y="154"/>
                  </a:lnTo>
                  <a:lnTo>
                    <a:pt x="605" y="150"/>
                  </a:lnTo>
                  <a:lnTo>
                    <a:pt x="599" y="142"/>
                  </a:lnTo>
                  <a:lnTo>
                    <a:pt x="602" y="145"/>
                  </a:lnTo>
                  <a:lnTo>
                    <a:pt x="604" y="142"/>
                  </a:lnTo>
                  <a:lnTo>
                    <a:pt x="613" y="143"/>
                  </a:lnTo>
                  <a:lnTo>
                    <a:pt x="608" y="137"/>
                  </a:lnTo>
                  <a:lnTo>
                    <a:pt x="610" y="136"/>
                  </a:lnTo>
                  <a:lnTo>
                    <a:pt x="617" y="142"/>
                  </a:lnTo>
                  <a:lnTo>
                    <a:pt x="616" y="138"/>
                  </a:lnTo>
                  <a:lnTo>
                    <a:pt x="619" y="139"/>
                  </a:lnTo>
                  <a:lnTo>
                    <a:pt x="625" y="144"/>
                  </a:lnTo>
                  <a:lnTo>
                    <a:pt x="623" y="146"/>
                  </a:lnTo>
                  <a:lnTo>
                    <a:pt x="629" y="145"/>
                  </a:lnTo>
                  <a:lnTo>
                    <a:pt x="627" y="155"/>
                  </a:lnTo>
                  <a:lnTo>
                    <a:pt x="627" y="156"/>
                  </a:lnTo>
                  <a:lnTo>
                    <a:pt x="631" y="157"/>
                  </a:lnTo>
                  <a:lnTo>
                    <a:pt x="631" y="151"/>
                  </a:lnTo>
                  <a:lnTo>
                    <a:pt x="637" y="148"/>
                  </a:lnTo>
                  <a:lnTo>
                    <a:pt x="636" y="158"/>
                  </a:lnTo>
                  <a:lnTo>
                    <a:pt x="635" y="166"/>
                  </a:lnTo>
                  <a:lnTo>
                    <a:pt x="636" y="170"/>
                  </a:lnTo>
                  <a:lnTo>
                    <a:pt x="632" y="173"/>
                  </a:lnTo>
                  <a:lnTo>
                    <a:pt x="633" y="177"/>
                  </a:lnTo>
                  <a:lnTo>
                    <a:pt x="636" y="177"/>
                  </a:lnTo>
                  <a:lnTo>
                    <a:pt x="636" y="184"/>
                  </a:lnTo>
                  <a:lnTo>
                    <a:pt x="644" y="179"/>
                  </a:lnTo>
                  <a:lnTo>
                    <a:pt x="643" y="183"/>
                  </a:lnTo>
                  <a:lnTo>
                    <a:pt x="646" y="186"/>
                  </a:lnTo>
                  <a:lnTo>
                    <a:pt x="647" y="182"/>
                  </a:lnTo>
                  <a:lnTo>
                    <a:pt x="647" y="173"/>
                  </a:lnTo>
                  <a:lnTo>
                    <a:pt x="642" y="167"/>
                  </a:lnTo>
                  <a:lnTo>
                    <a:pt x="644" y="158"/>
                  </a:lnTo>
                  <a:lnTo>
                    <a:pt x="643" y="154"/>
                  </a:lnTo>
                  <a:lnTo>
                    <a:pt x="655" y="155"/>
                  </a:lnTo>
                  <a:lnTo>
                    <a:pt x="661" y="148"/>
                  </a:lnTo>
                  <a:lnTo>
                    <a:pt x="663" y="142"/>
                  </a:lnTo>
                  <a:lnTo>
                    <a:pt x="672" y="134"/>
                  </a:lnTo>
                  <a:lnTo>
                    <a:pt x="669" y="133"/>
                  </a:lnTo>
                  <a:lnTo>
                    <a:pt x="668" y="120"/>
                  </a:lnTo>
                  <a:lnTo>
                    <a:pt x="665" y="119"/>
                  </a:lnTo>
                  <a:lnTo>
                    <a:pt x="664" y="125"/>
                  </a:lnTo>
                  <a:lnTo>
                    <a:pt x="666" y="122"/>
                  </a:lnTo>
                  <a:lnTo>
                    <a:pt x="663" y="128"/>
                  </a:lnTo>
                  <a:lnTo>
                    <a:pt x="655" y="129"/>
                  </a:lnTo>
                  <a:lnTo>
                    <a:pt x="657" y="121"/>
                  </a:lnTo>
                  <a:lnTo>
                    <a:pt x="660" y="121"/>
                  </a:lnTo>
                  <a:lnTo>
                    <a:pt x="661" y="116"/>
                  </a:lnTo>
                  <a:lnTo>
                    <a:pt x="660" y="113"/>
                  </a:lnTo>
                  <a:lnTo>
                    <a:pt x="662" y="105"/>
                  </a:lnTo>
                  <a:lnTo>
                    <a:pt x="668" y="102"/>
                  </a:lnTo>
                  <a:lnTo>
                    <a:pt x="666" y="110"/>
                  </a:lnTo>
                  <a:lnTo>
                    <a:pt x="669" y="108"/>
                  </a:lnTo>
                  <a:lnTo>
                    <a:pt x="671" y="104"/>
                  </a:lnTo>
                  <a:lnTo>
                    <a:pt x="669" y="99"/>
                  </a:lnTo>
                  <a:lnTo>
                    <a:pt x="660" y="101"/>
                  </a:lnTo>
                  <a:lnTo>
                    <a:pt x="654" y="93"/>
                  </a:lnTo>
                  <a:lnTo>
                    <a:pt x="654" y="97"/>
                  </a:lnTo>
                  <a:lnTo>
                    <a:pt x="647" y="92"/>
                  </a:lnTo>
                  <a:lnTo>
                    <a:pt x="647" y="89"/>
                  </a:lnTo>
                  <a:lnTo>
                    <a:pt x="636" y="87"/>
                  </a:lnTo>
                  <a:lnTo>
                    <a:pt x="635" y="85"/>
                  </a:lnTo>
                  <a:lnTo>
                    <a:pt x="636" y="83"/>
                  </a:lnTo>
                  <a:lnTo>
                    <a:pt x="629" y="76"/>
                  </a:lnTo>
                  <a:lnTo>
                    <a:pt x="628" y="62"/>
                  </a:lnTo>
                  <a:lnTo>
                    <a:pt x="634" y="55"/>
                  </a:lnTo>
                  <a:lnTo>
                    <a:pt x="635" y="56"/>
                  </a:lnTo>
                  <a:lnTo>
                    <a:pt x="636" y="51"/>
                  </a:lnTo>
                  <a:lnTo>
                    <a:pt x="635" y="53"/>
                  </a:lnTo>
                  <a:lnTo>
                    <a:pt x="631" y="44"/>
                  </a:lnTo>
                  <a:lnTo>
                    <a:pt x="633" y="34"/>
                  </a:lnTo>
                  <a:lnTo>
                    <a:pt x="633" y="25"/>
                  </a:lnTo>
                  <a:lnTo>
                    <a:pt x="637" y="20"/>
                  </a:lnTo>
                  <a:lnTo>
                    <a:pt x="643" y="26"/>
                  </a:lnTo>
                  <a:lnTo>
                    <a:pt x="644" y="16"/>
                  </a:lnTo>
                  <a:lnTo>
                    <a:pt x="640" y="11"/>
                  </a:lnTo>
                  <a:lnTo>
                    <a:pt x="646" y="0"/>
                  </a:lnTo>
                  <a:lnTo>
                    <a:pt x="657" y="0"/>
                  </a:lnTo>
                  <a:lnTo>
                    <a:pt x="657" y="2"/>
                  </a:lnTo>
                  <a:lnTo>
                    <a:pt x="659" y="2"/>
                  </a:lnTo>
                  <a:lnTo>
                    <a:pt x="660" y="7"/>
                  </a:lnTo>
                  <a:lnTo>
                    <a:pt x="663" y="2"/>
                  </a:lnTo>
                  <a:lnTo>
                    <a:pt x="665" y="5"/>
                  </a:lnTo>
                  <a:lnTo>
                    <a:pt x="669" y="4"/>
                  </a:lnTo>
                  <a:lnTo>
                    <a:pt x="668" y="10"/>
                  </a:lnTo>
                  <a:lnTo>
                    <a:pt x="669" y="13"/>
                  </a:lnTo>
                  <a:lnTo>
                    <a:pt x="679" y="23"/>
                  </a:lnTo>
                  <a:lnTo>
                    <a:pt x="680" y="32"/>
                  </a:lnTo>
                  <a:lnTo>
                    <a:pt x="680" y="45"/>
                  </a:lnTo>
                  <a:lnTo>
                    <a:pt x="683" y="46"/>
                  </a:lnTo>
                  <a:lnTo>
                    <a:pt x="684" y="51"/>
                  </a:lnTo>
                  <a:lnTo>
                    <a:pt x="689" y="53"/>
                  </a:lnTo>
                  <a:lnTo>
                    <a:pt x="693" y="67"/>
                  </a:lnTo>
                  <a:lnTo>
                    <a:pt x="695" y="65"/>
                  </a:lnTo>
                  <a:lnTo>
                    <a:pt x="700" y="74"/>
                  </a:lnTo>
                  <a:lnTo>
                    <a:pt x="688" y="72"/>
                  </a:lnTo>
                  <a:lnTo>
                    <a:pt x="687" y="76"/>
                  </a:lnTo>
                  <a:lnTo>
                    <a:pt x="694" y="80"/>
                  </a:lnTo>
                  <a:lnTo>
                    <a:pt x="685" y="86"/>
                  </a:lnTo>
                  <a:lnTo>
                    <a:pt x="684" y="89"/>
                  </a:lnTo>
                  <a:lnTo>
                    <a:pt x="684" y="92"/>
                  </a:lnTo>
                  <a:lnTo>
                    <a:pt x="689" y="92"/>
                  </a:lnTo>
                  <a:lnTo>
                    <a:pt x="695" y="100"/>
                  </a:lnTo>
                  <a:lnTo>
                    <a:pt x="703" y="94"/>
                  </a:lnTo>
                  <a:lnTo>
                    <a:pt x="702" y="99"/>
                  </a:lnTo>
                  <a:lnTo>
                    <a:pt x="709" y="101"/>
                  </a:lnTo>
                  <a:lnTo>
                    <a:pt x="710" y="99"/>
                  </a:lnTo>
                  <a:lnTo>
                    <a:pt x="710" y="102"/>
                  </a:lnTo>
                  <a:lnTo>
                    <a:pt x="708" y="107"/>
                  </a:lnTo>
                  <a:lnTo>
                    <a:pt x="702" y="105"/>
                  </a:lnTo>
                  <a:lnTo>
                    <a:pt x="711" y="115"/>
                  </a:lnTo>
                  <a:lnTo>
                    <a:pt x="716" y="127"/>
                  </a:lnTo>
                  <a:lnTo>
                    <a:pt x="713" y="138"/>
                  </a:lnTo>
                  <a:lnTo>
                    <a:pt x="717" y="146"/>
                  </a:lnTo>
                  <a:lnTo>
                    <a:pt x="720" y="144"/>
                  </a:lnTo>
                  <a:lnTo>
                    <a:pt x="722" y="138"/>
                  </a:lnTo>
                  <a:lnTo>
                    <a:pt x="723" y="131"/>
                  </a:lnTo>
                  <a:lnTo>
                    <a:pt x="724" y="131"/>
                  </a:lnTo>
                  <a:lnTo>
                    <a:pt x="724" y="118"/>
                  </a:lnTo>
                  <a:lnTo>
                    <a:pt x="729" y="109"/>
                  </a:lnTo>
                  <a:lnTo>
                    <a:pt x="736" y="108"/>
                  </a:lnTo>
                  <a:lnTo>
                    <a:pt x="740" y="118"/>
                  </a:lnTo>
                  <a:lnTo>
                    <a:pt x="748" y="124"/>
                  </a:lnTo>
                  <a:lnTo>
                    <a:pt x="752" y="146"/>
                  </a:lnTo>
                  <a:lnTo>
                    <a:pt x="748" y="148"/>
                  </a:lnTo>
                  <a:lnTo>
                    <a:pt x="747" y="142"/>
                  </a:lnTo>
                  <a:lnTo>
                    <a:pt x="744" y="148"/>
                  </a:lnTo>
                  <a:lnTo>
                    <a:pt x="745" y="153"/>
                  </a:lnTo>
                  <a:lnTo>
                    <a:pt x="744" y="159"/>
                  </a:lnTo>
                  <a:lnTo>
                    <a:pt x="759" y="186"/>
                  </a:lnTo>
                  <a:lnTo>
                    <a:pt x="763" y="185"/>
                  </a:lnTo>
                  <a:lnTo>
                    <a:pt x="764" y="180"/>
                  </a:lnTo>
                  <a:lnTo>
                    <a:pt x="770" y="180"/>
                  </a:lnTo>
                  <a:lnTo>
                    <a:pt x="771" y="167"/>
                  </a:lnTo>
                  <a:lnTo>
                    <a:pt x="777" y="159"/>
                  </a:lnTo>
                  <a:lnTo>
                    <a:pt x="781" y="145"/>
                  </a:lnTo>
                  <a:lnTo>
                    <a:pt x="782" y="133"/>
                  </a:lnTo>
                  <a:lnTo>
                    <a:pt x="787" y="128"/>
                  </a:lnTo>
                  <a:lnTo>
                    <a:pt x="797" y="128"/>
                  </a:lnTo>
                  <a:lnTo>
                    <a:pt x="791" y="125"/>
                  </a:lnTo>
                  <a:lnTo>
                    <a:pt x="793" y="120"/>
                  </a:lnTo>
                  <a:lnTo>
                    <a:pt x="797" y="120"/>
                  </a:lnTo>
                  <a:lnTo>
                    <a:pt x="797" y="118"/>
                  </a:lnTo>
                  <a:lnTo>
                    <a:pt x="790" y="114"/>
                  </a:lnTo>
                  <a:lnTo>
                    <a:pt x="786" y="108"/>
                  </a:lnTo>
                  <a:lnTo>
                    <a:pt x="787" y="104"/>
                  </a:lnTo>
                  <a:lnTo>
                    <a:pt x="785" y="93"/>
                  </a:lnTo>
                  <a:lnTo>
                    <a:pt x="786" y="87"/>
                  </a:lnTo>
                  <a:lnTo>
                    <a:pt x="799" y="86"/>
                  </a:lnTo>
                  <a:lnTo>
                    <a:pt x="813" y="93"/>
                  </a:lnTo>
                  <a:lnTo>
                    <a:pt x="826" y="91"/>
                  </a:lnTo>
                  <a:lnTo>
                    <a:pt x="828" y="100"/>
                  </a:lnTo>
                  <a:lnTo>
                    <a:pt x="825" y="101"/>
                  </a:lnTo>
                  <a:lnTo>
                    <a:pt x="830" y="105"/>
                  </a:lnTo>
                  <a:lnTo>
                    <a:pt x="832" y="109"/>
                  </a:lnTo>
                  <a:lnTo>
                    <a:pt x="831" y="110"/>
                  </a:lnTo>
                  <a:lnTo>
                    <a:pt x="839" y="110"/>
                  </a:lnTo>
                  <a:lnTo>
                    <a:pt x="844" y="115"/>
                  </a:lnTo>
                  <a:lnTo>
                    <a:pt x="836" y="125"/>
                  </a:lnTo>
                  <a:lnTo>
                    <a:pt x="844" y="127"/>
                  </a:lnTo>
                  <a:lnTo>
                    <a:pt x="846" y="133"/>
                  </a:lnTo>
                  <a:lnTo>
                    <a:pt x="837" y="143"/>
                  </a:lnTo>
                  <a:lnTo>
                    <a:pt x="834" y="137"/>
                  </a:lnTo>
                  <a:lnTo>
                    <a:pt x="828" y="138"/>
                  </a:lnTo>
                  <a:lnTo>
                    <a:pt x="828" y="140"/>
                  </a:lnTo>
                  <a:lnTo>
                    <a:pt x="831" y="146"/>
                  </a:lnTo>
                  <a:lnTo>
                    <a:pt x="830" y="148"/>
                  </a:lnTo>
                  <a:lnTo>
                    <a:pt x="832" y="148"/>
                  </a:lnTo>
                  <a:lnTo>
                    <a:pt x="831" y="152"/>
                  </a:lnTo>
                  <a:lnTo>
                    <a:pt x="836" y="150"/>
                  </a:lnTo>
                  <a:lnTo>
                    <a:pt x="834" y="162"/>
                  </a:lnTo>
                  <a:lnTo>
                    <a:pt x="845" y="177"/>
                  </a:lnTo>
                  <a:lnTo>
                    <a:pt x="844" y="181"/>
                  </a:lnTo>
                  <a:lnTo>
                    <a:pt x="845" y="187"/>
                  </a:lnTo>
                  <a:lnTo>
                    <a:pt x="843" y="191"/>
                  </a:lnTo>
                  <a:lnTo>
                    <a:pt x="838" y="194"/>
                  </a:lnTo>
                  <a:lnTo>
                    <a:pt x="826" y="209"/>
                  </a:lnTo>
                  <a:lnTo>
                    <a:pt x="822" y="211"/>
                  </a:lnTo>
                  <a:lnTo>
                    <a:pt x="818" y="216"/>
                  </a:lnTo>
                  <a:lnTo>
                    <a:pt x="807" y="205"/>
                  </a:lnTo>
                  <a:lnTo>
                    <a:pt x="805" y="207"/>
                  </a:lnTo>
                  <a:lnTo>
                    <a:pt x="805" y="210"/>
                  </a:lnTo>
                  <a:lnTo>
                    <a:pt x="808" y="214"/>
                  </a:lnTo>
                  <a:lnTo>
                    <a:pt x="810" y="224"/>
                  </a:lnTo>
                  <a:lnTo>
                    <a:pt x="801" y="216"/>
                  </a:lnTo>
                  <a:lnTo>
                    <a:pt x="800" y="216"/>
                  </a:lnTo>
                  <a:lnTo>
                    <a:pt x="800" y="223"/>
                  </a:lnTo>
                  <a:lnTo>
                    <a:pt x="791" y="220"/>
                  </a:lnTo>
                  <a:lnTo>
                    <a:pt x="788" y="210"/>
                  </a:lnTo>
                  <a:lnTo>
                    <a:pt x="781" y="213"/>
                  </a:lnTo>
                  <a:lnTo>
                    <a:pt x="772" y="210"/>
                  </a:lnTo>
                  <a:lnTo>
                    <a:pt x="768" y="214"/>
                  </a:lnTo>
                  <a:lnTo>
                    <a:pt x="770" y="217"/>
                  </a:lnTo>
                  <a:lnTo>
                    <a:pt x="778" y="220"/>
                  </a:lnTo>
                  <a:lnTo>
                    <a:pt x="778" y="223"/>
                  </a:lnTo>
                  <a:lnTo>
                    <a:pt x="778" y="227"/>
                  </a:lnTo>
                  <a:lnTo>
                    <a:pt x="763" y="251"/>
                  </a:lnTo>
                  <a:lnTo>
                    <a:pt x="751" y="252"/>
                  </a:lnTo>
                  <a:lnTo>
                    <a:pt x="740" y="240"/>
                  </a:lnTo>
                  <a:lnTo>
                    <a:pt x="729" y="234"/>
                  </a:lnTo>
                  <a:lnTo>
                    <a:pt x="721" y="233"/>
                  </a:lnTo>
                  <a:lnTo>
                    <a:pt x="720" y="236"/>
                  </a:lnTo>
                  <a:lnTo>
                    <a:pt x="724" y="239"/>
                  </a:lnTo>
                  <a:lnTo>
                    <a:pt x="736" y="252"/>
                  </a:lnTo>
                  <a:lnTo>
                    <a:pt x="766" y="257"/>
                  </a:lnTo>
                  <a:lnTo>
                    <a:pt x="764" y="265"/>
                  </a:lnTo>
                  <a:lnTo>
                    <a:pt x="756" y="278"/>
                  </a:lnTo>
                  <a:lnTo>
                    <a:pt x="753" y="280"/>
                  </a:lnTo>
                  <a:lnTo>
                    <a:pt x="753" y="284"/>
                  </a:lnTo>
                  <a:lnTo>
                    <a:pt x="749" y="291"/>
                  </a:lnTo>
                  <a:lnTo>
                    <a:pt x="741" y="297"/>
                  </a:lnTo>
                  <a:lnTo>
                    <a:pt x="736" y="295"/>
                  </a:lnTo>
                  <a:lnTo>
                    <a:pt x="735" y="297"/>
                  </a:lnTo>
                  <a:lnTo>
                    <a:pt x="724" y="292"/>
                  </a:lnTo>
                  <a:lnTo>
                    <a:pt x="724" y="299"/>
                  </a:lnTo>
                  <a:lnTo>
                    <a:pt x="721" y="297"/>
                  </a:lnTo>
                  <a:lnTo>
                    <a:pt x="721" y="300"/>
                  </a:lnTo>
                  <a:lnTo>
                    <a:pt x="723" y="303"/>
                  </a:lnTo>
                  <a:lnTo>
                    <a:pt x="721" y="307"/>
                  </a:lnTo>
                  <a:lnTo>
                    <a:pt x="713" y="313"/>
                  </a:lnTo>
                  <a:lnTo>
                    <a:pt x="701" y="305"/>
                  </a:lnTo>
                  <a:lnTo>
                    <a:pt x="701" y="302"/>
                  </a:lnTo>
                  <a:lnTo>
                    <a:pt x="691" y="305"/>
                  </a:lnTo>
                  <a:lnTo>
                    <a:pt x="673" y="296"/>
                  </a:lnTo>
                  <a:lnTo>
                    <a:pt x="671" y="299"/>
                  </a:lnTo>
                  <a:lnTo>
                    <a:pt x="674" y="302"/>
                  </a:lnTo>
                  <a:lnTo>
                    <a:pt x="676" y="301"/>
                  </a:lnTo>
                  <a:lnTo>
                    <a:pt x="675" y="298"/>
                  </a:lnTo>
                  <a:lnTo>
                    <a:pt x="685" y="303"/>
                  </a:lnTo>
                  <a:lnTo>
                    <a:pt x="685" y="306"/>
                  </a:lnTo>
                  <a:lnTo>
                    <a:pt x="687" y="304"/>
                  </a:lnTo>
                  <a:lnTo>
                    <a:pt x="693" y="305"/>
                  </a:lnTo>
                  <a:lnTo>
                    <a:pt x="690" y="310"/>
                  </a:lnTo>
                  <a:lnTo>
                    <a:pt x="697" y="306"/>
                  </a:lnTo>
                  <a:lnTo>
                    <a:pt x="707" y="314"/>
                  </a:lnTo>
                  <a:lnTo>
                    <a:pt x="710" y="313"/>
                  </a:lnTo>
                  <a:lnTo>
                    <a:pt x="712" y="320"/>
                  </a:lnTo>
                  <a:lnTo>
                    <a:pt x="713" y="328"/>
                  </a:lnTo>
                  <a:lnTo>
                    <a:pt x="712" y="332"/>
                  </a:lnTo>
                  <a:lnTo>
                    <a:pt x="702" y="335"/>
                  </a:lnTo>
                  <a:lnTo>
                    <a:pt x="688" y="334"/>
                  </a:lnTo>
                  <a:lnTo>
                    <a:pt x="687" y="336"/>
                  </a:lnTo>
                  <a:lnTo>
                    <a:pt x="689" y="340"/>
                  </a:lnTo>
                  <a:lnTo>
                    <a:pt x="694" y="342"/>
                  </a:lnTo>
                  <a:lnTo>
                    <a:pt x="685" y="342"/>
                  </a:lnTo>
                  <a:lnTo>
                    <a:pt x="684" y="350"/>
                  </a:lnTo>
                  <a:lnTo>
                    <a:pt x="685" y="358"/>
                  </a:lnTo>
                  <a:lnTo>
                    <a:pt x="681" y="352"/>
                  </a:lnTo>
                  <a:lnTo>
                    <a:pt x="679" y="354"/>
                  </a:lnTo>
                  <a:lnTo>
                    <a:pt x="676" y="362"/>
                  </a:lnTo>
                  <a:lnTo>
                    <a:pt x="672" y="362"/>
                  </a:lnTo>
                  <a:lnTo>
                    <a:pt x="674" y="365"/>
                  </a:lnTo>
                  <a:lnTo>
                    <a:pt x="672" y="370"/>
                  </a:lnTo>
                  <a:lnTo>
                    <a:pt x="665" y="376"/>
                  </a:lnTo>
                  <a:lnTo>
                    <a:pt x="657" y="378"/>
                  </a:lnTo>
                  <a:lnTo>
                    <a:pt x="663" y="384"/>
                  </a:lnTo>
                  <a:lnTo>
                    <a:pt x="661" y="392"/>
                  </a:lnTo>
                  <a:lnTo>
                    <a:pt x="658" y="393"/>
                  </a:lnTo>
                  <a:lnTo>
                    <a:pt x="658" y="402"/>
                  </a:lnTo>
                  <a:lnTo>
                    <a:pt x="655" y="404"/>
                  </a:lnTo>
                  <a:lnTo>
                    <a:pt x="655" y="417"/>
                  </a:lnTo>
                  <a:lnTo>
                    <a:pt x="654" y="439"/>
                  </a:lnTo>
                  <a:lnTo>
                    <a:pt x="652" y="444"/>
                  </a:lnTo>
                  <a:lnTo>
                    <a:pt x="654" y="445"/>
                  </a:lnTo>
                  <a:lnTo>
                    <a:pt x="658" y="452"/>
                  </a:lnTo>
                  <a:lnTo>
                    <a:pt x="660" y="451"/>
                  </a:lnTo>
                  <a:lnTo>
                    <a:pt x="661" y="458"/>
                  </a:lnTo>
                  <a:lnTo>
                    <a:pt x="663" y="451"/>
                  </a:lnTo>
                  <a:lnTo>
                    <a:pt x="677" y="453"/>
                  </a:lnTo>
                  <a:lnTo>
                    <a:pt x="678" y="461"/>
                  </a:lnTo>
                  <a:lnTo>
                    <a:pt x="683" y="472"/>
                  </a:lnTo>
                  <a:lnTo>
                    <a:pt x="684" y="482"/>
                  </a:lnTo>
                  <a:lnTo>
                    <a:pt x="687" y="487"/>
                  </a:lnTo>
                  <a:lnTo>
                    <a:pt x="687" y="495"/>
                  </a:lnTo>
                  <a:lnTo>
                    <a:pt x="683" y="502"/>
                  </a:lnTo>
                  <a:lnTo>
                    <a:pt x="688" y="498"/>
                  </a:lnTo>
                  <a:lnTo>
                    <a:pt x="689" y="500"/>
                  </a:lnTo>
                  <a:lnTo>
                    <a:pt x="705" y="492"/>
                  </a:lnTo>
                  <a:lnTo>
                    <a:pt x="711" y="493"/>
                  </a:lnTo>
                  <a:lnTo>
                    <a:pt x="717" y="498"/>
                  </a:lnTo>
                  <a:lnTo>
                    <a:pt x="728" y="504"/>
                  </a:lnTo>
                  <a:lnTo>
                    <a:pt x="734" y="505"/>
                  </a:lnTo>
                  <a:lnTo>
                    <a:pt x="748" y="513"/>
                  </a:lnTo>
                  <a:lnTo>
                    <a:pt x="755" y="525"/>
                  </a:lnTo>
                  <a:lnTo>
                    <a:pt x="756" y="525"/>
                  </a:lnTo>
                  <a:lnTo>
                    <a:pt x="766" y="527"/>
                  </a:lnTo>
                  <a:lnTo>
                    <a:pt x="779" y="532"/>
                  </a:lnTo>
                  <a:lnTo>
                    <a:pt x="788" y="540"/>
                  </a:lnTo>
                  <a:lnTo>
                    <a:pt x="783" y="553"/>
                  </a:lnTo>
                  <a:lnTo>
                    <a:pt x="789" y="542"/>
                  </a:lnTo>
                  <a:lnTo>
                    <a:pt x="819" y="542"/>
                  </a:lnTo>
                  <a:lnTo>
                    <a:pt x="828" y="547"/>
                  </a:lnTo>
                  <a:lnTo>
                    <a:pt x="830" y="546"/>
                  </a:lnTo>
                  <a:lnTo>
                    <a:pt x="831" y="552"/>
                  </a:lnTo>
                  <a:lnTo>
                    <a:pt x="830" y="571"/>
                  </a:lnTo>
                  <a:lnTo>
                    <a:pt x="832" y="576"/>
                  </a:lnTo>
                  <a:lnTo>
                    <a:pt x="832" y="591"/>
                  </a:lnTo>
                  <a:lnTo>
                    <a:pt x="831" y="593"/>
                  </a:lnTo>
                  <a:lnTo>
                    <a:pt x="831" y="598"/>
                  </a:lnTo>
                  <a:lnTo>
                    <a:pt x="843" y="614"/>
                  </a:lnTo>
                  <a:lnTo>
                    <a:pt x="833" y="619"/>
                  </a:lnTo>
                  <a:lnTo>
                    <a:pt x="844" y="617"/>
                  </a:lnTo>
                  <a:lnTo>
                    <a:pt x="854" y="626"/>
                  </a:lnTo>
                  <a:lnTo>
                    <a:pt x="856" y="633"/>
                  </a:lnTo>
                  <a:lnTo>
                    <a:pt x="849" y="642"/>
                  </a:lnTo>
                  <a:lnTo>
                    <a:pt x="858" y="636"/>
                  </a:lnTo>
                  <a:lnTo>
                    <a:pt x="867" y="642"/>
                  </a:lnTo>
                  <a:lnTo>
                    <a:pt x="868" y="641"/>
                  </a:lnTo>
                  <a:lnTo>
                    <a:pt x="867" y="634"/>
                  </a:lnTo>
                  <a:lnTo>
                    <a:pt x="870" y="632"/>
                  </a:lnTo>
                  <a:lnTo>
                    <a:pt x="870" y="629"/>
                  </a:lnTo>
                  <a:lnTo>
                    <a:pt x="874" y="629"/>
                  </a:lnTo>
                  <a:lnTo>
                    <a:pt x="877" y="632"/>
                  </a:lnTo>
                  <a:lnTo>
                    <a:pt x="878" y="637"/>
                  </a:lnTo>
                  <a:lnTo>
                    <a:pt x="879" y="637"/>
                  </a:lnTo>
                  <a:lnTo>
                    <a:pt x="881" y="636"/>
                  </a:lnTo>
                  <a:lnTo>
                    <a:pt x="882" y="631"/>
                  </a:lnTo>
                  <a:lnTo>
                    <a:pt x="877" y="624"/>
                  </a:lnTo>
                  <a:lnTo>
                    <a:pt x="881" y="624"/>
                  </a:lnTo>
                  <a:lnTo>
                    <a:pt x="886" y="615"/>
                  </a:lnTo>
                  <a:lnTo>
                    <a:pt x="891" y="616"/>
                  </a:lnTo>
                  <a:lnTo>
                    <a:pt x="893" y="614"/>
                  </a:lnTo>
                  <a:lnTo>
                    <a:pt x="887" y="614"/>
                  </a:lnTo>
                  <a:lnTo>
                    <a:pt x="882" y="609"/>
                  </a:lnTo>
                  <a:lnTo>
                    <a:pt x="881" y="604"/>
                  </a:lnTo>
                  <a:lnTo>
                    <a:pt x="881" y="601"/>
                  </a:lnTo>
                  <a:lnTo>
                    <a:pt x="878" y="575"/>
                  </a:lnTo>
                  <a:lnTo>
                    <a:pt x="872" y="563"/>
                  </a:lnTo>
                  <a:lnTo>
                    <a:pt x="868" y="560"/>
                  </a:lnTo>
                  <a:lnTo>
                    <a:pt x="893" y="544"/>
                  </a:lnTo>
                  <a:lnTo>
                    <a:pt x="897" y="539"/>
                  </a:lnTo>
                  <a:lnTo>
                    <a:pt x="908" y="520"/>
                  </a:lnTo>
                  <a:lnTo>
                    <a:pt x="914" y="521"/>
                  </a:lnTo>
                  <a:lnTo>
                    <a:pt x="917" y="518"/>
                  </a:lnTo>
                  <a:lnTo>
                    <a:pt x="916" y="518"/>
                  </a:lnTo>
                  <a:lnTo>
                    <a:pt x="914" y="510"/>
                  </a:lnTo>
                  <a:lnTo>
                    <a:pt x="909" y="517"/>
                  </a:lnTo>
                  <a:lnTo>
                    <a:pt x="908" y="499"/>
                  </a:lnTo>
                  <a:lnTo>
                    <a:pt x="899" y="465"/>
                  </a:lnTo>
                  <a:lnTo>
                    <a:pt x="891" y="462"/>
                  </a:lnTo>
                  <a:lnTo>
                    <a:pt x="881" y="451"/>
                  </a:lnTo>
                  <a:lnTo>
                    <a:pt x="881" y="449"/>
                  </a:lnTo>
                  <a:lnTo>
                    <a:pt x="881" y="443"/>
                  </a:lnTo>
                  <a:lnTo>
                    <a:pt x="896" y="438"/>
                  </a:lnTo>
                  <a:lnTo>
                    <a:pt x="894" y="431"/>
                  </a:lnTo>
                  <a:lnTo>
                    <a:pt x="896" y="428"/>
                  </a:lnTo>
                  <a:lnTo>
                    <a:pt x="900" y="430"/>
                  </a:lnTo>
                  <a:lnTo>
                    <a:pt x="905" y="428"/>
                  </a:lnTo>
                  <a:lnTo>
                    <a:pt x="900" y="426"/>
                  </a:lnTo>
                  <a:lnTo>
                    <a:pt x="900" y="421"/>
                  </a:lnTo>
                  <a:lnTo>
                    <a:pt x="903" y="418"/>
                  </a:lnTo>
                  <a:lnTo>
                    <a:pt x="896" y="418"/>
                  </a:lnTo>
                  <a:lnTo>
                    <a:pt x="896" y="416"/>
                  </a:lnTo>
                  <a:lnTo>
                    <a:pt x="899" y="415"/>
                  </a:lnTo>
                  <a:lnTo>
                    <a:pt x="899" y="413"/>
                  </a:lnTo>
                  <a:lnTo>
                    <a:pt x="894" y="406"/>
                  </a:lnTo>
                  <a:lnTo>
                    <a:pt x="896" y="401"/>
                  </a:lnTo>
                  <a:lnTo>
                    <a:pt x="894" y="398"/>
                  </a:lnTo>
                  <a:lnTo>
                    <a:pt x="899" y="397"/>
                  </a:lnTo>
                  <a:lnTo>
                    <a:pt x="891" y="396"/>
                  </a:lnTo>
                  <a:lnTo>
                    <a:pt x="890" y="394"/>
                  </a:lnTo>
                  <a:lnTo>
                    <a:pt x="890" y="391"/>
                  </a:lnTo>
                  <a:lnTo>
                    <a:pt x="895" y="381"/>
                  </a:lnTo>
                  <a:lnTo>
                    <a:pt x="894" y="377"/>
                  </a:lnTo>
                  <a:lnTo>
                    <a:pt x="899" y="371"/>
                  </a:lnTo>
                  <a:lnTo>
                    <a:pt x="900" y="367"/>
                  </a:lnTo>
                  <a:lnTo>
                    <a:pt x="896" y="370"/>
                  </a:lnTo>
                  <a:lnTo>
                    <a:pt x="890" y="365"/>
                  </a:lnTo>
                  <a:lnTo>
                    <a:pt x="888" y="360"/>
                  </a:lnTo>
                  <a:lnTo>
                    <a:pt x="888" y="353"/>
                  </a:lnTo>
                  <a:lnTo>
                    <a:pt x="898" y="342"/>
                  </a:lnTo>
                  <a:lnTo>
                    <a:pt x="899" y="343"/>
                  </a:lnTo>
                  <a:lnTo>
                    <a:pt x="915" y="345"/>
                  </a:lnTo>
                  <a:lnTo>
                    <a:pt x="926" y="350"/>
                  </a:lnTo>
                  <a:lnTo>
                    <a:pt x="925" y="352"/>
                  </a:lnTo>
                  <a:lnTo>
                    <a:pt x="932" y="350"/>
                  </a:lnTo>
                  <a:lnTo>
                    <a:pt x="934" y="352"/>
                  </a:lnTo>
                  <a:lnTo>
                    <a:pt x="932" y="354"/>
                  </a:lnTo>
                  <a:lnTo>
                    <a:pt x="938" y="354"/>
                  </a:lnTo>
                  <a:lnTo>
                    <a:pt x="939" y="351"/>
                  </a:lnTo>
                  <a:lnTo>
                    <a:pt x="950" y="344"/>
                  </a:lnTo>
                  <a:lnTo>
                    <a:pt x="967" y="354"/>
                  </a:lnTo>
                  <a:lnTo>
                    <a:pt x="968" y="358"/>
                  </a:lnTo>
                  <a:lnTo>
                    <a:pt x="965" y="365"/>
                  </a:lnTo>
                  <a:lnTo>
                    <a:pt x="968" y="364"/>
                  </a:lnTo>
                  <a:lnTo>
                    <a:pt x="969" y="361"/>
                  </a:lnTo>
                  <a:lnTo>
                    <a:pt x="973" y="361"/>
                  </a:lnTo>
                  <a:lnTo>
                    <a:pt x="973" y="365"/>
                  </a:lnTo>
                  <a:lnTo>
                    <a:pt x="975" y="369"/>
                  </a:lnTo>
                  <a:lnTo>
                    <a:pt x="973" y="370"/>
                  </a:lnTo>
                  <a:lnTo>
                    <a:pt x="974" y="373"/>
                  </a:lnTo>
                  <a:lnTo>
                    <a:pt x="979" y="370"/>
                  </a:lnTo>
                  <a:lnTo>
                    <a:pt x="982" y="371"/>
                  </a:lnTo>
                  <a:lnTo>
                    <a:pt x="979" y="375"/>
                  </a:lnTo>
                  <a:lnTo>
                    <a:pt x="979" y="379"/>
                  </a:lnTo>
                  <a:lnTo>
                    <a:pt x="983" y="382"/>
                  </a:lnTo>
                  <a:lnTo>
                    <a:pt x="982" y="384"/>
                  </a:lnTo>
                  <a:lnTo>
                    <a:pt x="990" y="384"/>
                  </a:lnTo>
                  <a:lnTo>
                    <a:pt x="992" y="389"/>
                  </a:lnTo>
                  <a:lnTo>
                    <a:pt x="1001" y="387"/>
                  </a:lnTo>
                  <a:lnTo>
                    <a:pt x="1004" y="392"/>
                  </a:lnTo>
                  <a:lnTo>
                    <a:pt x="1009" y="390"/>
                  </a:lnTo>
                  <a:lnTo>
                    <a:pt x="1008" y="388"/>
                  </a:lnTo>
                  <a:lnTo>
                    <a:pt x="1010" y="387"/>
                  </a:lnTo>
                  <a:lnTo>
                    <a:pt x="1013" y="393"/>
                  </a:lnTo>
                  <a:lnTo>
                    <a:pt x="1009" y="398"/>
                  </a:lnTo>
                  <a:lnTo>
                    <a:pt x="1009" y="406"/>
                  </a:lnTo>
                  <a:lnTo>
                    <a:pt x="1013" y="415"/>
                  </a:lnTo>
                  <a:lnTo>
                    <a:pt x="1008" y="417"/>
                  </a:lnTo>
                  <a:lnTo>
                    <a:pt x="1006" y="419"/>
                  </a:lnTo>
                  <a:lnTo>
                    <a:pt x="1013" y="423"/>
                  </a:lnTo>
                  <a:lnTo>
                    <a:pt x="1013" y="428"/>
                  </a:lnTo>
                  <a:lnTo>
                    <a:pt x="1010" y="436"/>
                  </a:lnTo>
                  <a:lnTo>
                    <a:pt x="1016" y="436"/>
                  </a:lnTo>
                  <a:lnTo>
                    <a:pt x="1012" y="440"/>
                  </a:lnTo>
                  <a:lnTo>
                    <a:pt x="1016" y="442"/>
                  </a:lnTo>
                  <a:lnTo>
                    <a:pt x="1016" y="445"/>
                  </a:lnTo>
                  <a:lnTo>
                    <a:pt x="1010" y="449"/>
                  </a:lnTo>
                  <a:lnTo>
                    <a:pt x="1007" y="445"/>
                  </a:lnTo>
                  <a:lnTo>
                    <a:pt x="1005" y="446"/>
                  </a:lnTo>
                  <a:lnTo>
                    <a:pt x="1006" y="451"/>
                  </a:lnTo>
                  <a:lnTo>
                    <a:pt x="1001" y="452"/>
                  </a:lnTo>
                  <a:lnTo>
                    <a:pt x="1008" y="455"/>
                  </a:lnTo>
                  <a:lnTo>
                    <a:pt x="1014" y="449"/>
                  </a:lnTo>
                  <a:lnTo>
                    <a:pt x="1027" y="449"/>
                  </a:lnTo>
                  <a:lnTo>
                    <a:pt x="1030" y="460"/>
                  </a:lnTo>
                  <a:lnTo>
                    <a:pt x="1029" y="468"/>
                  </a:lnTo>
                  <a:lnTo>
                    <a:pt x="1029" y="469"/>
                  </a:lnTo>
                  <a:lnTo>
                    <a:pt x="1034" y="455"/>
                  </a:lnTo>
                  <a:lnTo>
                    <a:pt x="1034" y="463"/>
                  </a:lnTo>
                  <a:lnTo>
                    <a:pt x="1036" y="460"/>
                  </a:lnTo>
                  <a:lnTo>
                    <a:pt x="1038" y="469"/>
                  </a:lnTo>
                  <a:lnTo>
                    <a:pt x="1039" y="465"/>
                  </a:lnTo>
                  <a:lnTo>
                    <a:pt x="1052" y="459"/>
                  </a:lnTo>
                  <a:lnTo>
                    <a:pt x="1055" y="449"/>
                  </a:lnTo>
                  <a:lnTo>
                    <a:pt x="1061" y="453"/>
                  </a:lnTo>
                  <a:lnTo>
                    <a:pt x="1062" y="455"/>
                  </a:lnTo>
                  <a:lnTo>
                    <a:pt x="1061" y="460"/>
                  </a:lnTo>
                  <a:lnTo>
                    <a:pt x="1064" y="454"/>
                  </a:lnTo>
                  <a:lnTo>
                    <a:pt x="1060" y="448"/>
                  </a:lnTo>
                  <a:lnTo>
                    <a:pt x="1062" y="449"/>
                  </a:lnTo>
                  <a:lnTo>
                    <a:pt x="1065" y="448"/>
                  </a:lnTo>
                  <a:lnTo>
                    <a:pt x="1064" y="447"/>
                  </a:lnTo>
                  <a:lnTo>
                    <a:pt x="1064" y="444"/>
                  </a:lnTo>
                  <a:lnTo>
                    <a:pt x="1066" y="444"/>
                  </a:lnTo>
                  <a:lnTo>
                    <a:pt x="1067" y="441"/>
                  </a:lnTo>
                  <a:lnTo>
                    <a:pt x="1066" y="437"/>
                  </a:lnTo>
                  <a:lnTo>
                    <a:pt x="1067" y="439"/>
                  </a:lnTo>
                  <a:lnTo>
                    <a:pt x="1073" y="432"/>
                  </a:lnTo>
                  <a:lnTo>
                    <a:pt x="1068" y="425"/>
                  </a:lnTo>
                  <a:lnTo>
                    <a:pt x="1078" y="409"/>
                  </a:lnTo>
                  <a:lnTo>
                    <a:pt x="1083" y="409"/>
                  </a:lnTo>
                  <a:lnTo>
                    <a:pt x="1084" y="410"/>
                  </a:lnTo>
                  <a:lnTo>
                    <a:pt x="1082" y="412"/>
                  </a:lnTo>
                  <a:lnTo>
                    <a:pt x="1084" y="412"/>
                  </a:lnTo>
                  <a:lnTo>
                    <a:pt x="1085" y="416"/>
                  </a:lnTo>
                  <a:lnTo>
                    <a:pt x="1084" y="421"/>
                  </a:lnTo>
                  <a:lnTo>
                    <a:pt x="1087" y="421"/>
                  </a:lnTo>
                  <a:lnTo>
                    <a:pt x="1087" y="427"/>
                  </a:lnTo>
                  <a:lnTo>
                    <a:pt x="1090" y="427"/>
                  </a:lnTo>
                  <a:lnTo>
                    <a:pt x="1089" y="430"/>
                  </a:lnTo>
                  <a:lnTo>
                    <a:pt x="1094" y="430"/>
                  </a:lnTo>
                  <a:lnTo>
                    <a:pt x="1090" y="435"/>
                  </a:lnTo>
                  <a:lnTo>
                    <a:pt x="1094" y="437"/>
                  </a:lnTo>
                  <a:lnTo>
                    <a:pt x="1097" y="436"/>
                  </a:lnTo>
                  <a:lnTo>
                    <a:pt x="1097" y="439"/>
                  </a:lnTo>
                  <a:lnTo>
                    <a:pt x="1099" y="439"/>
                  </a:lnTo>
                  <a:lnTo>
                    <a:pt x="1099" y="441"/>
                  </a:lnTo>
                  <a:lnTo>
                    <a:pt x="1096" y="443"/>
                  </a:lnTo>
                  <a:lnTo>
                    <a:pt x="1091" y="443"/>
                  </a:lnTo>
                  <a:lnTo>
                    <a:pt x="1087" y="446"/>
                  </a:lnTo>
                  <a:lnTo>
                    <a:pt x="1102" y="443"/>
                  </a:lnTo>
                  <a:lnTo>
                    <a:pt x="1101" y="451"/>
                  </a:lnTo>
                  <a:lnTo>
                    <a:pt x="1105" y="451"/>
                  </a:lnTo>
                  <a:lnTo>
                    <a:pt x="1105" y="453"/>
                  </a:lnTo>
                  <a:lnTo>
                    <a:pt x="1107" y="455"/>
                  </a:lnTo>
                  <a:lnTo>
                    <a:pt x="1097" y="459"/>
                  </a:lnTo>
                  <a:lnTo>
                    <a:pt x="1110" y="459"/>
                  </a:lnTo>
                  <a:lnTo>
                    <a:pt x="1111" y="462"/>
                  </a:lnTo>
                  <a:lnTo>
                    <a:pt x="1108" y="465"/>
                  </a:lnTo>
                  <a:lnTo>
                    <a:pt x="1110" y="465"/>
                  </a:lnTo>
                  <a:lnTo>
                    <a:pt x="1102" y="471"/>
                  </a:lnTo>
                  <a:lnTo>
                    <a:pt x="1111" y="468"/>
                  </a:lnTo>
                  <a:lnTo>
                    <a:pt x="1114" y="471"/>
                  </a:lnTo>
                  <a:lnTo>
                    <a:pt x="1111" y="475"/>
                  </a:lnTo>
                  <a:lnTo>
                    <a:pt x="1115" y="475"/>
                  </a:lnTo>
                  <a:lnTo>
                    <a:pt x="1120" y="482"/>
                  </a:lnTo>
                  <a:lnTo>
                    <a:pt x="1113" y="487"/>
                  </a:lnTo>
                  <a:lnTo>
                    <a:pt x="1120" y="487"/>
                  </a:lnTo>
                  <a:lnTo>
                    <a:pt x="1122" y="489"/>
                  </a:lnTo>
                  <a:lnTo>
                    <a:pt x="1120" y="492"/>
                  </a:lnTo>
                  <a:lnTo>
                    <a:pt x="1126" y="494"/>
                  </a:lnTo>
                  <a:lnTo>
                    <a:pt x="1127" y="498"/>
                  </a:lnTo>
                  <a:lnTo>
                    <a:pt x="1122" y="503"/>
                  </a:lnTo>
                  <a:lnTo>
                    <a:pt x="1123" y="506"/>
                  </a:lnTo>
                  <a:lnTo>
                    <a:pt x="1114" y="502"/>
                  </a:lnTo>
                  <a:lnTo>
                    <a:pt x="1113" y="504"/>
                  </a:lnTo>
                  <a:lnTo>
                    <a:pt x="1117" y="506"/>
                  </a:lnTo>
                  <a:lnTo>
                    <a:pt x="1122" y="509"/>
                  </a:lnTo>
                  <a:lnTo>
                    <a:pt x="1123" y="510"/>
                  </a:lnTo>
                  <a:lnTo>
                    <a:pt x="1118" y="513"/>
                  </a:lnTo>
                  <a:lnTo>
                    <a:pt x="1123" y="517"/>
                  </a:lnTo>
                  <a:lnTo>
                    <a:pt x="1120" y="517"/>
                  </a:lnTo>
                  <a:lnTo>
                    <a:pt x="1119" y="519"/>
                  </a:lnTo>
                  <a:lnTo>
                    <a:pt x="1128" y="518"/>
                  </a:lnTo>
                  <a:lnTo>
                    <a:pt x="1130" y="525"/>
                  </a:lnTo>
                  <a:lnTo>
                    <a:pt x="1129" y="526"/>
                  </a:lnTo>
                  <a:lnTo>
                    <a:pt x="1137" y="527"/>
                  </a:lnTo>
                  <a:lnTo>
                    <a:pt x="1139" y="531"/>
                  </a:lnTo>
                  <a:lnTo>
                    <a:pt x="1142" y="530"/>
                  </a:lnTo>
                  <a:lnTo>
                    <a:pt x="1142" y="535"/>
                  </a:lnTo>
                  <a:lnTo>
                    <a:pt x="1144" y="538"/>
                  </a:lnTo>
                  <a:lnTo>
                    <a:pt x="1141" y="542"/>
                  </a:lnTo>
                  <a:lnTo>
                    <a:pt x="1144" y="540"/>
                  </a:lnTo>
                  <a:lnTo>
                    <a:pt x="1147" y="543"/>
                  </a:lnTo>
                  <a:lnTo>
                    <a:pt x="1151" y="540"/>
                  </a:lnTo>
                  <a:lnTo>
                    <a:pt x="1151" y="543"/>
                  </a:lnTo>
                  <a:lnTo>
                    <a:pt x="1154" y="544"/>
                  </a:lnTo>
                  <a:lnTo>
                    <a:pt x="1151" y="552"/>
                  </a:lnTo>
                  <a:lnTo>
                    <a:pt x="1159" y="544"/>
                  </a:lnTo>
                  <a:lnTo>
                    <a:pt x="1159" y="547"/>
                  </a:lnTo>
                  <a:lnTo>
                    <a:pt x="1161" y="545"/>
                  </a:lnTo>
                  <a:lnTo>
                    <a:pt x="1162" y="551"/>
                  </a:lnTo>
                  <a:lnTo>
                    <a:pt x="1164" y="552"/>
                  </a:lnTo>
                  <a:lnTo>
                    <a:pt x="1170" y="554"/>
                  </a:lnTo>
                  <a:lnTo>
                    <a:pt x="1175" y="550"/>
                  </a:lnTo>
                  <a:lnTo>
                    <a:pt x="1177" y="552"/>
                  </a:lnTo>
                  <a:lnTo>
                    <a:pt x="1176" y="554"/>
                  </a:lnTo>
                  <a:lnTo>
                    <a:pt x="1182" y="557"/>
                  </a:lnTo>
                  <a:lnTo>
                    <a:pt x="1184" y="559"/>
                  </a:lnTo>
                  <a:lnTo>
                    <a:pt x="1182" y="563"/>
                  </a:lnTo>
                  <a:lnTo>
                    <a:pt x="1176" y="563"/>
                  </a:lnTo>
                  <a:lnTo>
                    <a:pt x="1167" y="568"/>
                  </a:lnTo>
                  <a:lnTo>
                    <a:pt x="1155" y="571"/>
                  </a:lnTo>
                  <a:lnTo>
                    <a:pt x="1153" y="573"/>
                  </a:lnTo>
                  <a:lnTo>
                    <a:pt x="1149" y="576"/>
                  </a:lnTo>
                  <a:lnTo>
                    <a:pt x="1145" y="582"/>
                  </a:lnTo>
                  <a:lnTo>
                    <a:pt x="1135" y="578"/>
                  </a:lnTo>
                  <a:lnTo>
                    <a:pt x="1132" y="578"/>
                  </a:lnTo>
                  <a:lnTo>
                    <a:pt x="1132" y="580"/>
                  </a:lnTo>
                  <a:lnTo>
                    <a:pt x="1144" y="584"/>
                  </a:lnTo>
                  <a:lnTo>
                    <a:pt x="1142" y="591"/>
                  </a:lnTo>
                  <a:lnTo>
                    <a:pt x="1166" y="573"/>
                  </a:lnTo>
                  <a:lnTo>
                    <a:pt x="1169" y="570"/>
                  </a:lnTo>
                  <a:lnTo>
                    <a:pt x="1176" y="568"/>
                  </a:lnTo>
                  <a:lnTo>
                    <a:pt x="1186" y="568"/>
                  </a:lnTo>
                  <a:lnTo>
                    <a:pt x="1186" y="578"/>
                  </a:lnTo>
                  <a:lnTo>
                    <a:pt x="1185" y="580"/>
                  </a:lnTo>
                  <a:lnTo>
                    <a:pt x="1186" y="587"/>
                  </a:lnTo>
                  <a:lnTo>
                    <a:pt x="1191" y="579"/>
                  </a:lnTo>
                  <a:lnTo>
                    <a:pt x="1197" y="579"/>
                  </a:lnTo>
                  <a:lnTo>
                    <a:pt x="1196" y="580"/>
                  </a:lnTo>
                  <a:lnTo>
                    <a:pt x="1205" y="584"/>
                  </a:lnTo>
                  <a:lnTo>
                    <a:pt x="1203" y="586"/>
                  </a:lnTo>
                  <a:lnTo>
                    <a:pt x="1208" y="591"/>
                  </a:lnTo>
                  <a:lnTo>
                    <a:pt x="1208" y="593"/>
                  </a:lnTo>
                  <a:lnTo>
                    <a:pt x="1205" y="595"/>
                  </a:lnTo>
                  <a:lnTo>
                    <a:pt x="1199" y="592"/>
                  </a:lnTo>
                  <a:lnTo>
                    <a:pt x="1202" y="596"/>
                  </a:lnTo>
                  <a:lnTo>
                    <a:pt x="1205" y="597"/>
                  </a:lnTo>
                  <a:lnTo>
                    <a:pt x="1205" y="599"/>
                  </a:lnTo>
                  <a:lnTo>
                    <a:pt x="1205" y="602"/>
                  </a:lnTo>
                  <a:lnTo>
                    <a:pt x="1207" y="606"/>
                  </a:lnTo>
                  <a:lnTo>
                    <a:pt x="1204" y="607"/>
                  </a:lnTo>
                  <a:lnTo>
                    <a:pt x="1208" y="609"/>
                  </a:lnTo>
                  <a:lnTo>
                    <a:pt x="1209" y="612"/>
                  </a:lnTo>
                  <a:lnTo>
                    <a:pt x="1204" y="610"/>
                  </a:lnTo>
                  <a:lnTo>
                    <a:pt x="1209" y="616"/>
                  </a:lnTo>
                  <a:lnTo>
                    <a:pt x="1195" y="631"/>
                  </a:lnTo>
                  <a:lnTo>
                    <a:pt x="1191" y="632"/>
                  </a:lnTo>
                  <a:lnTo>
                    <a:pt x="1188" y="632"/>
                  </a:lnTo>
                  <a:lnTo>
                    <a:pt x="1170" y="636"/>
                  </a:lnTo>
                  <a:lnTo>
                    <a:pt x="1164" y="642"/>
                  </a:lnTo>
                  <a:lnTo>
                    <a:pt x="1162" y="641"/>
                  </a:lnTo>
                  <a:lnTo>
                    <a:pt x="1155" y="653"/>
                  </a:lnTo>
                  <a:lnTo>
                    <a:pt x="1153" y="654"/>
                  </a:lnTo>
                  <a:lnTo>
                    <a:pt x="1147" y="659"/>
                  </a:lnTo>
                  <a:lnTo>
                    <a:pt x="1144" y="658"/>
                  </a:lnTo>
                  <a:lnTo>
                    <a:pt x="1145" y="655"/>
                  </a:lnTo>
                  <a:lnTo>
                    <a:pt x="1142" y="659"/>
                  </a:lnTo>
                  <a:lnTo>
                    <a:pt x="1124" y="663"/>
                  </a:lnTo>
                  <a:lnTo>
                    <a:pt x="1120" y="659"/>
                  </a:lnTo>
                  <a:lnTo>
                    <a:pt x="1084" y="657"/>
                  </a:lnTo>
                  <a:lnTo>
                    <a:pt x="1058" y="659"/>
                  </a:lnTo>
                  <a:lnTo>
                    <a:pt x="1057" y="662"/>
                  </a:lnTo>
                  <a:lnTo>
                    <a:pt x="1053" y="663"/>
                  </a:lnTo>
                  <a:lnTo>
                    <a:pt x="1051" y="664"/>
                  </a:lnTo>
                  <a:lnTo>
                    <a:pt x="1047" y="669"/>
                  </a:lnTo>
                  <a:lnTo>
                    <a:pt x="1044" y="679"/>
                  </a:lnTo>
                  <a:lnTo>
                    <a:pt x="1033" y="680"/>
                  </a:lnTo>
                  <a:lnTo>
                    <a:pt x="1029" y="683"/>
                  </a:lnTo>
                  <a:lnTo>
                    <a:pt x="1021" y="690"/>
                  </a:lnTo>
                  <a:lnTo>
                    <a:pt x="1014" y="701"/>
                  </a:lnTo>
                  <a:lnTo>
                    <a:pt x="1008" y="703"/>
                  </a:lnTo>
                  <a:lnTo>
                    <a:pt x="1009" y="708"/>
                  </a:lnTo>
                  <a:lnTo>
                    <a:pt x="1003" y="718"/>
                  </a:lnTo>
                  <a:lnTo>
                    <a:pt x="990" y="731"/>
                  </a:lnTo>
                  <a:lnTo>
                    <a:pt x="996" y="729"/>
                  </a:lnTo>
                  <a:lnTo>
                    <a:pt x="1008" y="714"/>
                  </a:lnTo>
                  <a:lnTo>
                    <a:pt x="1012" y="708"/>
                  </a:lnTo>
                  <a:lnTo>
                    <a:pt x="1021" y="699"/>
                  </a:lnTo>
                  <a:lnTo>
                    <a:pt x="1054" y="683"/>
                  </a:lnTo>
                  <a:lnTo>
                    <a:pt x="1068" y="680"/>
                  </a:lnTo>
                  <a:lnTo>
                    <a:pt x="1076" y="681"/>
                  </a:lnTo>
                  <a:lnTo>
                    <a:pt x="1086" y="686"/>
                  </a:lnTo>
                  <a:lnTo>
                    <a:pt x="1088" y="690"/>
                  </a:lnTo>
                  <a:lnTo>
                    <a:pt x="1085" y="690"/>
                  </a:lnTo>
                  <a:lnTo>
                    <a:pt x="1087" y="692"/>
                  </a:lnTo>
                  <a:lnTo>
                    <a:pt x="1087" y="696"/>
                  </a:lnTo>
                  <a:lnTo>
                    <a:pt x="1073" y="706"/>
                  </a:lnTo>
                  <a:lnTo>
                    <a:pt x="1065" y="703"/>
                  </a:lnTo>
                  <a:lnTo>
                    <a:pt x="1065" y="709"/>
                  </a:lnTo>
                  <a:lnTo>
                    <a:pt x="1067" y="714"/>
                  </a:lnTo>
                  <a:lnTo>
                    <a:pt x="1075" y="710"/>
                  </a:lnTo>
                  <a:lnTo>
                    <a:pt x="1079" y="713"/>
                  </a:lnTo>
                  <a:lnTo>
                    <a:pt x="1079" y="715"/>
                  </a:lnTo>
                  <a:lnTo>
                    <a:pt x="1077" y="722"/>
                  </a:lnTo>
                  <a:lnTo>
                    <a:pt x="1073" y="726"/>
                  </a:lnTo>
                  <a:lnTo>
                    <a:pt x="1079" y="727"/>
                  </a:lnTo>
                  <a:lnTo>
                    <a:pt x="1079" y="734"/>
                  </a:lnTo>
                  <a:lnTo>
                    <a:pt x="1084" y="743"/>
                  </a:lnTo>
                  <a:lnTo>
                    <a:pt x="1093" y="746"/>
                  </a:lnTo>
                  <a:lnTo>
                    <a:pt x="1094" y="747"/>
                  </a:lnTo>
                  <a:lnTo>
                    <a:pt x="1092" y="749"/>
                  </a:lnTo>
                  <a:lnTo>
                    <a:pt x="1091" y="750"/>
                  </a:lnTo>
                  <a:lnTo>
                    <a:pt x="1108" y="754"/>
                  </a:lnTo>
                  <a:lnTo>
                    <a:pt x="1109" y="755"/>
                  </a:lnTo>
                  <a:lnTo>
                    <a:pt x="1115" y="755"/>
                  </a:lnTo>
                  <a:lnTo>
                    <a:pt x="1120" y="751"/>
                  </a:lnTo>
                  <a:lnTo>
                    <a:pt x="1121" y="754"/>
                  </a:lnTo>
                  <a:lnTo>
                    <a:pt x="1120" y="756"/>
                  </a:lnTo>
                  <a:lnTo>
                    <a:pt x="1127" y="755"/>
                  </a:lnTo>
                  <a:lnTo>
                    <a:pt x="1129" y="757"/>
                  </a:lnTo>
                  <a:lnTo>
                    <a:pt x="1130" y="759"/>
                  </a:lnTo>
                  <a:lnTo>
                    <a:pt x="1128" y="762"/>
                  </a:lnTo>
                  <a:lnTo>
                    <a:pt x="1132" y="762"/>
                  </a:lnTo>
                  <a:lnTo>
                    <a:pt x="1133" y="763"/>
                  </a:lnTo>
                  <a:lnTo>
                    <a:pt x="1132" y="764"/>
                  </a:lnTo>
                  <a:lnTo>
                    <a:pt x="1124" y="764"/>
                  </a:lnTo>
                  <a:lnTo>
                    <a:pt x="1107" y="774"/>
                  </a:lnTo>
                  <a:lnTo>
                    <a:pt x="1100" y="776"/>
                  </a:lnTo>
                  <a:lnTo>
                    <a:pt x="1097" y="775"/>
                  </a:lnTo>
                  <a:lnTo>
                    <a:pt x="1097" y="780"/>
                  </a:lnTo>
                  <a:lnTo>
                    <a:pt x="1094" y="780"/>
                  </a:lnTo>
                  <a:lnTo>
                    <a:pt x="1092" y="776"/>
                  </a:lnTo>
                  <a:lnTo>
                    <a:pt x="1090" y="780"/>
                  </a:lnTo>
                  <a:lnTo>
                    <a:pt x="1089" y="777"/>
                  </a:lnTo>
                  <a:lnTo>
                    <a:pt x="1087" y="783"/>
                  </a:lnTo>
                  <a:lnTo>
                    <a:pt x="1076" y="795"/>
                  </a:lnTo>
                  <a:lnTo>
                    <a:pt x="1073" y="795"/>
                  </a:lnTo>
                  <a:lnTo>
                    <a:pt x="1071" y="798"/>
                  </a:lnTo>
                  <a:lnTo>
                    <a:pt x="1067" y="798"/>
                  </a:lnTo>
                  <a:lnTo>
                    <a:pt x="1064" y="792"/>
                  </a:lnTo>
                  <a:lnTo>
                    <a:pt x="1062" y="792"/>
                  </a:lnTo>
                  <a:lnTo>
                    <a:pt x="1061" y="788"/>
                  </a:lnTo>
                  <a:lnTo>
                    <a:pt x="1061" y="782"/>
                  </a:lnTo>
                  <a:lnTo>
                    <a:pt x="1064" y="777"/>
                  </a:lnTo>
                  <a:lnTo>
                    <a:pt x="1060" y="780"/>
                  </a:lnTo>
                  <a:lnTo>
                    <a:pt x="1065" y="775"/>
                  </a:lnTo>
                  <a:lnTo>
                    <a:pt x="1069" y="774"/>
                  </a:lnTo>
                  <a:lnTo>
                    <a:pt x="1069" y="773"/>
                  </a:lnTo>
                  <a:lnTo>
                    <a:pt x="1085" y="763"/>
                  </a:lnTo>
                  <a:lnTo>
                    <a:pt x="1088" y="767"/>
                  </a:lnTo>
                  <a:lnTo>
                    <a:pt x="1093" y="763"/>
                  </a:lnTo>
                  <a:lnTo>
                    <a:pt x="1100" y="762"/>
                  </a:lnTo>
                  <a:lnTo>
                    <a:pt x="1100" y="761"/>
                  </a:lnTo>
                  <a:lnTo>
                    <a:pt x="1086" y="760"/>
                  </a:lnTo>
                  <a:lnTo>
                    <a:pt x="1079" y="762"/>
                  </a:lnTo>
                  <a:lnTo>
                    <a:pt x="1079" y="759"/>
                  </a:lnTo>
                  <a:lnTo>
                    <a:pt x="1086" y="753"/>
                  </a:lnTo>
                  <a:lnTo>
                    <a:pt x="1084" y="753"/>
                  </a:lnTo>
                  <a:lnTo>
                    <a:pt x="1083" y="751"/>
                  </a:lnTo>
                  <a:lnTo>
                    <a:pt x="1080" y="755"/>
                  </a:lnTo>
                  <a:lnTo>
                    <a:pt x="1067" y="764"/>
                  </a:lnTo>
                  <a:lnTo>
                    <a:pt x="1062" y="763"/>
                  </a:lnTo>
                  <a:lnTo>
                    <a:pt x="1061" y="765"/>
                  </a:lnTo>
                  <a:lnTo>
                    <a:pt x="1059" y="767"/>
                  </a:lnTo>
                  <a:lnTo>
                    <a:pt x="1053" y="767"/>
                  </a:lnTo>
                  <a:lnTo>
                    <a:pt x="1047" y="765"/>
                  </a:lnTo>
                  <a:lnTo>
                    <a:pt x="1046" y="767"/>
                  </a:lnTo>
                  <a:lnTo>
                    <a:pt x="1044" y="766"/>
                  </a:lnTo>
                  <a:lnTo>
                    <a:pt x="1040" y="763"/>
                  </a:lnTo>
                  <a:lnTo>
                    <a:pt x="1040" y="758"/>
                  </a:lnTo>
                  <a:lnTo>
                    <a:pt x="1036" y="756"/>
                  </a:lnTo>
                  <a:lnTo>
                    <a:pt x="1036" y="742"/>
                  </a:lnTo>
                  <a:lnTo>
                    <a:pt x="1036" y="728"/>
                  </a:lnTo>
                  <a:lnTo>
                    <a:pt x="1030" y="722"/>
                  </a:lnTo>
                  <a:lnTo>
                    <a:pt x="1022" y="725"/>
                  </a:lnTo>
                  <a:lnTo>
                    <a:pt x="1018" y="724"/>
                  </a:lnTo>
                  <a:lnTo>
                    <a:pt x="1018" y="723"/>
                  </a:lnTo>
                  <a:lnTo>
                    <a:pt x="1015" y="720"/>
                  </a:lnTo>
                  <a:lnTo>
                    <a:pt x="1012" y="721"/>
                  </a:lnTo>
                  <a:lnTo>
                    <a:pt x="1005" y="733"/>
                  </a:lnTo>
                  <a:lnTo>
                    <a:pt x="1004" y="738"/>
                  </a:lnTo>
                  <a:lnTo>
                    <a:pt x="1001" y="748"/>
                  </a:lnTo>
                  <a:lnTo>
                    <a:pt x="1000" y="756"/>
                  </a:lnTo>
                  <a:lnTo>
                    <a:pt x="996" y="760"/>
                  </a:lnTo>
                  <a:lnTo>
                    <a:pt x="996" y="763"/>
                  </a:lnTo>
                  <a:lnTo>
                    <a:pt x="990" y="764"/>
                  </a:lnTo>
                  <a:lnTo>
                    <a:pt x="986" y="765"/>
                  </a:lnTo>
                  <a:lnTo>
                    <a:pt x="983" y="770"/>
                  </a:lnTo>
                  <a:lnTo>
                    <a:pt x="969" y="770"/>
                  </a:lnTo>
                  <a:lnTo>
                    <a:pt x="938" y="770"/>
                  </a:lnTo>
                  <a:close/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42" name="Freeform 20"/>
            <p:cNvSpPr>
              <a:spLocks/>
            </p:cNvSpPr>
            <p:nvPr/>
          </p:nvSpPr>
          <p:spPr bwMode="auto">
            <a:xfrm>
              <a:off x="2173" y="1992"/>
              <a:ext cx="32" cy="22"/>
            </a:xfrm>
            <a:custGeom>
              <a:avLst/>
              <a:gdLst>
                <a:gd name="T0" fmla="*/ 5 w 32"/>
                <a:gd name="T1" fmla="*/ 3 h 22"/>
                <a:gd name="T2" fmla="*/ 4 w 32"/>
                <a:gd name="T3" fmla="*/ 6 h 22"/>
                <a:gd name="T4" fmla="*/ 8 w 32"/>
                <a:gd name="T5" fmla="*/ 11 h 22"/>
                <a:gd name="T6" fmla="*/ 12 w 32"/>
                <a:gd name="T7" fmla="*/ 11 h 22"/>
                <a:gd name="T8" fmla="*/ 19 w 32"/>
                <a:gd name="T9" fmla="*/ 14 h 22"/>
                <a:gd name="T10" fmla="*/ 32 w 32"/>
                <a:gd name="T11" fmla="*/ 12 h 22"/>
                <a:gd name="T12" fmla="*/ 32 w 32"/>
                <a:gd name="T13" fmla="*/ 14 h 22"/>
                <a:gd name="T14" fmla="*/ 27 w 32"/>
                <a:gd name="T15" fmla="*/ 17 h 22"/>
                <a:gd name="T16" fmla="*/ 27 w 32"/>
                <a:gd name="T17" fmla="*/ 22 h 22"/>
                <a:gd name="T18" fmla="*/ 24 w 32"/>
                <a:gd name="T19" fmla="*/ 22 h 22"/>
                <a:gd name="T20" fmla="*/ 21 w 32"/>
                <a:gd name="T21" fmla="*/ 21 h 22"/>
                <a:gd name="T22" fmla="*/ 18 w 32"/>
                <a:gd name="T23" fmla="*/ 16 h 22"/>
                <a:gd name="T24" fmla="*/ 15 w 32"/>
                <a:gd name="T25" fmla="*/ 18 h 22"/>
                <a:gd name="T26" fmla="*/ 5 w 32"/>
                <a:gd name="T27" fmla="*/ 13 h 22"/>
                <a:gd name="T28" fmla="*/ 3 w 32"/>
                <a:gd name="T29" fmla="*/ 11 h 22"/>
                <a:gd name="T30" fmla="*/ 4 w 32"/>
                <a:gd name="T31" fmla="*/ 10 h 22"/>
                <a:gd name="T32" fmla="*/ 0 w 32"/>
                <a:gd name="T33" fmla="*/ 8 h 22"/>
                <a:gd name="T34" fmla="*/ 0 w 32"/>
                <a:gd name="T35" fmla="*/ 6 h 22"/>
                <a:gd name="T36" fmla="*/ 5 w 32"/>
                <a:gd name="T37" fmla="*/ 0 h 22"/>
                <a:gd name="T38" fmla="*/ 5 w 32"/>
                <a:gd name="T39" fmla="*/ 3 h 2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32"/>
                <a:gd name="T61" fmla="*/ 0 h 22"/>
                <a:gd name="T62" fmla="*/ 32 w 32"/>
                <a:gd name="T63" fmla="*/ 22 h 22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32" h="22">
                  <a:moveTo>
                    <a:pt x="5" y="3"/>
                  </a:moveTo>
                  <a:lnTo>
                    <a:pt x="4" y="6"/>
                  </a:lnTo>
                  <a:lnTo>
                    <a:pt x="8" y="11"/>
                  </a:lnTo>
                  <a:lnTo>
                    <a:pt x="12" y="11"/>
                  </a:lnTo>
                  <a:lnTo>
                    <a:pt x="19" y="14"/>
                  </a:lnTo>
                  <a:lnTo>
                    <a:pt x="32" y="12"/>
                  </a:lnTo>
                  <a:lnTo>
                    <a:pt x="32" y="14"/>
                  </a:lnTo>
                  <a:lnTo>
                    <a:pt x="27" y="17"/>
                  </a:lnTo>
                  <a:lnTo>
                    <a:pt x="27" y="22"/>
                  </a:lnTo>
                  <a:lnTo>
                    <a:pt x="24" y="22"/>
                  </a:lnTo>
                  <a:lnTo>
                    <a:pt x="21" y="21"/>
                  </a:lnTo>
                  <a:lnTo>
                    <a:pt x="18" y="16"/>
                  </a:lnTo>
                  <a:lnTo>
                    <a:pt x="15" y="18"/>
                  </a:lnTo>
                  <a:lnTo>
                    <a:pt x="5" y="13"/>
                  </a:lnTo>
                  <a:lnTo>
                    <a:pt x="3" y="11"/>
                  </a:lnTo>
                  <a:lnTo>
                    <a:pt x="4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5" y="0"/>
                  </a:lnTo>
                  <a:lnTo>
                    <a:pt x="5" y="3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43" name="Freeform 21"/>
            <p:cNvSpPr>
              <a:spLocks/>
            </p:cNvSpPr>
            <p:nvPr/>
          </p:nvSpPr>
          <p:spPr bwMode="auto">
            <a:xfrm>
              <a:off x="1209" y="1856"/>
              <a:ext cx="17" cy="25"/>
            </a:xfrm>
            <a:custGeom>
              <a:avLst/>
              <a:gdLst>
                <a:gd name="T0" fmla="*/ 4 w 17"/>
                <a:gd name="T1" fmla="*/ 12 h 25"/>
                <a:gd name="T2" fmla="*/ 4 w 17"/>
                <a:gd name="T3" fmla="*/ 7 h 25"/>
                <a:gd name="T4" fmla="*/ 2 w 17"/>
                <a:gd name="T5" fmla="*/ 8 h 25"/>
                <a:gd name="T6" fmla="*/ 2 w 17"/>
                <a:gd name="T7" fmla="*/ 8 h 25"/>
                <a:gd name="T8" fmla="*/ 2 w 17"/>
                <a:gd name="T9" fmla="*/ 5 h 25"/>
                <a:gd name="T10" fmla="*/ 0 w 17"/>
                <a:gd name="T11" fmla="*/ 4 h 25"/>
                <a:gd name="T12" fmla="*/ 8 w 17"/>
                <a:gd name="T13" fmla="*/ 0 h 25"/>
                <a:gd name="T14" fmla="*/ 10 w 17"/>
                <a:gd name="T15" fmla="*/ 3 h 25"/>
                <a:gd name="T16" fmla="*/ 7 w 17"/>
                <a:gd name="T17" fmla="*/ 4 h 25"/>
                <a:gd name="T18" fmla="*/ 11 w 17"/>
                <a:gd name="T19" fmla="*/ 7 h 25"/>
                <a:gd name="T20" fmla="*/ 7 w 17"/>
                <a:gd name="T21" fmla="*/ 8 h 25"/>
                <a:gd name="T22" fmla="*/ 7 w 17"/>
                <a:gd name="T23" fmla="*/ 13 h 25"/>
                <a:gd name="T24" fmla="*/ 13 w 17"/>
                <a:gd name="T25" fmla="*/ 18 h 25"/>
                <a:gd name="T26" fmla="*/ 17 w 17"/>
                <a:gd name="T27" fmla="*/ 25 h 25"/>
                <a:gd name="T28" fmla="*/ 4 w 17"/>
                <a:gd name="T29" fmla="*/ 12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7"/>
                <a:gd name="T46" fmla="*/ 0 h 25"/>
                <a:gd name="T47" fmla="*/ 17 w 17"/>
                <a:gd name="T48" fmla="*/ 25 h 2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7" h="25">
                  <a:moveTo>
                    <a:pt x="4" y="12"/>
                  </a:moveTo>
                  <a:lnTo>
                    <a:pt x="4" y="7"/>
                  </a:lnTo>
                  <a:lnTo>
                    <a:pt x="2" y="8"/>
                  </a:lnTo>
                  <a:lnTo>
                    <a:pt x="2" y="5"/>
                  </a:lnTo>
                  <a:lnTo>
                    <a:pt x="0" y="4"/>
                  </a:lnTo>
                  <a:lnTo>
                    <a:pt x="8" y="0"/>
                  </a:lnTo>
                  <a:lnTo>
                    <a:pt x="10" y="3"/>
                  </a:lnTo>
                  <a:lnTo>
                    <a:pt x="7" y="4"/>
                  </a:lnTo>
                  <a:lnTo>
                    <a:pt x="11" y="7"/>
                  </a:lnTo>
                  <a:lnTo>
                    <a:pt x="7" y="8"/>
                  </a:lnTo>
                  <a:lnTo>
                    <a:pt x="7" y="13"/>
                  </a:lnTo>
                  <a:lnTo>
                    <a:pt x="13" y="18"/>
                  </a:lnTo>
                  <a:lnTo>
                    <a:pt x="17" y="25"/>
                  </a:lnTo>
                  <a:lnTo>
                    <a:pt x="4" y="12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44" name="Freeform 22"/>
            <p:cNvSpPr>
              <a:spLocks/>
            </p:cNvSpPr>
            <p:nvPr/>
          </p:nvSpPr>
          <p:spPr bwMode="auto">
            <a:xfrm>
              <a:off x="1199" y="1834"/>
              <a:ext cx="20" cy="24"/>
            </a:xfrm>
            <a:custGeom>
              <a:avLst/>
              <a:gdLst>
                <a:gd name="T0" fmla="*/ 15 w 20"/>
                <a:gd name="T1" fmla="*/ 3 h 24"/>
                <a:gd name="T2" fmla="*/ 19 w 20"/>
                <a:gd name="T3" fmla="*/ 1 h 24"/>
                <a:gd name="T4" fmla="*/ 20 w 20"/>
                <a:gd name="T5" fmla="*/ 4 h 24"/>
                <a:gd name="T6" fmla="*/ 17 w 20"/>
                <a:gd name="T7" fmla="*/ 19 h 24"/>
                <a:gd name="T8" fmla="*/ 15 w 20"/>
                <a:gd name="T9" fmla="*/ 22 h 24"/>
                <a:gd name="T10" fmla="*/ 12 w 20"/>
                <a:gd name="T11" fmla="*/ 21 h 24"/>
                <a:gd name="T12" fmla="*/ 11 w 20"/>
                <a:gd name="T13" fmla="*/ 24 h 24"/>
                <a:gd name="T14" fmla="*/ 8 w 20"/>
                <a:gd name="T15" fmla="*/ 19 h 24"/>
                <a:gd name="T16" fmla="*/ 10 w 20"/>
                <a:gd name="T17" fmla="*/ 18 h 24"/>
                <a:gd name="T18" fmla="*/ 10 w 20"/>
                <a:gd name="T19" fmla="*/ 16 h 24"/>
                <a:gd name="T20" fmla="*/ 4 w 20"/>
                <a:gd name="T21" fmla="*/ 13 h 24"/>
                <a:gd name="T22" fmla="*/ 0 w 20"/>
                <a:gd name="T23" fmla="*/ 5 h 24"/>
                <a:gd name="T24" fmla="*/ 0 w 20"/>
                <a:gd name="T25" fmla="*/ 0 h 24"/>
                <a:gd name="T26" fmla="*/ 7 w 20"/>
                <a:gd name="T27" fmla="*/ 1 h 24"/>
                <a:gd name="T28" fmla="*/ 6 w 20"/>
                <a:gd name="T29" fmla="*/ 5 h 24"/>
                <a:gd name="T30" fmla="*/ 11 w 20"/>
                <a:gd name="T31" fmla="*/ 1 h 24"/>
                <a:gd name="T32" fmla="*/ 12 w 20"/>
                <a:gd name="T33" fmla="*/ 8 h 24"/>
                <a:gd name="T34" fmla="*/ 7 w 20"/>
                <a:gd name="T35" fmla="*/ 11 h 24"/>
                <a:gd name="T36" fmla="*/ 11 w 20"/>
                <a:gd name="T37" fmla="*/ 13 h 24"/>
                <a:gd name="T38" fmla="*/ 15 w 20"/>
                <a:gd name="T39" fmla="*/ 3 h 2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0"/>
                <a:gd name="T61" fmla="*/ 0 h 24"/>
                <a:gd name="T62" fmla="*/ 20 w 20"/>
                <a:gd name="T63" fmla="*/ 24 h 2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0" h="24">
                  <a:moveTo>
                    <a:pt x="15" y="3"/>
                  </a:moveTo>
                  <a:lnTo>
                    <a:pt x="19" y="1"/>
                  </a:lnTo>
                  <a:lnTo>
                    <a:pt x="20" y="4"/>
                  </a:lnTo>
                  <a:lnTo>
                    <a:pt x="17" y="19"/>
                  </a:lnTo>
                  <a:lnTo>
                    <a:pt x="15" y="22"/>
                  </a:lnTo>
                  <a:lnTo>
                    <a:pt x="12" y="21"/>
                  </a:lnTo>
                  <a:lnTo>
                    <a:pt x="11" y="24"/>
                  </a:lnTo>
                  <a:lnTo>
                    <a:pt x="8" y="19"/>
                  </a:lnTo>
                  <a:lnTo>
                    <a:pt x="10" y="18"/>
                  </a:lnTo>
                  <a:lnTo>
                    <a:pt x="10" y="16"/>
                  </a:lnTo>
                  <a:lnTo>
                    <a:pt x="4" y="13"/>
                  </a:lnTo>
                  <a:lnTo>
                    <a:pt x="0" y="5"/>
                  </a:lnTo>
                  <a:lnTo>
                    <a:pt x="0" y="0"/>
                  </a:lnTo>
                  <a:lnTo>
                    <a:pt x="7" y="1"/>
                  </a:lnTo>
                  <a:lnTo>
                    <a:pt x="6" y="5"/>
                  </a:lnTo>
                  <a:lnTo>
                    <a:pt x="11" y="1"/>
                  </a:lnTo>
                  <a:lnTo>
                    <a:pt x="12" y="8"/>
                  </a:lnTo>
                  <a:lnTo>
                    <a:pt x="7" y="11"/>
                  </a:lnTo>
                  <a:lnTo>
                    <a:pt x="11" y="13"/>
                  </a:lnTo>
                  <a:lnTo>
                    <a:pt x="15" y="3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45" name="Freeform 23"/>
            <p:cNvSpPr>
              <a:spLocks/>
            </p:cNvSpPr>
            <p:nvPr/>
          </p:nvSpPr>
          <p:spPr bwMode="auto">
            <a:xfrm>
              <a:off x="1221" y="1806"/>
              <a:ext cx="2" cy="6"/>
            </a:xfrm>
            <a:custGeom>
              <a:avLst/>
              <a:gdLst>
                <a:gd name="T0" fmla="*/ 0 w 2"/>
                <a:gd name="T1" fmla="*/ 0 h 6"/>
                <a:gd name="T2" fmla="*/ 2 w 2"/>
                <a:gd name="T3" fmla="*/ 6 h 6"/>
                <a:gd name="T4" fmla="*/ 0 w 2"/>
                <a:gd name="T5" fmla="*/ 4 h 6"/>
                <a:gd name="T6" fmla="*/ 0 w 2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6"/>
                <a:gd name="T14" fmla="*/ 2 w 2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6">
                  <a:moveTo>
                    <a:pt x="0" y="0"/>
                  </a:moveTo>
                  <a:lnTo>
                    <a:pt x="2" y="6"/>
                  </a:lnTo>
                  <a:lnTo>
                    <a:pt x="0" y="4"/>
                  </a:lnTo>
                  <a:lnTo>
                    <a:pt x="0" y="0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46" name="Freeform 24"/>
            <p:cNvSpPr>
              <a:spLocks/>
            </p:cNvSpPr>
            <p:nvPr/>
          </p:nvSpPr>
          <p:spPr bwMode="auto">
            <a:xfrm>
              <a:off x="1198" y="1807"/>
              <a:ext cx="6" cy="12"/>
            </a:xfrm>
            <a:custGeom>
              <a:avLst/>
              <a:gdLst>
                <a:gd name="T0" fmla="*/ 2 w 6"/>
                <a:gd name="T1" fmla="*/ 6 h 12"/>
                <a:gd name="T2" fmla="*/ 6 w 6"/>
                <a:gd name="T3" fmla="*/ 12 h 12"/>
                <a:gd name="T4" fmla="*/ 3 w 6"/>
                <a:gd name="T5" fmla="*/ 12 h 12"/>
                <a:gd name="T6" fmla="*/ 0 w 6"/>
                <a:gd name="T7" fmla="*/ 6 h 12"/>
                <a:gd name="T8" fmla="*/ 0 w 6"/>
                <a:gd name="T9" fmla="*/ 0 h 12"/>
                <a:gd name="T10" fmla="*/ 2 w 6"/>
                <a:gd name="T11" fmla="*/ 6 h 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12"/>
                <a:gd name="T20" fmla="*/ 6 w 6"/>
                <a:gd name="T21" fmla="*/ 12 h 1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12">
                  <a:moveTo>
                    <a:pt x="2" y="6"/>
                  </a:moveTo>
                  <a:lnTo>
                    <a:pt x="6" y="12"/>
                  </a:lnTo>
                  <a:lnTo>
                    <a:pt x="3" y="12"/>
                  </a:lnTo>
                  <a:lnTo>
                    <a:pt x="0" y="6"/>
                  </a:lnTo>
                  <a:lnTo>
                    <a:pt x="0" y="0"/>
                  </a:lnTo>
                  <a:lnTo>
                    <a:pt x="2" y="6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47" name="Freeform 25"/>
            <p:cNvSpPr>
              <a:spLocks/>
            </p:cNvSpPr>
            <p:nvPr/>
          </p:nvSpPr>
          <p:spPr bwMode="auto">
            <a:xfrm>
              <a:off x="1218" y="1790"/>
              <a:ext cx="12" cy="19"/>
            </a:xfrm>
            <a:custGeom>
              <a:avLst/>
              <a:gdLst>
                <a:gd name="T0" fmla="*/ 5 w 12"/>
                <a:gd name="T1" fmla="*/ 16 h 19"/>
                <a:gd name="T2" fmla="*/ 7 w 12"/>
                <a:gd name="T3" fmla="*/ 15 h 19"/>
                <a:gd name="T4" fmla="*/ 8 w 12"/>
                <a:gd name="T5" fmla="*/ 19 h 19"/>
                <a:gd name="T6" fmla="*/ 12 w 12"/>
                <a:gd name="T7" fmla="*/ 19 h 19"/>
                <a:gd name="T8" fmla="*/ 11 w 12"/>
                <a:gd name="T9" fmla="*/ 14 h 19"/>
                <a:gd name="T10" fmla="*/ 11 w 12"/>
                <a:gd name="T11" fmla="*/ 8 h 19"/>
                <a:gd name="T12" fmla="*/ 8 w 12"/>
                <a:gd name="T13" fmla="*/ 0 h 19"/>
                <a:gd name="T14" fmla="*/ 2 w 12"/>
                <a:gd name="T15" fmla="*/ 4 h 19"/>
                <a:gd name="T16" fmla="*/ 3 w 12"/>
                <a:gd name="T17" fmla="*/ 6 h 19"/>
                <a:gd name="T18" fmla="*/ 0 w 12"/>
                <a:gd name="T19" fmla="*/ 13 h 19"/>
                <a:gd name="T20" fmla="*/ 3 w 12"/>
                <a:gd name="T21" fmla="*/ 15 h 19"/>
                <a:gd name="T22" fmla="*/ 4 w 12"/>
                <a:gd name="T23" fmla="*/ 11 h 19"/>
                <a:gd name="T24" fmla="*/ 5 w 12"/>
                <a:gd name="T25" fmla="*/ 12 h 19"/>
                <a:gd name="T26" fmla="*/ 5 w 12"/>
                <a:gd name="T27" fmla="*/ 8 h 19"/>
                <a:gd name="T28" fmla="*/ 6 w 12"/>
                <a:gd name="T29" fmla="*/ 12 h 19"/>
                <a:gd name="T30" fmla="*/ 5 w 12"/>
                <a:gd name="T31" fmla="*/ 16 h 1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"/>
                <a:gd name="T49" fmla="*/ 0 h 19"/>
                <a:gd name="T50" fmla="*/ 12 w 12"/>
                <a:gd name="T51" fmla="*/ 19 h 1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" h="19">
                  <a:moveTo>
                    <a:pt x="5" y="16"/>
                  </a:moveTo>
                  <a:lnTo>
                    <a:pt x="7" y="15"/>
                  </a:lnTo>
                  <a:lnTo>
                    <a:pt x="8" y="19"/>
                  </a:lnTo>
                  <a:lnTo>
                    <a:pt x="12" y="19"/>
                  </a:lnTo>
                  <a:lnTo>
                    <a:pt x="11" y="14"/>
                  </a:lnTo>
                  <a:lnTo>
                    <a:pt x="11" y="8"/>
                  </a:lnTo>
                  <a:lnTo>
                    <a:pt x="8" y="0"/>
                  </a:lnTo>
                  <a:lnTo>
                    <a:pt x="2" y="4"/>
                  </a:lnTo>
                  <a:lnTo>
                    <a:pt x="3" y="6"/>
                  </a:lnTo>
                  <a:lnTo>
                    <a:pt x="0" y="13"/>
                  </a:lnTo>
                  <a:lnTo>
                    <a:pt x="3" y="15"/>
                  </a:lnTo>
                  <a:lnTo>
                    <a:pt x="4" y="11"/>
                  </a:lnTo>
                  <a:lnTo>
                    <a:pt x="5" y="12"/>
                  </a:lnTo>
                  <a:lnTo>
                    <a:pt x="5" y="8"/>
                  </a:lnTo>
                  <a:lnTo>
                    <a:pt x="6" y="12"/>
                  </a:lnTo>
                  <a:lnTo>
                    <a:pt x="5" y="16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48" name="Freeform 26"/>
            <p:cNvSpPr>
              <a:spLocks/>
            </p:cNvSpPr>
            <p:nvPr/>
          </p:nvSpPr>
          <p:spPr bwMode="auto">
            <a:xfrm>
              <a:off x="1190" y="1780"/>
              <a:ext cx="25" cy="40"/>
            </a:xfrm>
            <a:custGeom>
              <a:avLst/>
              <a:gdLst>
                <a:gd name="T0" fmla="*/ 14 w 25"/>
                <a:gd name="T1" fmla="*/ 8 h 40"/>
                <a:gd name="T2" fmla="*/ 18 w 25"/>
                <a:gd name="T3" fmla="*/ 14 h 40"/>
                <a:gd name="T4" fmla="*/ 17 w 25"/>
                <a:gd name="T5" fmla="*/ 17 h 40"/>
                <a:gd name="T6" fmla="*/ 21 w 25"/>
                <a:gd name="T7" fmla="*/ 22 h 40"/>
                <a:gd name="T8" fmla="*/ 17 w 25"/>
                <a:gd name="T9" fmla="*/ 18 h 40"/>
                <a:gd name="T10" fmla="*/ 19 w 25"/>
                <a:gd name="T11" fmla="*/ 24 h 40"/>
                <a:gd name="T12" fmla="*/ 25 w 25"/>
                <a:gd name="T13" fmla="*/ 29 h 40"/>
                <a:gd name="T14" fmla="*/ 23 w 25"/>
                <a:gd name="T15" fmla="*/ 34 h 40"/>
                <a:gd name="T16" fmla="*/ 25 w 25"/>
                <a:gd name="T17" fmla="*/ 34 h 40"/>
                <a:gd name="T18" fmla="*/ 24 w 25"/>
                <a:gd name="T19" fmla="*/ 40 h 40"/>
                <a:gd name="T20" fmla="*/ 21 w 25"/>
                <a:gd name="T21" fmla="*/ 40 h 40"/>
                <a:gd name="T22" fmla="*/ 20 w 25"/>
                <a:gd name="T23" fmla="*/ 33 h 40"/>
                <a:gd name="T24" fmla="*/ 17 w 25"/>
                <a:gd name="T25" fmla="*/ 34 h 40"/>
                <a:gd name="T26" fmla="*/ 15 w 25"/>
                <a:gd name="T27" fmla="*/ 29 h 40"/>
                <a:gd name="T28" fmla="*/ 8 w 25"/>
                <a:gd name="T29" fmla="*/ 25 h 40"/>
                <a:gd name="T30" fmla="*/ 11 w 25"/>
                <a:gd name="T31" fmla="*/ 24 h 40"/>
                <a:gd name="T32" fmla="*/ 10 w 25"/>
                <a:gd name="T33" fmla="*/ 21 h 40"/>
                <a:gd name="T34" fmla="*/ 11 w 25"/>
                <a:gd name="T35" fmla="*/ 19 h 40"/>
                <a:gd name="T36" fmla="*/ 5 w 25"/>
                <a:gd name="T37" fmla="*/ 17 h 40"/>
                <a:gd name="T38" fmla="*/ 7 w 25"/>
                <a:gd name="T39" fmla="*/ 14 h 40"/>
                <a:gd name="T40" fmla="*/ 7 w 25"/>
                <a:gd name="T41" fmla="*/ 5 h 40"/>
                <a:gd name="T42" fmla="*/ 0 w 25"/>
                <a:gd name="T43" fmla="*/ 10 h 40"/>
                <a:gd name="T44" fmla="*/ 3 w 25"/>
                <a:gd name="T45" fmla="*/ 4 h 40"/>
                <a:gd name="T46" fmla="*/ 2 w 25"/>
                <a:gd name="T47" fmla="*/ 0 h 40"/>
                <a:gd name="T48" fmla="*/ 8 w 25"/>
                <a:gd name="T49" fmla="*/ 0 h 40"/>
                <a:gd name="T50" fmla="*/ 9 w 25"/>
                <a:gd name="T51" fmla="*/ 2 h 40"/>
                <a:gd name="T52" fmla="*/ 9 w 25"/>
                <a:gd name="T53" fmla="*/ 7 h 40"/>
                <a:gd name="T54" fmla="*/ 14 w 25"/>
                <a:gd name="T55" fmla="*/ 8 h 4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5"/>
                <a:gd name="T85" fmla="*/ 0 h 40"/>
                <a:gd name="T86" fmla="*/ 25 w 25"/>
                <a:gd name="T87" fmla="*/ 40 h 4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5" h="40">
                  <a:moveTo>
                    <a:pt x="14" y="8"/>
                  </a:moveTo>
                  <a:lnTo>
                    <a:pt x="18" y="14"/>
                  </a:lnTo>
                  <a:lnTo>
                    <a:pt x="17" y="17"/>
                  </a:lnTo>
                  <a:lnTo>
                    <a:pt x="21" y="22"/>
                  </a:lnTo>
                  <a:lnTo>
                    <a:pt x="17" y="18"/>
                  </a:lnTo>
                  <a:lnTo>
                    <a:pt x="19" y="24"/>
                  </a:lnTo>
                  <a:lnTo>
                    <a:pt x="25" y="29"/>
                  </a:lnTo>
                  <a:lnTo>
                    <a:pt x="23" y="34"/>
                  </a:lnTo>
                  <a:lnTo>
                    <a:pt x="25" y="34"/>
                  </a:lnTo>
                  <a:lnTo>
                    <a:pt x="24" y="40"/>
                  </a:lnTo>
                  <a:lnTo>
                    <a:pt x="21" y="40"/>
                  </a:lnTo>
                  <a:lnTo>
                    <a:pt x="20" y="33"/>
                  </a:lnTo>
                  <a:lnTo>
                    <a:pt x="17" y="34"/>
                  </a:lnTo>
                  <a:lnTo>
                    <a:pt x="15" y="29"/>
                  </a:lnTo>
                  <a:lnTo>
                    <a:pt x="8" y="25"/>
                  </a:lnTo>
                  <a:lnTo>
                    <a:pt x="11" y="24"/>
                  </a:lnTo>
                  <a:lnTo>
                    <a:pt x="10" y="21"/>
                  </a:lnTo>
                  <a:lnTo>
                    <a:pt x="11" y="19"/>
                  </a:lnTo>
                  <a:lnTo>
                    <a:pt x="5" y="17"/>
                  </a:lnTo>
                  <a:lnTo>
                    <a:pt x="7" y="14"/>
                  </a:lnTo>
                  <a:lnTo>
                    <a:pt x="7" y="5"/>
                  </a:lnTo>
                  <a:lnTo>
                    <a:pt x="0" y="10"/>
                  </a:lnTo>
                  <a:lnTo>
                    <a:pt x="3" y="4"/>
                  </a:lnTo>
                  <a:lnTo>
                    <a:pt x="2" y="0"/>
                  </a:lnTo>
                  <a:lnTo>
                    <a:pt x="8" y="0"/>
                  </a:lnTo>
                  <a:lnTo>
                    <a:pt x="9" y="2"/>
                  </a:lnTo>
                  <a:lnTo>
                    <a:pt x="9" y="7"/>
                  </a:lnTo>
                  <a:lnTo>
                    <a:pt x="14" y="8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49" name="Freeform 27"/>
            <p:cNvSpPr>
              <a:spLocks/>
            </p:cNvSpPr>
            <p:nvPr/>
          </p:nvSpPr>
          <p:spPr bwMode="auto">
            <a:xfrm>
              <a:off x="1152" y="1728"/>
              <a:ext cx="20" cy="24"/>
            </a:xfrm>
            <a:custGeom>
              <a:avLst/>
              <a:gdLst>
                <a:gd name="T0" fmla="*/ 19 w 20"/>
                <a:gd name="T1" fmla="*/ 7 h 24"/>
                <a:gd name="T2" fmla="*/ 20 w 20"/>
                <a:gd name="T3" fmla="*/ 11 h 24"/>
                <a:gd name="T4" fmla="*/ 17 w 20"/>
                <a:gd name="T5" fmla="*/ 10 h 24"/>
                <a:gd name="T6" fmla="*/ 19 w 20"/>
                <a:gd name="T7" fmla="*/ 14 h 24"/>
                <a:gd name="T8" fmla="*/ 20 w 20"/>
                <a:gd name="T9" fmla="*/ 16 h 24"/>
                <a:gd name="T10" fmla="*/ 20 w 20"/>
                <a:gd name="T11" fmla="*/ 23 h 24"/>
                <a:gd name="T12" fmla="*/ 9 w 20"/>
                <a:gd name="T13" fmla="*/ 15 h 24"/>
                <a:gd name="T14" fmla="*/ 11 w 20"/>
                <a:gd name="T15" fmla="*/ 23 h 24"/>
                <a:gd name="T16" fmla="*/ 9 w 20"/>
                <a:gd name="T17" fmla="*/ 24 h 24"/>
                <a:gd name="T18" fmla="*/ 6 w 20"/>
                <a:gd name="T19" fmla="*/ 23 h 24"/>
                <a:gd name="T20" fmla="*/ 7 w 20"/>
                <a:gd name="T21" fmla="*/ 21 h 24"/>
                <a:gd name="T22" fmla="*/ 1 w 20"/>
                <a:gd name="T23" fmla="*/ 13 h 24"/>
                <a:gd name="T24" fmla="*/ 1 w 20"/>
                <a:gd name="T25" fmla="*/ 10 h 24"/>
                <a:gd name="T26" fmla="*/ 3 w 20"/>
                <a:gd name="T27" fmla="*/ 10 h 24"/>
                <a:gd name="T28" fmla="*/ 0 w 20"/>
                <a:gd name="T29" fmla="*/ 5 h 24"/>
                <a:gd name="T30" fmla="*/ 1 w 20"/>
                <a:gd name="T31" fmla="*/ 3 h 24"/>
                <a:gd name="T32" fmla="*/ 2 w 20"/>
                <a:gd name="T33" fmla="*/ 6 h 24"/>
                <a:gd name="T34" fmla="*/ 7 w 20"/>
                <a:gd name="T35" fmla="*/ 0 h 24"/>
                <a:gd name="T36" fmla="*/ 12 w 20"/>
                <a:gd name="T37" fmla="*/ 5 h 24"/>
                <a:gd name="T38" fmla="*/ 19 w 20"/>
                <a:gd name="T39" fmla="*/ 7 h 2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0"/>
                <a:gd name="T61" fmla="*/ 0 h 24"/>
                <a:gd name="T62" fmla="*/ 20 w 20"/>
                <a:gd name="T63" fmla="*/ 24 h 2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0" h="24">
                  <a:moveTo>
                    <a:pt x="19" y="7"/>
                  </a:moveTo>
                  <a:lnTo>
                    <a:pt x="20" y="11"/>
                  </a:lnTo>
                  <a:lnTo>
                    <a:pt x="17" y="10"/>
                  </a:lnTo>
                  <a:lnTo>
                    <a:pt x="19" y="14"/>
                  </a:lnTo>
                  <a:lnTo>
                    <a:pt x="20" y="16"/>
                  </a:lnTo>
                  <a:lnTo>
                    <a:pt x="20" y="23"/>
                  </a:lnTo>
                  <a:lnTo>
                    <a:pt x="9" y="15"/>
                  </a:lnTo>
                  <a:lnTo>
                    <a:pt x="11" y="23"/>
                  </a:lnTo>
                  <a:lnTo>
                    <a:pt x="9" y="24"/>
                  </a:lnTo>
                  <a:lnTo>
                    <a:pt x="6" y="23"/>
                  </a:lnTo>
                  <a:lnTo>
                    <a:pt x="7" y="21"/>
                  </a:lnTo>
                  <a:lnTo>
                    <a:pt x="1" y="13"/>
                  </a:lnTo>
                  <a:lnTo>
                    <a:pt x="1" y="10"/>
                  </a:lnTo>
                  <a:lnTo>
                    <a:pt x="3" y="10"/>
                  </a:lnTo>
                  <a:lnTo>
                    <a:pt x="0" y="5"/>
                  </a:lnTo>
                  <a:lnTo>
                    <a:pt x="1" y="3"/>
                  </a:lnTo>
                  <a:lnTo>
                    <a:pt x="2" y="6"/>
                  </a:lnTo>
                  <a:lnTo>
                    <a:pt x="7" y="0"/>
                  </a:lnTo>
                  <a:lnTo>
                    <a:pt x="12" y="5"/>
                  </a:lnTo>
                  <a:lnTo>
                    <a:pt x="19" y="7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50" name="Freeform 28"/>
            <p:cNvSpPr>
              <a:spLocks/>
            </p:cNvSpPr>
            <p:nvPr/>
          </p:nvSpPr>
          <p:spPr bwMode="auto">
            <a:xfrm>
              <a:off x="1200" y="1778"/>
              <a:ext cx="5" cy="4"/>
            </a:xfrm>
            <a:custGeom>
              <a:avLst/>
              <a:gdLst>
                <a:gd name="T0" fmla="*/ 4 w 5"/>
                <a:gd name="T1" fmla="*/ 0 h 4"/>
                <a:gd name="T2" fmla="*/ 5 w 5"/>
                <a:gd name="T3" fmla="*/ 3 h 4"/>
                <a:gd name="T4" fmla="*/ 4 w 5"/>
                <a:gd name="T5" fmla="*/ 4 h 4"/>
                <a:gd name="T6" fmla="*/ 0 w 5"/>
                <a:gd name="T7" fmla="*/ 1 h 4"/>
                <a:gd name="T8" fmla="*/ 4 w 5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4"/>
                <a:gd name="T17" fmla="*/ 5 w 5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4">
                  <a:moveTo>
                    <a:pt x="4" y="0"/>
                  </a:moveTo>
                  <a:lnTo>
                    <a:pt x="5" y="3"/>
                  </a:lnTo>
                  <a:lnTo>
                    <a:pt x="4" y="4"/>
                  </a:lnTo>
                  <a:lnTo>
                    <a:pt x="0" y="1"/>
                  </a:lnTo>
                  <a:lnTo>
                    <a:pt x="4" y="0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51" name="Freeform 29"/>
            <p:cNvSpPr>
              <a:spLocks/>
            </p:cNvSpPr>
            <p:nvPr/>
          </p:nvSpPr>
          <p:spPr bwMode="auto">
            <a:xfrm>
              <a:off x="1202" y="1768"/>
              <a:ext cx="4" cy="6"/>
            </a:xfrm>
            <a:custGeom>
              <a:avLst/>
              <a:gdLst>
                <a:gd name="T0" fmla="*/ 1 w 4"/>
                <a:gd name="T1" fmla="*/ 1 h 6"/>
                <a:gd name="T2" fmla="*/ 4 w 4"/>
                <a:gd name="T3" fmla="*/ 6 h 6"/>
                <a:gd name="T4" fmla="*/ 0 w 4"/>
                <a:gd name="T5" fmla="*/ 6 h 6"/>
                <a:gd name="T6" fmla="*/ 0 w 4"/>
                <a:gd name="T7" fmla="*/ 0 h 6"/>
                <a:gd name="T8" fmla="*/ 1 w 4"/>
                <a:gd name="T9" fmla="*/ 1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6"/>
                <a:gd name="T17" fmla="*/ 4 w 4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6">
                  <a:moveTo>
                    <a:pt x="1" y="1"/>
                  </a:moveTo>
                  <a:lnTo>
                    <a:pt x="4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1" y="1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52" name="Freeform 30"/>
            <p:cNvSpPr>
              <a:spLocks/>
            </p:cNvSpPr>
            <p:nvPr/>
          </p:nvSpPr>
          <p:spPr bwMode="auto">
            <a:xfrm>
              <a:off x="1187" y="1760"/>
              <a:ext cx="13" cy="17"/>
            </a:xfrm>
            <a:custGeom>
              <a:avLst/>
              <a:gdLst>
                <a:gd name="T0" fmla="*/ 0 w 13"/>
                <a:gd name="T1" fmla="*/ 2 h 17"/>
                <a:gd name="T2" fmla="*/ 1 w 13"/>
                <a:gd name="T3" fmla="*/ 0 h 17"/>
                <a:gd name="T4" fmla="*/ 12 w 13"/>
                <a:gd name="T5" fmla="*/ 3 h 17"/>
                <a:gd name="T6" fmla="*/ 13 w 13"/>
                <a:gd name="T7" fmla="*/ 12 h 17"/>
                <a:gd name="T8" fmla="*/ 9 w 13"/>
                <a:gd name="T9" fmla="*/ 7 h 17"/>
                <a:gd name="T10" fmla="*/ 11 w 13"/>
                <a:gd name="T11" fmla="*/ 16 h 17"/>
                <a:gd name="T12" fmla="*/ 5 w 13"/>
                <a:gd name="T13" fmla="*/ 17 h 17"/>
                <a:gd name="T14" fmla="*/ 4 w 13"/>
                <a:gd name="T15" fmla="*/ 7 h 17"/>
                <a:gd name="T16" fmla="*/ 1 w 13"/>
                <a:gd name="T17" fmla="*/ 6 h 17"/>
                <a:gd name="T18" fmla="*/ 0 w 13"/>
                <a:gd name="T19" fmla="*/ 2 h 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17"/>
                <a:gd name="T32" fmla="*/ 13 w 13"/>
                <a:gd name="T33" fmla="*/ 17 h 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17">
                  <a:moveTo>
                    <a:pt x="0" y="2"/>
                  </a:moveTo>
                  <a:lnTo>
                    <a:pt x="1" y="0"/>
                  </a:lnTo>
                  <a:lnTo>
                    <a:pt x="12" y="3"/>
                  </a:lnTo>
                  <a:lnTo>
                    <a:pt x="13" y="12"/>
                  </a:lnTo>
                  <a:lnTo>
                    <a:pt x="9" y="7"/>
                  </a:lnTo>
                  <a:lnTo>
                    <a:pt x="11" y="16"/>
                  </a:lnTo>
                  <a:lnTo>
                    <a:pt x="5" y="17"/>
                  </a:lnTo>
                  <a:lnTo>
                    <a:pt x="4" y="7"/>
                  </a:lnTo>
                  <a:lnTo>
                    <a:pt x="1" y="6"/>
                  </a:lnTo>
                  <a:lnTo>
                    <a:pt x="0" y="2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53" name="Freeform 31"/>
            <p:cNvSpPr>
              <a:spLocks/>
            </p:cNvSpPr>
            <p:nvPr/>
          </p:nvSpPr>
          <p:spPr bwMode="auto">
            <a:xfrm>
              <a:off x="1180" y="1765"/>
              <a:ext cx="9" cy="20"/>
            </a:xfrm>
            <a:custGeom>
              <a:avLst/>
              <a:gdLst>
                <a:gd name="T0" fmla="*/ 4 w 9"/>
                <a:gd name="T1" fmla="*/ 8 h 20"/>
                <a:gd name="T2" fmla="*/ 0 w 9"/>
                <a:gd name="T3" fmla="*/ 5 h 20"/>
                <a:gd name="T4" fmla="*/ 0 w 9"/>
                <a:gd name="T5" fmla="*/ 2 h 20"/>
                <a:gd name="T6" fmla="*/ 4 w 9"/>
                <a:gd name="T7" fmla="*/ 0 h 20"/>
                <a:gd name="T8" fmla="*/ 6 w 9"/>
                <a:gd name="T9" fmla="*/ 4 h 20"/>
                <a:gd name="T10" fmla="*/ 9 w 9"/>
                <a:gd name="T11" fmla="*/ 4 h 20"/>
                <a:gd name="T12" fmla="*/ 9 w 9"/>
                <a:gd name="T13" fmla="*/ 8 h 20"/>
                <a:gd name="T14" fmla="*/ 7 w 9"/>
                <a:gd name="T15" fmla="*/ 7 h 20"/>
                <a:gd name="T16" fmla="*/ 7 w 9"/>
                <a:gd name="T17" fmla="*/ 20 h 20"/>
                <a:gd name="T18" fmla="*/ 6 w 9"/>
                <a:gd name="T19" fmla="*/ 17 h 20"/>
                <a:gd name="T20" fmla="*/ 4 w 9"/>
                <a:gd name="T21" fmla="*/ 17 h 20"/>
                <a:gd name="T22" fmla="*/ 3 w 9"/>
                <a:gd name="T23" fmla="*/ 13 h 20"/>
                <a:gd name="T24" fmla="*/ 6 w 9"/>
                <a:gd name="T25" fmla="*/ 10 h 20"/>
                <a:gd name="T26" fmla="*/ 3 w 9"/>
                <a:gd name="T27" fmla="*/ 8 h 20"/>
                <a:gd name="T28" fmla="*/ 4 w 9"/>
                <a:gd name="T29" fmla="*/ 8 h 2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9"/>
                <a:gd name="T46" fmla="*/ 0 h 20"/>
                <a:gd name="T47" fmla="*/ 9 w 9"/>
                <a:gd name="T48" fmla="*/ 20 h 2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9" h="20">
                  <a:moveTo>
                    <a:pt x="4" y="8"/>
                  </a:moveTo>
                  <a:lnTo>
                    <a:pt x="0" y="5"/>
                  </a:lnTo>
                  <a:lnTo>
                    <a:pt x="0" y="2"/>
                  </a:lnTo>
                  <a:lnTo>
                    <a:pt x="4" y="0"/>
                  </a:lnTo>
                  <a:lnTo>
                    <a:pt x="6" y="4"/>
                  </a:lnTo>
                  <a:lnTo>
                    <a:pt x="9" y="4"/>
                  </a:lnTo>
                  <a:lnTo>
                    <a:pt x="9" y="8"/>
                  </a:lnTo>
                  <a:lnTo>
                    <a:pt x="7" y="7"/>
                  </a:lnTo>
                  <a:lnTo>
                    <a:pt x="7" y="20"/>
                  </a:lnTo>
                  <a:lnTo>
                    <a:pt x="6" y="17"/>
                  </a:lnTo>
                  <a:lnTo>
                    <a:pt x="4" y="17"/>
                  </a:lnTo>
                  <a:lnTo>
                    <a:pt x="3" y="13"/>
                  </a:lnTo>
                  <a:lnTo>
                    <a:pt x="6" y="10"/>
                  </a:lnTo>
                  <a:lnTo>
                    <a:pt x="3" y="8"/>
                  </a:lnTo>
                  <a:lnTo>
                    <a:pt x="4" y="8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54" name="Freeform 32"/>
            <p:cNvSpPr>
              <a:spLocks/>
            </p:cNvSpPr>
            <p:nvPr/>
          </p:nvSpPr>
          <p:spPr bwMode="auto">
            <a:xfrm>
              <a:off x="1175" y="1732"/>
              <a:ext cx="14" cy="29"/>
            </a:xfrm>
            <a:custGeom>
              <a:avLst/>
              <a:gdLst>
                <a:gd name="T0" fmla="*/ 3 w 14"/>
                <a:gd name="T1" fmla="*/ 15 h 29"/>
                <a:gd name="T2" fmla="*/ 0 w 14"/>
                <a:gd name="T3" fmla="*/ 3 h 29"/>
                <a:gd name="T4" fmla="*/ 1 w 14"/>
                <a:gd name="T5" fmla="*/ 1 h 29"/>
                <a:gd name="T6" fmla="*/ 5 w 14"/>
                <a:gd name="T7" fmla="*/ 0 h 29"/>
                <a:gd name="T8" fmla="*/ 8 w 14"/>
                <a:gd name="T9" fmla="*/ 1 h 29"/>
                <a:gd name="T10" fmla="*/ 12 w 14"/>
                <a:gd name="T11" fmla="*/ 8 h 29"/>
                <a:gd name="T12" fmla="*/ 14 w 14"/>
                <a:gd name="T13" fmla="*/ 16 h 29"/>
                <a:gd name="T14" fmla="*/ 8 w 14"/>
                <a:gd name="T15" fmla="*/ 3 h 29"/>
                <a:gd name="T16" fmla="*/ 8 w 14"/>
                <a:gd name="T17" fmla="*/ 9 h 29"/>
                <a:gd name="T18" fmla="*/ 13 w 14"/>
                <a:gd name="T19" fmla="*/ 18 h 29"/>
                <a:gd name="T20" fmla="*/ 11 w 14"/>
                <a:gd name="T21" fmla="*/ 19 h 29"/>
                <a:gd name="T22" fmla="*/ 12 w 14"/>
                <a:gd name="T23" fmla="*/ 22 h 29"/>
                <a:gd name="T24" fmla="*/ 9 w 14"/>
                <a:gd name="T25" fmla="*/ 21 h 29"/>
                <a:gd name="T26" fmla="*/ 9 w 14"/>
                <a:gd name="T27" fmla="*/ 26 h 29"/>
                <a:gd name="T28" fmla="*/ 8 w 14"/>
                <a:gd name="T29" fmla="*/ 24 h 29"/>
                <a:gd name="T30" fmla="*/ 4 w 14"/>
                <a:gd name="T31" fmla="*/ 29 h 29"/>
                <a:gd name="T32" fmla="*/ 2 w 14"/>
                <a:gd name="T33" fmla="*/ 27 h 29"/>
                <a:gd name="T34" fmla="*/ 3 w 14"/>
                <a:gd name="T35" fmla="*/ 22 h 29"/>
                <a:gd name="T36" fmla="*/ 6 w 14"/>
                <a:gd name="T37" fmla="*/ 20 h 29"/>
                <a:gd name="T38" fmla="*/ 4 w 14"/>
                <a:gd name="T39" fmla="*/ 19 h 29"/>
                <a:gd name="T40" fmla="*/ 7 w 14"/>
                <a:gd name="T41" fmla="*/ 16 h 29"/>
                <a:gd name="T42" fmla="*/ 3 w 14"/>
                <a:gd name="T43" fmla="*/ 15 h 2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4"/>
                <a:gd name="T67" fmla="*/ 0 h 29"/>
                <a:gd name="T68" fmla="*/ 14 w 14"/>
                <a:gd name="T69" fmla="*/ 29 h 29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4" h="29">
                  <a:moveTo>
                    <a:pt x="3" y="15"/>
                  </a:moveTo>
                  <a:lnTo>
                    <a:pt x="0" y="3"/>
                  </a:lnTo>
                  <a:lnTo>
                    <a:pt x="1" y="1"/>
                  </a:lnTo>
                  <a:lnTo>
                    <a:pt x="5" y="0"/>
                  </a:lnTo>
                  <a:lnTo>
                    <a:pt x="8" y="1"/>
                  </a:lnTo>
                  <a:lnTo>
                    <a:pt x="12" y="8"/>
                  </a:lnTo>
                  <a:lnTo>
                    <a:pt x="14" y="16"/>
                  </a:lnTo>
                  <a:lnTo>
                    <a:pt x="8" y="3"/>
                  </a:lnTo>
                  <a:lnTo>
                    <a:pt x="8" y="9"/>
                  </a:lnTo>
                  <a:lnTo>
                    <a:pt x="13" y="18"/>
                  </a:lnTo>
                  <a:lnTo>
                    <a:pt x="11" y="19"/>
                  </a:lnTo>
                  <a:lnTo>
                    <a:pt x="12" y="22"/>
                  </a:lnTo>
                  <a:lnTo>
                    <a:pt x="9" y="21"/>
                  </a:lnTo>
                  <a:lnTo>
                    <a:pt x="9" y="26"/>
                  </a:lnTo>
                  <a:lnTo>
                    <a:pt x="8" y="24"/>
                  </a:lnTo>
                  <a:lnTo>
                    <a:pt x="4" y="29"/>
                  </a:lnTo>
                  <a:lnTo>
                    <a:pt x="2" y="27"/>
                  </a:lnTo>
                  <a:lnTo>
                    <a:pt x="3" y="22"/>
                  </a:lnTo>
                  <a:lnTo>
                    <a:pt x="6" y="20"/>
                  </a:lnTo>
                  <a:lnTo>
                    <a:pt x="4" y="19"/>
                  </a:lnTo>
                  <a:lnTo>
                    <a:pt x="7" y="16"/>
                  </a:lnTo>
                  <a:lnTo>
                    <a:pt x="3" y="15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55" name="Freeform 33"/>
            <p:cNvSpPr>
              <a:spLocks/>
            </p:cNvSpPr>
            <p:nvPr/>
          </p:nvSpPr>
          <p:spPr bwMode="auto">
            <a:xfrm>
              <a:off x="1163" y="1749"/>
              <a:ext cx="14" cy="34"/>
            </a:xfrm>
            <a:custGeom>
              <a:avLst/>
              <a:gdLst>
                <a:gd name="T0" fmla="*/ 11 w 14"/>
                <a:gd name="T1" fmla="*/ 7 h 34"/>
                <a:gd name="T2" fmla="*/ 14 w 14"/>
                <a:gd name="T3" fmla="*/ 25 h 34"/>
                <a:gd name="T4" fmla="*/ 13 w 14"/>
                <a:gd name="T5" fmla="*/ 34 h 34"/>
                <a:gd name="T6" fmla="*/ 12 w 14"/>
                <a:gd name="T7" fmla="*/ 34 h 34"/>
                <a:gd name="T8" fmla="*/ 9 w 14"/>
                <a:gd name="T9" fmla="*/ 25 h 34"/>
                <a:gd name="T10" fmla="*/ 11 w 14"/>
                <a:gd name="T11" fmla="*/ 18 h 34"/>
                <a:gd name="T12" fmla="*/ 8 w 14"/>
                <a:gd name="T13" fmla="*/ 21 h 34"/>
                <a:gd name="T14" fmla="*/ 5 w 14"/>
                <a:gd name="T15" fmla="*/ 17 h 34"/>
                <a:gd name="T16" fmla="*/ 6 w 14"/>
                <a:gd name="T17" fmla="*/ 12 h 34"/>
                <a:gd name="T18" fmla="*/ 0 w 14"/>
                <a:gd name="T19" fmla="*/ 5 h 34"/>
                <a:gd name="T20" fmla="*/ 2 w 14"/>
                <a:gd name="T21" fmla="*/ 0 h 34"/>
                <a:gd name="T22" fmla="*/ 11 w 14"/>
                <a:gd name="T23" fmla="*/ 7 h 3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4"/>
                <a:gd name="T37" fmla="*/ 0 h 34"/>
                <a:gd name="T38" fmla="*/ 14 w 14"/>
                <a:gd name="T39" fmla="*/ 34 h 3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4" h="34">
                  <a:moveTo>
                    <a:pt x="11" y="7"/>
                  </a:moveTo>
                  <a:lnTo>
                    <a:pt x="14" y="25"/>
                  </a:lnTo>
                  <a:lnTo>
                    <a:pt x="13" y="34"/>
                  </a:lnTo>
                  <a:lnTo>
                    <a:pt x="12" y="34"/>
                  </a:lnTo>
                  <a:lnTo>
                    <a:pt x="9" y="25"/>
                  </a:lnTo>
                  <a:lnTo>
                    <a:pt x="11" y="18"/>
                  </a:lnTo>
                  <a:lnTo>
                    <a:pt x="8" y="21"/>
                  </a:lnTo>
                  <a:lnTo>
                    <a:pt x="5" y="17"/>
                  </a:lnTo>
                  <a:lnTo>
                    <a:pt x="6" y="12"/>
                  </a:lnTo>
                  <a:lnTo>
                    <a:pt x="0" y="5"/>
                  </a:lnTo>
                  <a:lnTo>
                    <a:pt x="2" y="0"/>
                  </a:lnTo>
                  <a:lnTo>
                    <a:pt x="11" y="7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56" name="Freeform 34"/>
            <p:cNvSpPr>
              <a:spLocks/>
            </p:cNvSpPr>
            <p:nvPr/>
          </p:nvSpPr>
          <p:spPr bwMode="auto">
            <a:xfrm>
              <a:off x="1254" y="1865"/>
              <a:ext cx="3" cy="7"/>
            </a:xfrm>
            <a:custGeom>
              <a:avLst/>
              <a:gdLst>
                <a:gd name="T0" fmla="*/ 0 w 3"/>
                <a:gd name="T1" fmla="*/ 0 h 7"/>
                <a:gd name="T2" fmla="*/ 3 w 3"/>
                <a:gd name="T3" fmla="*/ 7 h 7"/>
                <a:gd name="T4" fmla="*/ 0 w 3"/>
                <a:gd name="T5" fmla="*/ 2 h 7"/>
                <a:gd name="T6" fmla="*/ 0 w 3"/>
                <a:gd name="T7" fmla="*/ 0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7"/>
                <a:gd name="T14" fmla="*/ 3 w 3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7">
                  <a:moveTo>
                    <a:pt x="0" y="0"/>
                  </a:moveTo>
                  <a:lnTo>
                    <a:pt x="3" y="7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57" name="Freeform 35"/>
            <p:cNvSpPr>
              <a:spLocks/>
            </p:cNvSpPr>
            <p:nvPr/>
          </p:nvSpPr>
          <p:spPr bwMode="auto">
            <a:xfrm>
              <a:off x="1240" y="1841"/>
              <a:ext cx="10" cy="16"/>
            </a:xfrm>
            <a:custGeom>
              <a:avLst/>
              <a:gdLst>
                <a:gd name="T0" fmla="*/ 6 w 10"/>
                <a:gd name="T1" fmla="*/ 5 h 16"/>
                <a:gd name="T2" fmla="*/ 10 w 10"/>
                <a:gd name="T3" fmla="*/ 10 h 16"/>
                <a:gd name="T4" fmla="*/ 9 w 10"/>
                <a:gd name="T5" fmla="*/ 16 h 16"/>
                <a:gd name="T6" fmla="*/ 3 w 10"/>
                <a:gd name="T7" fmla="*/ 3 h 16"/>
                <a:gd name="T8" fmla="*/ 0 w 10"/>
                <a:gd name="T9" fmla="*/ 0 h 16"/>
                <a:gd name="T10" fmla="*/ 2 w 10"/>
                <a:gd name="T11" fmla="*/ 0 h 16"/>
                <a:gd name="T12" fmla="*/ 6 w 10"/>
                <a:gd name="T13" fmla="*/ 5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16"/>
                <a:gd name="T23" fmla="*/ 10 w 10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16">
                  <a:moveTo>
                    <a:pt x="6" y="5"/>
                  </a:moveTo>
                  <a:lnTo>
                    <a:pt x="10" y="10"/>
                  </a:lnTo>
                  <a:lnTo>
                    <a:pt x="9" y="16"/>
                  </a:lnTo>
                  <a:lnTo>
                    <a:pt x="3" y="3"/>
                  </a:lnTo>
                  <a:lnTo>
                    <a:pt x="0" y="0"/>
                  </a:lnTo>
                  <a:lnTo>
                    <a:pt x="2" y="0"/>
                  </a:lnTo>
                  <a:lnTo>
                    <a:pt x="6" y="5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58" name="Freeform 36"/>
            <p:cNvSpPr>
              <a:spLocks/>
            </p:cNvSpPr>
            <p:nvPr/>
          </p:nvSpPr>
          <p:spPr bwMode="auto">
            <a:xfrm>
              <a:off x="1235" y="1846"/>
              <a:ext cx="11" cy="11"/>
            </a:xfrm>
            <a:custGeom>
              <a:avLst/>
              <a:gdLst>
                <a:gd name="T0" fmla="*/ 0 w 11"/>
                <a:gd name="T1" fmla="*/ 0 h 11"/>
                <a:gd name="T2" fmla="*/ 8 w 11"/>
                <a:gd name="T3" fmla="*/ 4 h 11"/>
                <a:gd name="T4" fmla="*/ 11 w 11"/>
                <a:gd name="T5" fmla="*/ 11 h 11"/>
                <a:gd name="T6" fmla="*/ 0 w 11"/>
                <a:gd name="T7" fmla="*/ 0 h 1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"/>
                <a:gd name="T13" fmla="*/ 0 h 11"/>
                <a:gd name="T14" fmla="*/ 11 w 11"/>
                <a:gd name="T15" fmla="*/ 11 h 1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" h="11">
                  <a:moveTo>
                    <a:pt x="0" y="0"/>
                  </a:moveTo>
                  <a:lnTo>
                    <a:pt x="8" y="4"/>
                  </a:lnTo>
                  <a:lnTo>
                    <a:pt x="11" y="11"/>
                  </a:lnTo>
                  <a:lnTo>
                    <a:pt x="0" y="0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59" name="Freeform 37"/>
            <p:cNvSpPr>
              <a:spLocks/>
            </p:cNvSpPr>
            <p:nvPr/>
          </p:nvSpPr>
          <p:spPr bwMode="auto">
            <a:xfrm>
              <a:off x="1234" y="1836"/>
              <a:ext cx="5" cy="5"/>
            </a:xfrm>
            <a:custGeom>
              <a:avLst/>
              <a:gdLst>
                <a:gd name="T0" fmla="*/ 0 w 5"/>
                <a:gd name="T1" fmla="*/ 3 h 5"/>
                <a:gd name="T2" fmla="*/ 3 w 5"/>
                <a:gd name="T3" fmla="*/ 0 h 5"/>
                <a:gd name="T4" fmla="*/ 5 w 5"/>
                <a:gd name="T5" fmla="*/ 4 h 5"/>
                <a:gd name="T6" fmla="*/ 4 w 5"/>
                <a:gd name="T7" fmla="*/ 5 h 5"/>
                <a:gd name="T8" fmla="*/ 0 w 5"/>
                <a:gd name="T9" fmla="*/ 3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5"/>
                <a:gd name="T17" fmla="*/ 5 w 5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5">
                  <a:moveTo>
                    <a:pt x="0" y="3"/>
                  </a:moveTo>
                  <a:lnTo>
                    <a:pt x="3" y="0"/>
                  </a:lnTo>
                  <a:lnTo>
                    <a:pt x="5" y="4"/>
                  </a:lnTo>
                  <a:lnTo>
                    <a:pt x="4" y="5"/>
                  </a:lnTo>
                  <a:lnTo>
                    <a:pt x="0" y="3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60" name="Freeform 38"/>
            <p:cNvSpPr>
              <a:spLocks/>
            </p:cNvSpPr>
            <p:nvPr/>
          </p:nvSpPr>
          <p:spPr bwMode="auto">
            <a:xfrm>
              <a:off x="1267" y="1910"/>
              <a:ext cx="71" cy="56"/>
            </a:xfrm>
            <a:custGeom>
              <a:avLst/>
              <a:gdLst>
                <a:gd name="T0" fmla="*/ 12 w 71"/>
                <a:gd name="T1" fmla="*/ 11 h 56"/>
                <a:gd name="T2" fmla="*/ 12 w 71"/>
                <a:gd name="T3" fmla="*/ 6 h 56"/>
                <a:gd name="T4" fmla="*/ 5 w 71"/>
                <a:gd name="T5" fmla="*/ 4 h 56"/>
                <a:gd name="T6" fmla="*/ 3 w 71"/>
                <a:gd name="T7" fmla="*/ 7 h 56"/>
                <a:gd name="T8" fmla="*/ 0 w 71"/>
                <a:gd name="T9" fmla="*/ 4 h 56"/>
                <a:gd name="T10" fmla="*/ 1 w 71"/>
                <a:gd name="T11" fmla="*/ 2 h 56"/>
                <a:gd name="T12" fmla="*/ 4 w 71"/>
                <a:gd name="T13" fmla="*/ 0 h 56"/>
                <a:gd name="T14" fmla="*/ 38 w 71"/>
                <a:gd name="T15" fmla="*/ 12 h 56"/>
                <a:gd name="T16" fmla="*/ 48 w 71"/>
                <a:gd name="T17" fmla="*/ 25 h 56"/>
                <a:gd name="T18" fmla="*/ 50 w 71"/>
                <a:gd name="T19" fmla="*/ 30 h 56"/>
                <a:gd name="T20" fmla="*/ 65 w 71"/>
                <a:gd name="T21" fmla="*/ 39 h 56"/>
                <a:gd name="T22" fmla="*/ 68 w 71"/>
                <a:gd name="T23" fmla="*/ 49 h 56"/>
                <a:gd name="T24" fmla="*/ 69 w 71"/>
                <a:gd name="T25" fmla="*/ 49 h 56"/>
                <a:gd name="T26" fmla="*/ 71 w 71"/>
                <a:gd name="T27" fmla="*/ 52 h 56"/>
                <a:gd name="T28" fmla="*/ 66 w 71"/>
                <a:gd name="T29" fmla="*/ 56 h 56"/>
                <a:gd name="T30" fmla="*/ 51 w 71"/>
                <a:gd name="T31" fmla="*/ 49 h 56"/>
                <a:gd name="T32" fmla="*/ 52 w 71"/>
                <a:gd name="T33" fmla="*/ 45 h 56"/>
                <a:gd name="T34" fmla="*/ 49 w 71"/>
                <a:gd name="T35" fmla="*/ 47 h 56"/>
                <a:gd name="T36" fmla="*/ 47 w 71"/>
                <a:gd name="T37" fmla="*/ 45 h 56"/>
                <a:gd name="T38" fmla="*/ 49 w 71"/>
                <a:gd name="T39" fmla="*/ 41 h 56"/>
                <a:gd name="T40" fmla="*/ 40 w 71"/>
                <a:gd name="T41" fmla="*/ 42 h 56"/>
                <a:gd name="T42" fmla="*/ 37 w 71"/>
                <a:gd name="T43" fmla="*/ 40 h 56"/>
                <a:gd name="T44" fmla="*/ 41 w 71"/>
                <a:gd name="T45" fmla="*/ 39 h 56"/>
                <a:gd name="T46" fmla="*/ 37 w 71"/>
                <a:gd name="T47" fmla="*/ 35 h 56"/>
                <a:gd name="T48" fmla="*/ 27 w 71"/>
                <a:gd name="T49" fmla="*/ 32 h 56"/>
                <a:gd name="T50" fmla="*/ 26 w 71"/>
                <a:gd name="T51" fmla="*/ 29 h 56"/>
                <a:gd name="T52" fmla="*/ 33 w 71"/>
                <a:gd name="T53" fmla="*/ 27 h 56"/>
                <a:gd name="T54" fmla="*/ 28 w 71"/>
                <a:gd name="T55" fmla="*/ 26 h 56"/>
                <a:gd name="T56" fmla="*/ 27 w 71"/>
                <a:gd name="T57" fmla="*/ 24 h 56"/>
                <a:gd name="T58" fmla="*/ 26 w 71"/>
                <a:gd name="T59" fmla="*/ 25 h 56"/>
                <a:gd name="T60" fmla="*/ 20 w 71"/>
                <a:gd name="T61" fmla="*/ 20 h 56"/>
                <a:gd name="T62" fmla="*/ 19 w 71"/>
                <a:gd name="T63" fmla="*/ 22 h 56"/>
                <a:gd name="T64" fmla="*/ 17 w 71"/>
                <a:gd name="T65" fmla="*/ 20 h 56"/>
                <a:gd name="T66" fmla="*/ 18 w 71"/>
                <a:gd name="T67" fmla="*/ 17 h 56"/>
                <a:gd name="T68" fmla="*/ 15 w 71"/>
                <a:gd name="T69" fmla="*/ 15 h 56"/>
                <a:gd name="T70" fmla="*/ 14 w 71"/>
                <a:gd name="T71" fmla="*/ 18 h 56"/>
                <a:gd name="T72" fmla="*/ 13 w 71"/>
                <a:gd name="T73" fmla="*/ 15 h 56"/>
                <a:gd name="T74" fmla="*/ 8 w 71"/>
                <a:gd name="T75" fmla="*/ 17 h 56"/>
                <a:gd name="T76" fmla="*/ 8 w 71"/>
                <a:gd name="T77" fmla="*/ 12 h 56"/>
                <a:gd name="T78" fmla="*/ 6 w 71"/>
                <a:gd name="T79" fmla="*/ 10 h 56"/>
                <a:gd name="T80" fmla="*/ 12 w 71"/>
                <a:gd name="T81" fmla="*/ 11 h 5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1"/>
                <a:gd name="T124" fmla="*/ 0 h 56"/>
                <a:gd name="T125" fmla="*/ 71 w 71"/>
                <a:gd name="T126" fmla="*/ 56 h 5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1" h="56">
                  <a:moveTo>
                    <a:pt x="12" y="11"/>
                  </a:moveTo>
                  <a:lnTo>
                    <a:pt x="12" y="6"/>
                  </a:lnTo>
                  <a:lnTo>
                    <a:pt x="5" y="4"/>
                  </a:lnTo>
                  <a:lnTo>
                    <a:pt x="3" y="7"/>
                  </a:lnTo>
                  <a:lnTo>
                    <a:pt x="0" y="4"/>
                  </a:lnTo>
                  <a:lnTo>
                    <a:pt x="1" y="2"/>
                  </a:lnTo>
                  <a:lnTo>
                    <a:pt x="4" y="0"/>
                  </a:lnTo>
                  <a:lnTo>
                    <a:pt x="38" y="12"/>
                  </a:lnTo>
                  <a:lnTo>
                    <a:pt x="48" y="25"/>
                  </a:lnTo>
                  <a:lnTo>
                    <a:pt x="50" y="30"/>
                  </a:lnTo>
                  <a:lnTo>
                    <a:pt x="65" y="39"/>
                  </a:lnTo>
                  <a:lnTo>
                    <a:pt x="68" y="49"/>
                  </a:lnTo>
                  <a:lnTo>
                    <a:pt x="69" y="49"/>
                  </a:lnTo>
                  <a:lnTo>
                    <a:pt x="71" y="52"/>
                  </a:lnTo>
                  <a:lnTo>
                    <a:pt x="66" y="56"/>
                  </a:lnTo>
                  <a:lnTo>
                    <a:pt x="51" y="49"/>
                  </a:lnTo>
                  <a:lnTo>
                    <a:pt x="52" y="45"/>
                  </a:lnTo>
                  <a:lnTo>
                    <a:pt x="49" y="47"/>
                  </a:lnTo>
                  <a:lnTo>
                    <a:pt x="47" y="45"/>
                  </a:lnTo>
                  <a:lnTo>
                    <a:pt x="49" y="41"/>
                  </a:lnTo>
                  <a:lnTo>
                    <a:pt x="40" y="42"/>
                  </a:lnTo>
                  <a:lnTo>
                    <a:pt x="37" y="40"/>
                  </a:lnTo>
                  <a:lnTo>
                    <a:pt x="41" y="39"/>
                  </a:lnTo>
                  <a:lnTo>
                    <a:pt x="37" y="35"/>
                  </a:lnTo>
                  <a:lnTo>
                    <a:pt x="27" y="32"/>
                  </a:lnTo>
                  <a:lnTo>
                    <a:pt x="26" y="29"/>
                  </a:lnTo>
                  <a:lnTo>
                    <a:pt x="33" y="27"/>
                  </a:lnTo>
                  <a:lnTo>
                    <a:pt x="28" y="26"/>
                  </a:lnTo>
                  <a:lnTo>
                    <a:pt x="27" y="24"/>
                  </a:lnTo>
                  <a:lnTo>
                    <a:pt x="26" y="25"/>
                  </a:lnTo>
                  <a:lnTo>
                    <a:pt x="20" y="20"/>
                  </a:lnTo>
                  <a:lnTo>
                    <a:pt x="19" y="22"/>
                  </a:lnTo>
                  <a:lnTo>
                    <a:pt x="17" y="20"/>
                  </a:lnTo>
                  <a:lnTo>
                    <a:pt x="18" y="17"/>
                  </a:lnTo>
                  <a:lnTo>
                    <a:pt x="15" y="15"/>
                  </a:lnTo>
                  <a:lnTo>
                    <a:pt x="14" y="18"/>
                  </a:lnTo>
                  <a:lnTo>
                    <a:pt x="13" y="15"/>
                  </a:lnTo>
                  <a:lnTo>
                    <a:pt x="8" y="17"/>
                  </a:lnTo>
                  <a:lnTo>
                    <a:pt x="8" y="12"/>
                  </a:lnTo>
                  <a:lnTo>
                    <a:pt x="6" y="10"/>
                  </a:lnTo>
                  <a:lnTo>
                    <a:pt x="12" y="11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61" name="Freeform 39"/>
            <p:cNvSpPr>
              <a:spLocks/>
            </p:cNvSpPr>
            <p:nvPr/>
          </p:nvSpPr>
          <p:spPr bwMode="auto">
            <a:xfrm>
              <a:off x="2117" y="1666"/>
              <a:ext cx="6" cy="8"/>
            </a:xfrm>
            <a:custGeom>
              <a:avLst/>
              <a:gdLst>
                <a:gd name="T0" fmla="*/ 1 w 6"/>
                <a:gd name="T1" fmla="*/ 3 h 8"/>
                <a:gd name="T2" fmla="*/ 0 w 6"/>
                <a:gd name="T3" fmla="*/ 8 h 8"/>
                <a:gd name="T4" fmla="*/ 6 w 6"/>
                <a:gd name="T5" fmla="*/ 3 h 8"/>
                <a:gd name="T6" fmla="*/ 5 w 6"/>
                <a:gd name="T7" fmla="*/ 0 h 8"/>
                <a:gd name="T8" fmla="*/ 1 w 6"/>
                <a:gd name="T9" fmla="*/ 3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8"/>
                <a:gd name="T17" fmla="*/ 6 w 6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8">
                  <a:moveTo>
                    <a:pt x="1" y="3"/>
                  </a:moveTo>
                  <a:lnTo>
                    <a:pt x="0" y="8"/>
                  </a:lnTo>
                  <a:lnTo>
                    <a:pt x="6" y="3"/>
                  </a:lnTo>
                  <a:lnTo>
                    <a:pt x="5" y="0"/>
                  </a:lnTo>
                  <a:lnTo>
                    <a:pt x="1" y="3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62" name="Freeform 40"/>
            <p:cNvSpPr>
              <a:spLocks/>
            </p:cNvSpPr>
            <p:nvPr/>
          </p:nvSpPr>
          <p:spPr bwMode="auto">
            <a:xfrm>
              <a:off x="1921" y="1858"/>
              <a:ext cx="19" cy="11"/>
            </a:xfrm>
            <a:custGeom>
              <a:avLst/>
              <a:gdLst>
                <a:gd name="T0" fmla="*/ 2 w 19"/>
                <a:gd name="T1" fmla="*/ 1 h 11"/>
                <a:gd name="T2" fmla="*/ 8 w 19"/>
                <a:gd name="T3" fmla="*/ 0 h 11"/>
                <a:gd name="T4" fmla="*/ 14 w 19"/>
                <a:gd name="T5" fmla="*/ 1 h 11"/>
                <a:gd name="T6" fmla="*/ 19 w 19"/>
                <a:gd name="T7" fmla="*/ 11 h 11"/>
                <a:gd name="T8" fmla="*/ 14 w 19"/>
                <a:gd name="T9" fmla="*/ 11 h 11"/>
                <a:gd name="T10" fmla="*/ 8 w 19"/>
                <a:gd name="T11" fmla="*/ 6 h 11"/>
                <a:gd name="T12" fmla="*/ 0 w 19"/>
                <a:gd name="T13" fmla="*/ 4 h 11"/>
                <a:gd name="T14" fmla="*/ 2 w 19"/>
                <a:gd name="T15" fmla="*/ 1 h 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"/>
                <a:gd name="T25" fmla="*/ 0 h 11"/>
                <a:gd name="T26" fmla="*/ 19 w 19"/>
                <a:gd name="T27" fmla="*/ 11 h 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" h="11">
                  <a:moveTo>
                    <a:pt x="2" y="1"/>
                  </a:moveTo>
                  <a:lnTo>
                    <a:pt x="8" y="0"/>
                  </a:lnTo>
                  <a:lnTo>
                    <a:pt x="14" y="1"/>
                  </a:lnTo>
                  <a:lnTo>
                    <a:pt x="19" y="11"/>
                  </a:lnTo>
                  <a:lnTo>
                    <a:pt x="14" y="11"/>
                  </a:lnTo>
                  <a:lnTo>
                    <a:pt x="8" y="6"/>
                  </a:lnTo>
                  <a:lnTo>
                    <a:pt x="0" y="4"/>
                  </a:lnTo>
                  <a:lnTo>
                    <a:pt x="2" y="1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63" name="Freeform 41"/>
            <p:cNvSpPr>
              <a:spLocks/>
            </p:cNvSpPr>
            <p:nvPr/>
          </p:nvSpPr>
          <p:spPr bwMode="auto">
            <a:xfrm>
              <a:off x="2078" y="1601"/>
              <a:ext cx="9" cy="6"/>
            </a:xfrm>
            <a:custGeom>
              <a:avLst/>
              <a:gdLst>
                <a:gd name="T0" fmla="*/ 0 w 9"/>
                <a:gd name="T1" fmla="*/ 0 h 6"/>
                <a:gd name="T2" fmla="*/ 9 w 9"/>
                <a:gd name="T3" fmla="*/ 4 h 6"/>
                <a:gd name="T4" fmla="*/ 5 w 9"/>
                <a:gd name="T5" fmla="*/ 6 h 6"/>
                <a:gd name="T6" fmla="*/ 0 w 9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"/>
                <a:gd name="T13" fmla="*/ 0 h 6"/>
                <a:gd name="T14" fmla="*/ 9 w 9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" h="6">
                  <a:moveTo>
                    <a:pt x="0" y="0"/>
                  </a:moveTo>
                  <a:lnTo>
                    <a:pt x="9" y="4"/>
                  </a:lnTo>
                  <a:lnTo>
                    <a:pt x="5" y="6"/>
                  </a:lnTo>
                  <a:lnTo>
                    <a:pt x="0" y="0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64" name="Freeform 42"/>
            <p:cNvSpPr>
              <a:spLocks/>
            </p:cNvSpPr>
            <p:nvPr/>
          </p:nvSpPr>
          <p:spPr bwMode="auto">
            <a:xfrm>
              <a:off x="2155" y="1633"/>
              <a:ext cx="11" cy="10"/>
            </a:xfrm>
            <a:custGeom>
              <a:avLst/>
              <a:gdLst>
                <a:gd name="T0" fmla="*/ 7 w 11"/>
                <a:gd name="T1" fmla="*/ 0 h 10"/>
                <a:gd name="T2" fmla="*/ 11 w 11"/>
                <a:gd name="T3" fmla="*/ 3 h 10"/>
                <a:gd name="T4" fmla="*/ 11 w 11"/>
                <a:gd name="T5" fmla="*/ 10 h 10"/>
                <a:gd name="T6" fmla="*/ 0 w 11"/>
                <a:gd name="T7" fmla="*/ 5 h 10"/>
                <a:gd name="T8" fmla="*/ 0 w 11"/>
                <a:gd name="T9" fmla="*/ 2 h 10"/>
                <a:gd name="T10" fmla="*/ 7 w 11"/>
                <a:gd name="T11" fmla="*/ 0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10"/>
                <a:gd name="T20" fmla="*/ 11 w 11"/>
                <a:gd name="T21" fmla="*/ 10 h 1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10">
                  <a:moveTo>
                    <a:pt x="7" y="0"/>
                  </a:moveTo>
                  <a:lnTo>
                    <a:pt x="11" y="3"/>
                  </a:lnTo>
                  <a:lnTo>
                    <a:pt x="11" y="10"/>
                  </a:lnTo>
                  <a:lnTo>
                    <a:pt x="0" y="5"/>
                  </a:lnTo>
                  <a:lnTo>
                    <a:pt x="0" y="2"/>
                  </a:lnTo>
                  <a:lnTo>
                    <a:pt x="7" y="0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65" name="Freeform 43"/>
            <p:cNvSpPr>
              <a:spLocks/>
            </p:cNvSpPr>
            <p:nvPr/>
          </p:nvSpPr>
          <p:spPr bwMode="auto">
            <a:xfrm>
              <a:off x="1946" y="1614"/>
              <a:ext cx="13" cy="24"/>
            </a:xfrm>
            <a:custGeom>
              <a:avLst/>
              <a:gdLst>
                <a:gd name="T0" fmla="*/ 4 w 13"/>
                <a:gd name="T1" fmla="*/ 0 h 24"/>
                <a:gd name="T2" fmla="*/ 1 w 13"/>
                <a:gd name="T3" fmla="*/ 2 h 24"/>
                <a:gd name="T4" fmla="*/ 0 w 13"/>
                <a:gd name="T5" fmla="*/ 17 h 24"/>
                <a:gd name="T6" fmla="*/ 6 w 13"/>
                <a:gd name="T7" fmla="*/ 24 h 24"/>
                <a:gd name="T8" fmla="*/ 13 w 13"/>
                <a:gd name="T9" fmla="*/ 2 h 24"/>
                <a:gd name="T10" fmla="*/ 4 w 13"/>
                <a:gd name="T11" fmla="*/ 0 h 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"/>
                <a:gd name="T19" fmla="*/ 0 h 24"/>
                <a:gd name="T20" fmla="*/ 13 w 13"/>
                <a:gd name="T21" fmla="*/ 24 h 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" h="24">
                  <a:moveTo>
                    <a:pt x="4" y="0"/>
                  </a:moveTo>
                  <a:lnTo>
                    <a:pt x="1" y="2"/>
                  </a:lnTo>
                  <a:lnTo>
                    <a:pt x="0" y="17"/>
                  </a:lnTo>
                  <a:lnTo>
                    <a:pt x="6" y="24"/>
                  </a:lnTo>
                  <a:lnTo>
                    <a:pt x="13" y="2"/>
                  </a:lnTo>
                  <a:lnTo>
                    <a:pt x="4" y="0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66" name="Freeform 44"/>
            <p:cNvSpPr>
              <a:spLocks/>
            </p:cNvSpPr>
            <p:nvPr/>
          </p:nvSpPr>
          <p:spPr bwMode="auto">
            <a:xfrm>
              <a:off x="1896" y="1596"/>
              <a:ext cx="26" cy="25"/>
            </a:xfrm>
            <a:custGeom>
              <a:avLst/>
              <a:gdLst>
                <a:gd name="T0" fmla="*/ 19 w 26"/>
                <a:gd name="T1" fmla="*/ 0 h 25"/>
                <a:gd name="T2" fmla="*/ 8 w 26"/>
                <a:gd name="T3" fmla="*/ 6 h 25"/>
                <a:gd name="T4" fmla="*/ 0 w 26"/>
                <a:gd name="T5" fmla="*/ 25 h 25"/>
                <a:gd name="T6" fmla="*/ 9 w 26"/>
                <a:gd name="T7" fmla="*/ 23 h 25"/>
                <a:gd name="T8" fmla="*/ 15 w 26"/>
                <a:gd name="T9" fmla="*/ 19 h 25"/>
                <a:gd name="T10" fmla="*/ 16 w 26"/>
                <a:gd name="T11" fmla="*/ 13 h 25"/>
                <a:gd name="T12" fmla="*/ 24 w 26"/>
                <a:gd name="T13" fmla="*/ 7 h 25"/>
                <a:gd name="T14" fmla="*/ 26 w 26"/>
                <a:gd name="T15" fmla="*/ 1 h 25"/>
                <a:gd name="T16" fmla="*/ 19 w 26"/>
                <a:gd name="T17" fmla="*/ 0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"/>
                <a:gd name="T28" fmla="*/ 0 h 25"/>
                <a:gd name="T29" fmla="*/ 26 w 26"/>
                <a:gd name="T30" fmla="*/ 25 h 2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" h="25">
                  <a:moveTo>
                    <a:pt x="19" y="0"/>
                  </a:moveTo>
                  <a:lnTo>
                    <a:pt x="8" y="6"/>
                  </a:lnTo>
                  <a:lnTo>
                    <a:pt x="0" y="25"/>
                  </a:lnTo>
                  <a:lnTo>
                    <a:pt x="9" y="23"/>
                  </a:lnTo>
                  <a:lnTo>
                    <a:pt x="15" y="19"/>
                  </a:lnTo>
                  <a:lnTo>
                    <a:pt x="16" y="13"/>
                  </a:lnTo>
                  <a:lnTo>
                    <a:pt x="24" y="7"/>
                  </a:lnTo>
                  <a:lnTo>
                    <a:pt x="26" y="1"/>
                  </a:lnTo>
                  <a:lnTo>
                    <a:pt x="19" y="0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67" name="Freeform 45"/>
            <p:cNvSpPr>
              <a:spLocks/>
            </p:cNvSpPr>
            <p:nvPr/>
          </p:nvSpPr>
          <p:spPr bwMode="auto">
            <a:xfrm>
              <a:off x="1987" y="1572"/>
              <a:ext cx="10" cy="9"/>
            </a:xfrm>
            <a:custGeom>
              <a:avLst/>
              <a:gdLst>
                <a:gd name="T0" fmla="*/ 0 w 10"/>
                <a:gd name="T1" fmla="*/ 0 h 9"/>
                <a:gd name="T2" fmla="*/ 9 w 10"/>
                <a:gd name="T3" fmla="*/ 4 h 9"/>
                <a:gd name="T4" fmla="*/ 10 w 10"/>
                <a:gd name="T5" fmla="*/ 9 h 9"/>
                <a:gd name="T6" fmla="*/ 4 w 10"/>
                <a:gd name="T7" fmla="*/ 8 h 9"/>
                <a:gd name="T8" fmla="*/ 0 w 10"/>
                <a:gd name="T9" fmla="*/ 0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9"/>
                <a:gd name="T17" fmla="*/ 10 w 10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9">
                  <a:moveTo>
                    <a:pt x="0" y="0"/>
                  </a:moveTo>
                  <a:lnTo>
                    <a:pt x="9" y="4"/>
                  </a:lnTo>
                  <a:lnTo>
                    <a:pt x="10" y="9"/>
                  </a:lnTo>
                  <a:lnTo>
                    <a:pt x="4" y="8"/>
                  </a:lnTo>
                  <a:lnTo>
                    <a:pt x="0" y="0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68" name="Freeform 46"/>
            <p:cNvSpPr>
              <a:spLocks/>
            </p:cNvSpPr>
            <p:nvPr/>
          </p:nvSpPr>
          <p:spPr bwMode="auto">
            <a:xfrm>
              <a:off x="1972" y="1581"/>
              <a:ext cx="13" cy="10"/>
            </a:xfrm>
            <a:custGeom>
              <a:avLst/>
              <a:gdLst>
                <a:gd name="T0" fmla="*/ 0 w 13"/>
                <a:gd name="T1" fmla="*/ 0 h 10"/>
                <a:gd name="T2" fmla="*/ 10 w 13"/>
                <a:gd name="T3" fmla="*/ 0 h 10"/>
                <a:gd name="T4" fmla="*/ 13 w 13"/>
                <a:gd name="T5" fmla="*/ 6 h 10"/>
                <a:gd name="T6" fmla="*/ 9 w 13"/>
                <a:gd name="T7" fmla="*/ 10 h 10"/>
                <a:gd name="T8" fmla="*/ 0 w 13"/>
                <a:gd name="T9" fmla="*/ 0 h 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"/>
                <a:gd name="T16" fmla="*/ 0 h 10"/>
                <a:gd name="T17" fmla="*/ 13 w 13"/>
                <a:gd name="T18" fmla="*/ 10 h 1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" h="10">
                  <a:moveTo>
                    <a:pt x="0" y="0"/>
                  </a:moveTo>
                  <a:lnTo>
                    <a:pt x="10" y="0"/>
                  </a:lnTo>
                  <a:lnTo>
                    <a:pt x="13" y="6"/>
                  </a:lnTo>
                  <a:lnTo>
                    <a:pt x="9" y="10"/>
                  </a:lnTo>
                  <a:lnTo>
                    <a:pt x="0" y="0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69" name="Freeform 47"/>
            <p:cNvSpPr>
              <a:spLocks/>
            </p:cNvSpPr>
            <p:nvPr/>
          </p:nvSpPr>
          <p:spPr bwMode="auto">
            <a:xfrm>
              <a:off x="1852" y="1411"/>
              <a:ext cx="6" cy="21"/>
            </a:xfrm>
            <a:custGeom>
              <a:avLst/>
              <a:gdLst>
                <a:gd name="T0" fmla="*/ 5 w 6"/>
                <a:gd name="T1" fmla="*/ 2 h 21"/>
                <a:gd name="T2" fmla="*/ 6 w 6"/>
                <a:gd name="T3" fmla="*/ 17 h 21"/>
                <a:gd name="T4" fmla="*/ 5 w 6"/>
                <a:gd name="T5" fmla="*/ 21 h 21"/>
                <a:gd name="T6" fmla="*/ 0 w 6"/>
                <a:gd name="T7" fmla="*/ 17 h 21"/>
                <a:gd name="T8" fmla="*/ 0 w 6"/>
                <a:gd name="T9" fmla="*/ 3 h 21"/>
                <a:gd name="T10" fmla="*/ 2 w 6"/>
                <a:gd name="T11" fmla="*/ 0 h 21"/>
                <a:gd name="T12" fmla="*/ 5 w 6"/>
                <a:gd name="T13" fmla="*/ 2 h 2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21"/>
                <a:gd name="T23" fmla="*/ 6 w 6"/>
                <a:gd name="T24" fmla="*/ 21 h 2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21">
                  <a:moveTo>
                    <a:pt x="5" y="2"/>
                  </a:moveTo>
                  <a:lnTo>
                    <a:pt x="6" y="17"/>
                  </a:lnTo>
                  <a:lnTo>
                    <a:pt x="5" y="21"/>
                  </a:lnTo>
                  <a:lnTo>
                    <a:pt x="0" y="17"/>
                  </a:lnTo>
                  <a:lnTo>
                    <a:pt x="0" y="3"/>
                  </a:lnTo>
                  <a:lnTo>
                    <a:pt x="2" y="0"/>
                  </a:lnTo>
                  <a:lnTo>
                    <a:pt x="5" y="2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70" name="Freeform 48"/>
            <p:cNvSpPr>
              <a:spLocks/>
            </p:cNvSpPr>
            <p:nvPr/>
          </p:nvSpPr>
          <p:spPr bwMode="auto">
            <a:xfrm>
              <a:off x="1943" y="1353"/>
              <a:ext cx="16" cy="13"/>
            </a:xfrm>
            <a:custGeom>
              <a:avLst/>
              <a:gdLst>
                <a:gd name="T0" fmla="*/ 4 w 16"/>
                <a:gd name="T1" fmla="*/ 0 h 13"/>
                <a:gd name="T2" fmla="*/ 16 w 16"/>
                <a:gd name="T3" fmla="*/ 3 h 13"/>
                <a:gd name="T4" fmla="*/ 9 w 16"/>
                <a:gd name="T5" fmla="*/ 8 h 13"/>
                <a:gd name="T6" fmla="*/ 7 w 16"/>
                <a:gd name="T7" fmla="*/ 6 h 13"/>
                <a:gd name="T8" fmla="*/ 7 w 16"/>
                <a:gd name="T9" fmla="*/ 13 h 13"/>
                <a:gd name="T10" fmla="*/ 0 w 16"/>
                <a:gd name="T11" fmla="*/ 1 h 13"/>
                <a:gd name="T12" fmla="*/ 4 w 16"/>
                <a:gd name="T13" fmla="*/ 0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"/>
                <a:gd name="T22" fmla="*/ 0 h 13"/>
                <a:gd name="T23" fmla="*/ 16 w 16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" h="13">
                  <a:moveTo>
                    <a:pt x="4" y="0"/>
                  </a:moveTo>
                  <a:lnTo>
                    <a:pt x="16" y="3"/>
                  </a:lnTo>
                  <a:lnTo>
                    <a:pt x="9" y="8"/>
                  </a:lnTo>
                  <a:lnTo>
                    <a:pt x="7" y="6"/>
                  </a:lnTo>
                  <a:lnTo>
                    <a:pt x="7" y="13"/>
                  </a:lnTo>
                  <a:lnTo>
                    <a:pt x="0" y="1"/>
                  </a:lnTo>
                  <a:lnTo>
                    <a:pt x="4" y="0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71" name="Freeform 49"/>
            <p:cNvSpPr>
              <a:spLocks/>
            </p:cNvSpPr>
            <p:nvPr/>
          </p:nvSpPr>
          <p:spPr bwMode="auto">
            <a:xfrm>
              <a:off x="1958" y="1370"/>
              <a:ext cx="16" cy="19"/>
            </a:xfrm>
            <a:custGeom>
              <a:avLst/>
              <a:gdLst>
                <a:gd name="T0" fmla="*/ 12 w 16"/>
                <a:gd name="T1" fmla="*/ 6 h 19"/>
                <a:gd name="T2" fmla="*/ 9 w 16"/>
                <a:gd name="T3" fmla="*/ 16 h 19"/>
                <a:gd name="T4" fmla="*/ 0 w 16"/>
                <a:gd name="T5" fmla="*/ 19 h 19"/>
                <a:gd name="T6" fmla="*/ 3 w 16"/>
                <a:gd name="T7" fmla="*/ 11 h 19"/>
                <a:gd name="T8" fmla="*/ 10 w 16"/>
                <a:gd name="T9" fmla="*/ 5 h 19"/>
                <a:gd name="T10" fmla="*/ 15 w 16"/>
                <a:gd name="T11" fmla="*/ 6 h 19"/>
                <a:gd name="T12" fmla="*/ 16 w 16"/>
                <a:gd name="T13" fmla="*/ 1 h 19"/>
                <a:gd name="T14" fmla="*/ 12 w 16"/>
                <a:gd name="T15" fmla="*/ 0 h 19"/>
                <a:gd name="T16" fmla="*/ 10 w 16"/>
                <a:gd name="T17" fmla="*/ 4 h 19"/>
                <a:gd name="T18" fmla="*/ 12 w 16"/>
                <a:gd name="T19" fmla="*/ 6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"/>
                <a:gd name="T31" fmla="*/ 0 h 19"/>
                <a:gd name="T32" fmla="*/ 16 w 16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" h="19">
                  <a:moveTo>
                    <a:pt x="12" y="6"/>
                  </a:moveTo>
                  <a:lnTo>
                    <a:pt x="9" y="16"/>
                  </a:lnTo>
                  <a:lnTo>
                    <a:pt x="0" y="19"/>
                  </a:lnTo>
                  <a:lnTo>
                    <a:pt x="3" y="11"/>
                  </a:lnTo>
                  <a:lnTo>
                    <a:pt x="10" y="5"/>
                  </a:lnTo>
                  <a:lnTo>
                    <a:pt x="15" y="6"/>
                  </a:lnTo>
                  <a:lnTo>
                    <a:pt x="16" y="1"/>
                  </a:lnTo>
                  <a:lnTo>
                    <a:pt x="12" y="0"/>
                  </a:lnTo>
                  <a:lnTo>
                    <a:pt x="10" y="4"/>
                  </a:lnTo>
                  <a:lnTo>
                    <a:pt x="12" y="6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72" name="Freeform 50"/>
            <p:cNvSpPr>
              <a:spLocks/>
            </p:cNvSpPr>
            <p:nvPr/>
          </p:nvSpPr>
          <p:spPr bwMode="auto">
            <a:xfrm>
              <a:off x="2024" y="1418"/>
              <a:ext cx="17" cy="13"/>
            </a:xfrm>
            <a:custGeom>
              <a:avLst/>
              <a:gdLst>
                <a:gd name="T0" fmla="*/ 0 w 17"/>
                <a:gd name="T1" fmla="*/ 5 h 13"/>
                <a:gd name="T2" fmla="*/ 6 w 17"/>
                <a:gd name="T3" fmla="*/ 0 h 13"/>
                <a:gd name="T4" fmla="*/ 16 w 17"/>
                <a:gd name="T5" fmla="*/ 6 h 13"/>
                <a:gd name="T6" fmla="*/ 17 w 17"/>
                <a:gd name="T7" fmla="*/ 13 h 13"/>
                <a:gd name="T8" fmla="*/ 5 w 17"/>
                <a:gd name="T9" fmla="*/ 13 h 13"/>
                <a:gd name="T10" fmla="*/ 1 w 17"/>
                <a:gd name="T11" fmla="*/ 10 h 13"/>
                <a:gd name="T12" fmla="*/ 0 w 17"/>
                <a:gd name="T13" fmla="*/ 5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7"/>
                <a:gd name="T22" fmla="*/ 0 h 13"/>
                <a:gd name="T23" fmla="*/ 17 w 17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7" h="13">
                  <a:moveTo>
                    <a:pt x="0" y="5"/>
                  </a:moveTo>
                  <a:lnTo>
                    <a:pt x="6" y="0"/>
                  </a:lnTo>
                  <a:lnTo>
                    <a:pt x="16" y="6"/>
                  </a:lnTo>
                  <a:lnTo>
                    <a:pt x="17" y="13"/>
                  </a:lnTo>
                  <a:lnTo>
                    <a:pt x="5" y="13"/>
                  </a:lnTo>
                  <a:lnTo>
                    <a:pt x="1" y="10"/>
                  </a:lnTo>
                  <a:lnTo>
                    <a:pt x="0" y="5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73" name="Freeform 51"/>
            <p:cNvSpPr>
              <a:spLocks/>
            </p:cNvSpPr>
            <p:nvPr/>
          </p:nvSpPr>
          <p:spPr bwMode="auto">
            <a:xfrm>
              <a:off x="1989" y="1411"/>
              <a:ext cx="30" cy="39"/>
            </a:xfrm>
            <a:custGeom>
              <a:avLst/>
              <a:gdLst>
                <a:gd name="T0" fmla="*/ 13 w 30"/>
                <a:gd name="T1" fmla="*/ 0 h 39"/>
                <a:gd name="T2" fmla="*/ 28 w 30"/>
                <a:gd name="T3" fmla="*/ 4 h 39"/>
                <a:gd name="T4" fmla="*/ 30 w 30"/>
                <a:gd name="T5" fmla="*/ 13 h 39"/>
                <a:gd name="T6" fmla="*/ 30 w 30"/>
                <a:gd name="T7" fmla="*/ 30 h 39"/>
                <a:gd name="T8" fmla="*/ 22 w 30"/>
                <a:gd name="T9" fmla="*/ 39 h 39"/>
                <a:gd name="T10" fmla="*/ 3 w 30"/>
                <a:gd name="T11" fmla="*/ 39 h 39"/>
                <a:gd name="T12" fmla="*/ 0 w 30"/>
                <a:gd name="T13" fmla="*/ 28 h 39"/>
                <a:gd name="T14" fmla="*/ 0 w 30"/>
                <a:gd name="T15" fmla="*/ 19 h 39"/>
                <a:gd name="T16" fmla="*/ 7 w 30"/>
                <a:gd name="T17" fmla="*/ 3 h 39"/>
                <a:gd name="T18" fmla="*/ 13 w 30"/>
                <a:gd name="T19" fmla="*/ 0 h 3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9"/>
                <a:gd name="T32" fmla="*/ 30 w 30"/>
                <a:gd name="T33" fmla="*/ 39 h 3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9">
                  <a:moveTo>
                    <a:pt x="13" y="0"/>
                  </a:moveTo>
                  <a:lnTo>
                    <a:pt x="28" y="4"/>
                  </a:lnTo>
                  <a:lnTo>
                    <a:pt x="30" y="13"/>
                  </a:lnTo>
                  <a:lnTo>
                    <a:pt x="30" y="30"/>
                  </a:lnTo>
                  <a:lnTo>
                    <a:pt x="22" y="39"/>
                  </a:lnTo>
                  <a:lnTo>
                    <a:pt x="3" y="39"/>
                  </a:lnTo>
                  <a:lnTo>
                    <a:pt x="0" y="28"/>
                  </a:lnTo>
                  <a:lnTo>
                    <a:pt x="0" y="19"/>
                  </a:lnTo>
                  <a:lnTo>
                    <a:pt x="7" y="3"/>
                  </a:lnTo>
                  <a:lnTo>
                    <a:pt x="13" y="0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74" name="Freeform 52"/>
            <p:cNvSpPr>
              <a:spLocks/>
            </p:cNvSpPr>
            <p:nvPr/>
          </p:nvSpPr>
          <p:spPr bwMode="auto">
            <a:xfrm>
              <a:off x="1887" y="1491"/>
              <a:ext cx="17" cy="17"/>
            </a:xfrm>
            <a:custGeom>
              <a:avLst/>
              <a:gdLst>
                <a:gd name="T0" fmla="*/ 9 w 17"/>
                <a:gd name="T1" fmla="*/ 5 h 17"/>
                <a:gd name="T2" fmla="*/ 17 w 17"/>
                <a:gd name="T3" fmla="*/ 17 h 17"/>
                <a:gd name="T4" fmla="*/ 10 w 17"/>
                <a:gd name="T5" fmla="*/ 17 h 17"/>
                <a:gd name="T6" fmla="*/ 5 w 17"/>
                <a:gd name="T7" fmla="*/ 11 h 17"/>
                <a:gd name="T8" fmla="*/ 0 w 17"/>
                <a:gd name="T9" fmla="*/ 0 h 17"/>
                <a:gd name="T10" fmla="*/ 9 w 17"/>
                <a:gd name="T11" fmla="*/ 5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17"/>
                <a:gd name="T20" fmla="*/ 17 w 17"/>
                <a:gd name="T21" fmla="*/ 17 h 1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17">
                  <a:moveTo>
                    <a:pt x="9" y="5"/>
                  </a:moveTo>
                  <a:lnTo>
                    <a:pt x="17" y="17"/>
                  </a:lnTo>
                  <a:lnTo>
                    <a:pt x="10" y="17"/>
                  </a:lnTo>
                  <a:lnTo>
                    <a:pt x="5" y="11"/>
                  </a:lnTo>
                  <a:lnTo>
                    <a:pt x="0" y="0"/>
                  </a:lnTo>
                  <a:lnTo>
                    <a:pt x="9" y="5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75" name="Freeform 53"/>
            <p:cNvSpPr>
              <a:spLocks/>
            </p:cNvSpPr>
            <p:nvPr/>
          </p:nvSpPr>
          <p:spPr bwMode="auto">
            <a:xfrm>
              <a:off x="1808" y="1265"/>
              <a:ext cx="406" cy="363"/>
            </a:xfrm>
            <a:custGeom>
              <a:avLst/>
              <a:gdLst>
                <a:gd name="T0" fmla="*/ 71 w 406"/>
                <a:gd name="T1" fmla="*/ 25 h 363"/>
                <a:gd name="T2" fmla="*/ 70 w 406"/>
                <a:gd name="T3" fmla="*/ 38 h 363"/>
                <a:gd name="T4" fmla="*/ 75 w 406"/>
                <a:gd name="T5" fmla="*/ 9 h 363"/>
                <a:gd name="T6" fmla="*/ 216 w 406"/>
                <a:gd name="T7" fmla="*/ 11 h 363"/>
                <a:gd name="T8" fmla="*/ 232 w 406"/>
                <a:gd name="T9" fmla="*/ 19 h 363"/>
                <a:gd name="T10" fmla="*/ 264 w 406"/>
                <a:gd name="T11" fmla="*/ 16 h 363"/>
                <a:gd name="T12" fmla="*/ 275 w 406"/>
                <a:gd name="T13" fmla="*/ 36 h 363"/>
                <a:gd name="T14" fmla="*/ 291 w 406"/>
                <a:gd name="T15" fmla="*/ 48 h 363"/>
                <a:gd name="T16" fmla="*/ 289 w 406"/>
                <a:gd name="T17" fmla="*/ 73 h 363"/>
                <a:gd name="T18" fmla="*/ 308 w 406"/>
                <a:gd name="T19" fmla="*/ 71 h 363"/>
                <a:gd name="T20" fmla="*/ 323 w 406"/>
                <a:gd name="T21" fmla="*/ 91 h 363"/>
                <a:gd name="T22" fmla="*/ 311 w 406"/>
                <a:gd name="T23" fmla="*/ 100 h 363"/>
                <a:gd name="T24" fmla="*/ 312 w 406"/>
                <a:gd name="T25" fmla="*/ 109 h 363"/>
                <a:gd name="T26" fmla="*/ 317 w 406"/>
                <a:gd name="T27" fmla="*/ 132 h 363"/>
                <a:gd name="T28" fmla="*/ 340 w 406"/>
                <a:gd name="T29" fmla="*/ 154 h 363"/>
                <a:gd name="T30" fmla="*/ 363 w 406"/>
                <a:gd name="T31" fmla="*/ 166 h 363"/>
                <a:gd name="T32" fmla="*/ 379 w 406"/>
                <a:gd name="T33" fmla="*/ 199 h 363"/>
                <a:gd name="T34" fmla="*/ 402 w 406"/>
                <a:gd name="T35" fmla="*/ 222 h 363"/>
                <a:gd name="T36" fmla="*/ 392 w 406"/>
                <a:gd name="T37" fmla="*/ 232 h 363"/>
                <a:gd name="T38" fmla="*/ 380 w 406"/>
                <a:gd name="T39" fmla="*/ 255 h 363"/>
                <a:gd name="T40" fmla="*/ 366 w 406"/>
                <a:gd name="T41" fmla="*/ 256 h 363"/>
                <a:gd name="T42" fmla="*/ 356 w 406"/>
                <a:gd name="T43" fmla="*/ 250 h 363"/>
                <a:gd name="T44" fmla="*/ 341 w 406"/>
                <a:gd name="T45" fmla="*/ 227 h 363"/>
                <a:gd name="T46" fmla="*/ 324 w 406"/>
                <a:gd name="T47" fmla="*/ 215 h 363"/>
                <a:gd name="T48" fmla="*/ 315 w 406"/>
                <a:gd name="T49" fmla="*/ 217 h 363"/>
                <a:gd name="T50" fmla="*/ 314 w 406"/>
                <a:gd name="T51" fmla="*/ 234 h 363"/>
                <a:gd name="T52" fmla="*/ 323 w 406"/>
                <a:gd name="T53" fmla="*/ 251 h 363"/>
                <a:gd name="T54" fmla="*/ 332 w 406"/>
                <a:gd name="T55" fmla="*/ 267 h 363"/>
                <a:gd name="T56" fmla="*/ 350 w 406"/>
                <a:gd name="T57" fmla="*/ 274 h 363"/>
                <a:gd name="T58" fmla="*/ 351 w 406"/>
                <a:gd name="T59" fmla="*/ 287 h 363"/>
                <a:gd name="T60" fmla="*/ 362 w 406"/>
                <a:gd name="T61" fmla="*/ 320 h 363"/>
                <a:gd name="T62" fmla="*/ 363 w 406"/>
                <a:gd name="T63" fmla="*/ 330 h 363"/>
                <a:gd name="T64" fmla="*/ 352 w 406"/>
                <a:gd name="T65" fmla="*/ 339 h 363"/>
                <a:gd name="T66" fmla="*/ 339 w 406"/>
                <a:gd name="T67" fmla="*/ 327 h 363"/>
                <a:gd name="T68" fmla="*/ 315 w 406"/>
                <a:gd name="T69" fmla="*/ 311 h 363"/>
                <a:gd name="T70" fmla="*/ 303 w 406"/>
                <a:gd name="T71" fmla="*/ 311 h 363"/>
                <a:gd name="T72" fmla="*/ 338 w 406"/>
                <a:gd name="T73" fmla="*/ 358 h 363"/>
                <a:gd name="T74" fmla="*/ 318 w 406"/>
                <a:gd name="T75" fmla="*/ 354 h 363"/>
                <a:gd name="T76" fmla="*/ 298 w 406"/>
                <a:gd name="T77" fmla="*/ 347 h 363"/>
                <a:gd name="T78" fmla="*/ 285 w 406"/>
                <a:gd name="T79" fmla="*/ 336 h 363"/>
                <a:gd name="T80" fmla="*/ 254 w 406"/>
                <a:gd name="T81" fmla="*/ 311 h 363"/>
                <a:gd name="T82" fmla="*/ 255 w 406"/>
                <a:gd name="T83" fmla="*/ 308 h 363"/>
                <a:gd name="T84" fmla="*/ 234 w 406"/>
                <a:gd name="T85" fmla="*/ 277 h 363"/>
                <a:gd name="T86" fmla="*/ 219 w 406"/>
                <a:gd name="T87" fmla="*/ 275 h 363"/>
                <a:gd name="T88" fmla="*/ 218 w 406"/>
                <a:gd name="T89" fmla="*/ 281 h 363"/>
                <a:gd name="T90" fmla="*/ 200 w 406"/>
                <a:gd name="T91" fmla="*/ 279 h 363"/>
                <a:gd name="T92" fmla="*/ 169 w 406"/>
                <a:gd name="T93" fmla="*/ 268 h 363"/>
                <a:gd name="T94" fmla="*/ 179 w 406"/>
                <a:gd name="T95" fmla="*/ 250 h 363"/>
                <a:gd name="T96" fmla="*/ 225 w 406"/>
                <a:gd name="T97" fmla="*/ 246 h 363"/>
                <a:gd name="T98" fmla="*/ 242 w 406"/>
                <a:gd name="T99" fmla="*/ 205 h 363"/>
                <a:gd name="T100" fmla="*/ 237 w 406"/>
                <a:gd name="T101" fmla="*/ 147 h 363"/>
                <a:gd name="T102" fmla="*/ 225 w 406"/>
                <a:gd name="T103" fmla="*/ 137 h 363"/>
                <a:gd name="T104" fmla="*/ 205 w 406"/>
                <a:gd name="T105" fmla="*/ 122 h 363"/>
                <a:gd name="T106" fmla="*/ 203 w 406"/>
                <a:gd name="T107" fmla="*/ 115 h 363"/>
                <a:gd name="T108" fmla="*/ 175 w 406"/>
                <a:gd name="T109" fmla="*/ 87 h 363"/>
                <a:gd name="T110" fmla="*/ 160 w 406"/>
                <a:gd name="T111" fmla="*/ 81 h 363"/>
                <a:gd name="T112" fmla="*/ 117 w 406"/>
                <a:gd name="T113" fmla="*/ 78 h 363"/>
                <a:gd name="T114" fmla="*/ 115 w 406"/>
                <a:gd name="T115" fmla="*/ 88 h 363"/>
                <a:gd name="T116" fmla="*/ 57 w 406"/>
                <a:gd name="T117" fmla="*/ 78 h 363"/>
                <a:gd name="T118" fmla="*/ 26 w 406"/>
                <a:gd name="T119" fmla="*/ 66 h 363"/>
                <a:gd name="T120" fmla="*/ 41 w 406"/>
                <a:gd name="T121" fmla="*/ 38 h 363"/>
                <a:gd name="T122" fmla="*/ 2 w 406"/>
                <a:gd name="T123" fmla="*/ 3 h 36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406"/>
                <a:gd name="T187" fmla="*/ 0 h 363"/>
                <a:gd name="T188" fmla="*/ 406 w 406"/>
                <a:gd name="T189" fmla="*/ 363 h 363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406" h="363">
                  <a:moveTo>
                    <a:pt x="1" y="0"/>
                  </a:moveTo>
                  <a:lnTo>
                    <a:pt x="53" y="0"/>
                  </a:lnTo>
                  <a:lnTo>
                    <a:pt x="64" y="16"/>
                  </a:lnTo>
                  <a:lnTo>
                    <a:pt x="69" y="17"/>
                  </a:lnTo>
                  <a:lnTo>
                    <a:pt x="71" y="25"/>
                  </a:lnTo>
                  <a:lnTo>
                    <a:pt x="57" y="29"/>
                  </a:lnTo>
                  <a:lnTo>
                    <a:pt x="48" y="37"/>
                  </a:lnTo>
                  <a:lnTo>
                    <a:pt x="70" y="30"/>
                  </a:lnTo>
                  <a:lnTo>
                    <a:pt x="71" y="32"/>
                  </a:lnTo>
                  <a:lnTo>
                    <a:pt x="70" y="38"/>
                  </a:lnTo>
                  <a:lnTo>
                    <a:pt x="71" y="40"/>
                  </a:lnTo>
                  <a:lnTo>
                    <a:pt x="73" y="35"/>
                  </a:lnTo>
                  <a:lnTo>
                    <a:pt x="73" y="22"/>
                  </a:lnTo>
                  <a:lnTo>
                    <a:pt x="75" y="13"/>
                  </a:lnTo>
                  <a:lnTo>
                    <a:pt x="75" y="9"/>
                  </a:lnTo>
                  <a:lnTo>
                    <a:pt x="65" y="8"/>
                  </a:lnTo>
                  <a:lnTo>
                    <a:pt x="61" y="0"/>
                  </a:lnTo>
                  <a:lnTo>
                    <a:pt x="221" y="0"/>
                  </a:lnTo>
                  <a:lnTo>
                    <a:pt x="217" y="5"/>
                  </a:lnTo>
                  <a:lnTo>
                    <a:pt x="216" y="11"/>
                  </a:lnTo>
                  <a:lnTo>
                    <a:pt x="222" y="4"/>
                  </a:lnTo>
                  <a:lnTo>
                    <a:pt x="233" y="2"/>
                  </a:lnTo>
                  <a:lnTo>
                    <a:pt x="226" y="17"/>
                  </a:lnTo>
                  <a:lnTo>
                    <a:pt x="233" y="13"/>
                  </a:lnTo>
                  <a:lnTo>
                    <a:pt x="232" y="19"/>
                  </a:lnTo>
                  <a:lnTo>
                    <a:pt x="238" y="24"/>
                  </a:lnTo>
                  <a:lnTo>
                    <a:pt x="237" y="14"/>
                  </a:lnTo>
                  <a:lnTo>
                    <a:pt x="244" y="14"/>
                  </a:lnTo>
                  <a:lnTo>
                    <a:pt x="248" y="7"/>
                  </a:lnTo>
                  <a:lnTo>
                    <a:pt x="264" y="16"/>
                  </a:lnTo>
                  <a:lnTo>
                    <a:pt x="269" y="28"/>
                  </a:lnTo>
                  <a:lnTo>
                    <a:pt x="268" y="31"/>
                  </a:lnTo>
                  <a:lnTo>
                    <a:pt x="254" y="35"/>
                  </a:lnTo>
                  <a:lnTo>
                    <a:pt x="264" y="40"/>
                  </a:lnTo>
                  <a:lnTo>
                    <a:pt x="275" y="36"/>
                  </a:lnTo>
                  <a:lnTo>
                    <a:pt x="276" y="41"/>
                  </a:lnTo>
                  <a:lnTo>
                    <a:pt x="272" y="53"/>
                  </a:lnTo>
                  <a:lnTo>
                    <a:pt x="285" y="44"/>
                  </a:lnTo>
                  <a:lnTo>
                    <a:pt x="278" y="58"/>
                  </a:lnTo>
                  <a:lnTo>
                    <a:pt x="291" y="48"/>
                  </a:lnTo>
                  <a:lnTo>
                    <a:pt x="306" y="55"/>
                  </a:lnTo>
                  <a:lnTo>
                    <a:pt x="305" y="64"/>
                  </a:lnTo>
                  <a:lnTo>
                    <a:pt x="302" y="61"/>
                  </a:lnTo>
                  <a:lnTo>
                    <a:pt x="300" y="67"/>
                  </a:lnTo>
                  <a:lnTo>
                    <a:pt x="289" y="73"/>
                  </a:lnTo>
                  <a:lnTo>
                    <a:pt x="303" y="72"/>
                  </a:lnTo>
                  <a:lnTo>
                    <a:pt x="298" y="82"/>
                  </a:lnTo>
                  <a:lnTo>
                    <a:pt x="302" y="82"/>
                  </a:lnTo>
                  <a:lnTo>
                    <a:pt x="309" y="75"/>
                  </a:lnTo>
                  <a:lnTo>
                    <a:pt x="308" y="71"/>
                  </a:lnTo>
                  <a:lnTo>
                    <a:pt x="310" y="67"/>
                  </a:lnTo>
                  <a:lnTo>
                    <a:pt x="315" y="70"/>
                  </a:lnTo>
                  <a:lnTo>
                    <a:pt x="324" y="83"/>
                  </a:lnTo>
                  <a:lnTo>
                    <a:pt x="326" y="87"/>
                  </a:lnTo>
                  <a:lnTo>
                    <a:pt x="323" y="91"/>
                  </a:lnTo>
                  <a:lnTo>
                    <a:pt x="314" y="89"/>
                  </a:lnTo>
                  <a:lnTo>
                    <a:pt x="300" y="99"/>
                  </a:lnTo>
                  <a:lnTo>
                    <a:pt x="303" y="96"/>
                  </a:lnTo>
                  <a:lnTo>
                    <a:pt x="310" y="103"/>
                  </a:lnTo>
                  <a:lnTo>
                    <a:pt x="311" y="100"/>
                  </a:lnTo>
                  <a:lnTo>
                    <a:pt x="326" y="102"/>
                  </a:lnTo>
                  <a:lnTo>
                    <a:pt x="334" y="109"/>
                  </a:lnTo>
                  <a:lnTo>
                    <a:pt x="332" y="113"/>
                  </a:lnTo>
                  <a:lnTo>
                    <a:pt x="320" y="114"/>
                  </a:lnTo>
                  <a:lnTo>
                    <a:pt x="312" y="109"/>
                  </a:lnTo>
                  <a:lnTo>
                    <a:pt x="312" y="112"/>
                  </a:lnTo>
                  <a:lnTo>
                    <a:pt x="305" y="113"/>
                  </a:lnTo>
                  <a:lnTo>
                    <a:pt x="316" y="120"/>
                  </a:lnTo>
                  <a:lnTo>
                    <a:pt x="310" y="124"/>
                  </a:lnTo>
                  <a:lnTo>
                    <a:pt x="317" y="132"/>
                  </a:lnTo>
                  <a:lnTo>
                    <a:pt x="307" y="135"/>
                  </a:lnTo>
                  <a:lnTo>
                    <a:pt x="331" y="144"/>
                  </a:lnTo>
                  <a:lnTo>
                    <a:pt x="328" y="150"/>
                  </a:lnTo>
                  <a:lnTo>
                    <a:pt x="338" y="150"/>
                  </a:lnTo>
                  <a:lnTo>
                    <a:pt x="340" y="154"/>
                  </a:lnTo>
                  <a:lnTo>
                    <a:pt x="337" y="158"/>
                  </a:lnTo>
                  <a:lnTo>
                    <a:pt x="341" y="162"/>
                  </a:lnTo>
                  <a:lnTo>
                    <a:pt x="355" y="157"/>
                  </a:lnTo>
                  <a:lnTo>
                    <a:pt x="353" y="165"/>
                  </a:lnTo>
                  <a:lnTo>
                    <a:pt x="363" y="166"/>
                  </a:lnTo>
                  <a:lnTo>
                    <a:pt x="370" y="181"/>
                  </a:lnTo>
                  <a:lnTo>
                    <a:pt x="366" y="185"/>
                  </a:lnTo>
                  <a:lnTo>
                    <a:pt x="366" y="188"/>
                  </a:lnTo>
                  <a:lnTo>
                    <a:pt x="383" y="185"/>
                  </a:lnTo>
                  <a:lnTo>
                    <a:pt x="379" y="199"/>
                  </a:lnTo>
                  <a:lnTo>
                    <a:pt x="395" y="196"/>
                  </a:lnTo>
                  <a:lnTo>
                    <a:pt x="406" y="209"/>
                  </a:lnTo>
                  <a:lnTo>
                    <a:pt x="401" y="217"/>
                  </a:lnTo>
                  <a:lnTo>
                    <a:pt x="403" y="220"/>
                  </a:lnTo>
                  <a:lnTo>
                    <a:pt x="402" y="222"/>
                  </a:lnTo>
                  <a:lnTo>
                    <a:pt x="393" y="221"/>
                  </a:lnTo>
                  <a:lnTo>
                    <a:pt x="389" y="228"/>
                  </a:lnTo>
                  <a:lnTo>
                    <a:pt x="394" y="227"/>
                  </a:lnTo>
                  <a:lnTo>
                    <a:pt x="396" y="231"/>
                  </a:lnTo>
                  <a:lnTo>
                    <a:pt x="392" y="232"/>
                  </a:lnTo>
                  <a:lnTo>
                    <a:pt x="392" y="238"/>
                  </a:lnTo>
                  <a:lnTo>
                    <a:pt x="389" y="239"/>
                  </a:lnTo>
                  <a:lnTo>
                    <a:pt x="387" y="245"/>
                  </a:lnTo>
                  <a:lnTo>
                    <a:pt x="377" y="239"/>
                  </a:lnTo>
                  <a:lnTo>
                    <a:pt x="380" y="255"/>
                  </a:lnTo>
                  <a:lnTo>
                    <a:pt x="378" y="255"/>
                  </a:lnTo>
                  <a:lnTo>
                    <a:pt x="375" y="268"/>
                  </a:lnTo>
                  <a:lnTo>
                    <a:pt x="370" y="260"/>
                  </a:lnTo>
                  <a:lnTo>
                    <a:pt x="368" y="263"/>
                  </a:lnTo>
                  <a:lnTo>
                    <a:pt x="366" y="256"/>
                  </a:lnTo>
                  <a:lnTo>
                    <a:pt x="361" y="259"/>
                  </a:lnTo>
                  <a:lnTo>
                    <a:pt x="358" y="255"/>
                  </a:lnTo>
                  <a:lnTo>
                    <a:pt x="360" y="251"/>
                  </a:lnTo>
                  <a:lnTo>
                    <a:pt x="360" y="248"/>
                  </a:lnTo>
                  <a:lnTo>
                    <a:pt x="356" y="250"/>
                  </a:lnTo>
                  <a:lnTo>
                    <a:pt x="350" y="241"/>
                  </a:lnTo>
                  <a:lnTo>
                    <a:pt x="349" y="236"/>
                  </a:lnTo>
                  <a:lnTo>
                    <a:pt x="350" y="231"/>
                  </a:lnTo>
                  <a:lnTo>
                    <a:pt x="342" y="232"/>
                  </a:lnTo>
                  <a:lnTo>
                    <a:pt x="341" y="227"/>
                  </a:lnTo>
                  <a:lnTo>
                    <a:pt x="326" y="219"/>
                  </a:lnTo>
                  <a:lnTo>
                    <a:pt x="328" y="212"/>
                  </a:lnTo>
                  <a:lnTo>
                    <a:pt x="322" y="209"/>
                  </a:lnTo>
                  <a:lnTo>
                    <a:pt x="320" y="212"/>
                  </a:lnTo>
                  <a:lnTo>
                    <a:pt x="324" y="215"/>
                  </a:lnTo>
                  <a:lnTo>
                    <a:pt x="321" y="215"/>
                  </a:lnTo>
                  <a:lnTo>
                    <a:pt x="324" y="220"/>
                  </a:lnTo>
                  <a:lnTo>
                    <a:pt x="316" y="214"/>
                  </a:lnTo>
                  <a:lnTo>
                    <a:pt x="314" y="214"/>
                  </a:lnTo>
                  <a:lnTo>
                    <a:pt x="315" y="217"/>
                  </a:lnTo>
                  <a:lnTo>
                    <a:pt x="310" y="217"/>
                  </a:lnTo>
                  <a:lnTo>
                    <a:pt x="312" y="221"/>
                  </a:lnTo>
                  <a:lnTo>
                    <a:pt x="319" y="224"/>
                  </a:lnTo>
                  <a:lnTo>
                    <a:pt x="325" y="232"/>
                  </a:lnTo>
                  <a:lnTo>
                    <a:pt x="314" y="234"/>
                  </a:lnTo>
                  <a:lnTo>
                    <a:pt x="313" y="244"/>
                  </a:lnTo>
                  <a:lnTo>
                    <a:pt x="323" y="244"/>
                  </a:lnTo>
                  <a:lnTo>
                    <a:pt x="322" y="249"/>
                  </a:lnTo>
                  <a:lnTo>
                    <a:pt x="324" y="251"/>
                  </a:lnTo>
                  <a:lnTo>
                    <a:pt x="323" y="251"/>
                  </a:lnTo>
                  <a:lnTo>
                    <a:pt x="324" y="254"/>
                  </a:lnTo>
                  <a:lnTo>
                    <a:pt x="323" y="257"/>
                  </a:lnTo>
                  <a:lnTo>
                    <a:pt x="326" y="258"/>
                  </a:lnTo>
                  <a:lnTo>
                    <a:pt x="331" y="271"/>
                  </a:lnTo>
                  <a:lnTo>
                    <a:pt x="332" y="267"/>
                  </a:lnTo>
                  <a:lnTo>
                    <a:pt x="339" y="267"/>
                  </a:lnTo>
                  <a:lnTo>
                    <a:pt x="336" y="271"/>
                  </a:lnTo>
                  <a:lnTo>
                    <a:pt x="345" y="269"/>
                  </a:lnTo>
                  <a:lnTo>
                    <a:pt x="346" y="278"/>
                  </a:lnTo>
                  <a:lnTo>
                    <a:pt x="350" y="274"/>
                  </a:lnTo>
                  <a:lnTo>
                    <a:pt x="352" y="279"/>
                  </a:lnTo>
                  <a:lnTo>
                    <a:pt x="355" y="278"/>
                  </a:lnTo>
                  <a:lnTo>
                    <a:pt x="355" y="282"/>
                  </a:lnTo>
                  <a:lnTo>
                    <a:pt x="354" y="286"/>
                  </a:lnTo>
                  <a:lnTo>
                    <a:pt x="351" y="287"/>
                  </a:lnTo>
                  <a:lnTo>
                    <a:pt x="352" y="292"/>
                  </a:lnTo>
                  <a:lnTo>
                    <a:pt x="360" y="297"/>
                  </a:lnTo>
                  <a:lnTo>
                    <a:pt x="363" y="307"/>
                  </a:lnTo>
                  <a:lnTo>
                    <a:pt x="361" y="315"/>
                  </a:lnTo>
                  <a:lnTo>
                    <a:pt x="362" y="320"/>
                  </a:lnTo>
                  <a:lnTo>
                    <a:pt x="355" y="314"/>
                  </a:lnTo>
                  <a:lnTo>
                    <a:pt x="355" y="321"/>
                  </a:lnTo>
                  <a:lnTo>
                    <a:pt x="358" y="328"/>
                  </a:lnTo>
                  <a:lnTo>
                    <a:pt x="360" y="328"/>
                  </a:lnTo>
                  <a:lnTo>
                    <a:pt x="363" y="330"/>
                  </a:lnTo>
                  <a:lnTo>
                    <a:pt x="363" y="334"/>
                  </a:lnTo>
                  <a:lnTo>
                    <a:pt x="355" y="332"/>
                  </a:lnTo>
                  <a:lnTo>
                    <a:pt x="358" y="342"/>
                  </a:lnTo>
                  <a:lnTo>
                    <a:pt x="357" y="343"/>
                  </a:lnTo>
                  <a:lnTo>
                    <a:pt x="352" y="339"/>
                  </a:lnTo>
                  <a:lnTo>
                    <a:pt x="353" y="333"/>
                  </a:lnTo>
                  <a:lnTo>
                    <a:pt x="351" y="335"/>
                  </a:lnTo>
                  <a:lnTo>
                    <a:pt x="349" y="330"/>
                  </a:lnTo>
                  <a:lnTo>
                    <a:pt x="342" y="332"/>
                  </a:lnTo>
                  <a:lnTo>
                    <a:pt x="339" y="327"/>
                  </a:lnTo>
                  <a:lnTo>
                    <a:pt x="330" y="327"/>
                  </a:lnTo>
                  <a:lnTo>
                    <a:pt x="329" y="322"/>
                  </a:lnTo>
                  <a:lnTo>
                    <a:pt x="323" y="320"/>
                  </a:lnTo>
                  <a:lnTo>
                    <a:pt x="318" y="311"/>
                  </a:lnTo>
                  <a:lnTo>
                    <a:pt x="315" y="311"/>
                  </a:lnTo>
                  <a:lnTo>
                    <a:pt x="316" y="315"/>
                  </a:lnTo>
                  <a:lnTo>
                    <a:pt x="312" y="314"/>
                  </a:lnTo>
                  <a:lnTo>
                    <a:pt x="303" y="305"/>
                  </a:lnTo>
                  <a:lnTo>
                    <a:pt x="299" y="305"/>
                  </a:lnTo>
                  <a:lnTo>
                    <a:pt x="303" y="311"/>
                  </a:lnTo>
                  <a:lnTo>
                    <a:pt x="315" y="326"/>
                  </a:lnTo>
                  <a:lnTo>
                    <a:pt x="318" y="325"/>
                  </a:lnTo>
                  <a:lnTo>
                    <a:pt x="318" y="328"/>
                  </a:lnTo>
                  <a:lnTo>
                    <a:pt x="339" y="349"/>
                  </a:lnTo>
                  <a:lnTo>
                    <a:pt x="338" y="358"/>
                  </a:lnTo>
                  <a:lnTo>
                    <a:pt x="340" y="362"/>
                  </a:lnTo>
                  <a:lnTo>
                    <a:pt x="336" y="363"/>
                  </a:lnTo>
                  <a:lnTo>
                    <a:pt x="329" y="355"/>
                  </a:lnTo>
                  <a:lnTo>
                    <a:pt x="322" y="358"/>
                  </a:lnTo>
                  <a:lnTo>
                    <a:pt x="318" y="354"/>
                  </a:lnTo>
                  <a:lnTo>
                    <a:pt x="304" y="350"/>
                  </a:lnTo>
                  <a:lnTo>
                    <a:pt x="302" y="348"/>
                  </a:lnTo>
                  <a:lnTo>
                    <a:pt x="302" y="344"/>
                  </a:lnTo>
                  <a:lnTo>
                    <a:pt x="300" y="348"/>
                  </a:lnTo>
                  <a:lnTo>
                    <a:pt x="298" y="347"/>
                  </a:lnTo>
                  <a:lnTo>
                    <a:pt x="295" y="341"/>
                  </a:lnTo>
                  <a:lnTo>
                    <a:pt x="292" y="340"/>
                  </a:lnTo>
                  <a:lnTo>
                    <a:pt x="292" y="334"/>
                  </a:lnTo>
                  <a:lnTo>
                    <a:pt x="287" y="337"/>
                  </a:lnTo>
                  <a:lnTo>
                    <a:pt x="285" y="336"/>
                  </a:lnTo>
                  <a:lnTo>
                    <a:pt x="285" y="331"/>
                  </a:lnTo>
                  <a:lnTo>
                    <a:pt x="280" y="336"/>
                  </a:lnTo>
                  <a:lnTo>
                    <a:pt x="266" y="329"/>
                  </a:lnTo>
                  <a:lnTo>
                    <a:pt x="260" y="324"/>
                  </a:lnTo>
                  <a:lnTo>
                    <a:pt x="254" y="311"/>
                  </a:lnTo>
                  <a:lnTo>
                    <a:pt x="258" y="315"/>
                  </a:lnTo>
                  <a:lnTo>
                    <a:pt x="265" y="309"/>
                  </a:lnTo>
                  <a:lnTo>
                    <a:pt x="262" y="309"/>
                  </a:lnTo>
                  <a:lnTo>
                    <a:pt x="257" y="302"/>
                  </a:lnTo>
                  <a:lnTo>
                    <a:pt x="255" y="308"/>
                  </a:lnTo>
                  <a:lnTo>
                    <a:pt x="252" y="303"/>
                  </a:lnTo>
                  <a:lnTo>
                    <a:pt x="242" y="298"/>
                  </a:lnTo>
                  <a:lnTo>
                    <a:pt x="241" y="290"/>
                  </a:lnTo>
                  <a:lnTo>
                    <a:pt x="236" y="287"/>
                  </a:lnTo>
                  <a:lnTo>
                    <a:pt x="234" y="277"/>
                  </a:lnTo>
                  <a:lnTo>
                    <a:pt x="231" y="278"/>
                  </a:lnTo>
                  <a:lnTo>
                    <a:pt x="227" y="275"/>
                  </a:lnTo>
                  <a:lnTo>
                    <a:pt x="223" y="277"/>
                  </a:lnTo>
                  <a:lnTo>
                    <a:pt x="221" y="272"/>
                  </a:lnTo>
                  <a:lnTo>
                    <a:pt x="219" y="275"/>
                  </a:lnTo>
                  <a:lnTo>
                    <a:pt x="218" y="269"/>
                  </a:lnTo>
                  <a:lnTo>
                    <a:pt x="214" y="271"/>
                  </a:lnTo>
                  <a:lnTo>
                    <a:pt x="214" y="275"/>
                  </a:lnTo>
                  <a:lnTo>
                    <a:pt x="220" y="281"/>
                  </a:lnTo>
                  <a:lnTo>
                    <a:pt x="218" y="281"/>
                  </a:lnTo>
                  <a:lnTo>
                    <a:pt x="218" y="284"/>
                  </a:lnTo>
                  <a:lnTo>
                    <a:pt x="209" y="282"/>
                  </a:lnTo>
                  <a:lnTo>
                    <a:pt x="207" y="278"/>
                  </a:lnTo>
                  <a:lnTo>
                    <a:pt x="203" y="278"/>
                  </a:lnTo>
                  <a:lnTo>
                    <a:pt x="200" y="279"/>
                  </a:lnTo>
                  <a:lnTo>
                    <a:pt x="200" y="284"/>
                  </a:lnTo>
                  <a:lnTo>
                    <a:pt x="188" y="290"/>
                  </a:lnTo>
                  <a:lnTo>
                    <a:pt x="174" y="284"/>
                  </a:lnTo>
                  <a:lnTo>
                    <a:pt x="169" y="276"/>
                  </a:lnTo>
                  <a:lnTo>
                    <a:pt x="169" y="268"/>
                  </a:lnTo>
                  <a:lnTo>
                    <a:pt x="171" y="264"/>
                  </a:lnTo>
                  <a:lnTo>
                    <a:pt x="179" y="259"/>
                  </a:lnTo>
                  <a:lnTo>
                    <a:pt x="179" y="253"/>
                  </a:lnTo>
                  <a:lnTo>
                    <a:pt x="181" y="253"/>
                  </a:lnTo>
                  <a:lnTo>
                    <a:pt x="179" y="250"/>
                  </a:lnTo>
                  <a:lnTo>
                    <a:pt x="208" y="256"/>
                  </a:lnTo>
                  <a:lnTo>
                    <a:pt x="210" y="255"/>
                  </a:lnTo>
                  <a:lnTo>
                    <a:pt x="211" y="251"/>
                  </a:lnTo>
                  <a:lnTo>
                    <a:pt x="217" y="251"/>
                  </a:lnTo>
                  <a:lnTo>
                    <a:pt x="225" y="246"/>
                  </a:lnTo>
                  <a:lnTo>
                    <a:pt x="233" y="249"/>
                  </a:lnTo>
                  <a:lnTo>
                    <a:pt x="233" y="243"/>
                  </a:lnTo>
                  <a:lnTo>
                    <a:pt x="221" y="225"/>
                  </a:lnTo>
                  <a:lnTo>
                    <a:pt x="237" y="207"/>
                  </a:lnTo>
                  <a:lnTo>
                    <a:pt x="242" y="205"/>
                  </a:lnTo>
                  <a:lnTo>
                    <a:pt x="242" y="196"/>
                  </a:lnTo>
                  <a:lnTo>
                    <a:pt x="251" y="185"/>
                  </a:lnTo>
                  <a:lnTo>
                    <a:pt x="249" y="184"/>
                  </a:lnTo>
                  <a:lnTo>
                    <a:pt x="241" y="153"/>
                  </a:lnTo>
                  <a:lnTo>
                    <a:pt x="237" y="147"/>
                  </a:lnTo>
                  <a:lnTo>
                    <a:pt x="230" y="146"/>
                  </a:lnTo>
                  <a:lnTo>
                    <a:pt x="228" y="142"/>
                  </a:lnTo>
                  <a:lnTo>
                    <a:pt x="228" y="132"/>
                  </a:lnTo>
                  <a:lnTo>
                    <a:pt x="223" y="131"/>
                  </a:lnTo>
                  <a:lnTo>
                    <a:pt x="225" y="137"/>
                  </a:lnTo>
                  <a:lnTo>
                    <a:pt x="224" y="139"/>
                  </a:lnTo>
                  <a:lnTo>
                    <a:pt x="214" y="127"/>
                  </a:lnTo>
                  <a:lnTo>
                    <a:pt x="216" y="123"/>
                  </a:lnTo>
                  <a:lnTo>
                    <a:pt x="215" y="122"/>
                  </a:lnTo>
                  <a:lnTo>
                    <a:pt x="205" y="122"/>
                  </a:lnTo>
                  <a:lnTo>
                    <a:pt x="189" y="133"/>
                  </a:lnTo>
                  <a:lnTo>
                    <a:pt x="190" y="124"/>
                  </a:lnTo>
                  <a:lnTo>
                    <a:pt x="189" y="118"/>
                  </a:lnTo>
                  <a:lnTo>
                    <a:pt x="198" y="120"/>
                  </a:lnTo>
                  <a:lnTo>
                    <a:pt x="203" y="115"/>
                  </a:lnTo>
                  <a:lnTo>
                    <a:pt x="202" y="109"/>
                  </a:lnTo>
                  <a:lnTo>
                    <a:pt x="183" y="94"/>
                  </a:lnTo>
                  <a:lnTo>
                    <a:pt x="186" y="92"/>
                  </a:lnTo>
                  <a:lnTo>
                    <a:pt x="186" y="87"/>
                  </a:lnTo>
                  <a:lnTo>
                    <a:pt x="175" y="87"/>
                  </a:lnTo>
                  <a:lnTo>
                    <a:pt x="175" y="70"/>
                  </a:lnTo>
                  <a:lnTo>
                    <a:pt x="167" y="72"/>
                  </a:lnTo>
                  <a:lnTo>
                    <a:pt x="158" y="63"/>
                  </a:lnTo>
                  <a:lnTo>
                    <a:pt x="155" y="66"/>
                  </a:lnTo>
                  <a:lnTo>
                    <a:pt x="160" y="81"/>
                  </a:lnTo>
                  <a:lnTo>
                    <a:pt x="158" y="84"/>
                  </a:lnTo>
                  <a:lnTo>
                    <a:pt x="145" y="87"/>
                  </a:lnTo>
                  <a:lnTo>
                    <a:pt x="142" y="80"/>
                  </a:lnTo>
                  <a:lnTo>
                    <a:pt x="118" y="74"/>
                  </a:lnTo>
                  <a:lnTo>
                    <a:pt x="117" y="78"/>
                  </a:lnTo>
                  <a:lnTo>
                    <a:pt x="128" y="86"/>
                  </a:lnTo>
                  <a:lnTo>
                    <a:pt x="129" y="89"/>
                  </a:lnTo>
                  <a:lnTo>
                    <a:pt x="126" y="89"/>
                  </a:lnTo>
                  <a:lnTo>
                    <a:pt x="120" y="82"/>
                  </a:lnTo>
                  <a:lnTo>
                    <a:pt x="115" y="88"/>
                  </a:lnTo>
                  <a:lnTo>
                    <a:pt x="98" y="79"/>
                  </a:lnTo>
                  <a:lnTo>
                    <a:pt x="91" y="84"/>
                  </a:lnTo>
                  <a:lnTo>
                    <a:pt x="67" y="77"/>
                  </a:lnTo>
                  <a:lnTo>
                    <a:pt x="67" y="80"/>
                  </a:lnTo>
                  <a:lnTo>
                    <a:pt x="57" y="78"/>
                  </a:lnTo>
                  <a:lnTo>
                    <a:pt x="49" y="68"/>
                  </a:lnTo>
                  <a:lnTo>
                    <a:pt x="49" y="61"/>
                  </a:lnTo>
                  <a:lnTo>
                    <a:pt x="47" y="66"/>
                  </a:lnTo>
                  <a:lnTo>
                    <a:pt x="42" y="68"/>
                  </a:lnTo>
                  <a:lnTo>
                    <a:pt x="26" y="66"/>
                  </a:lnTo>
                  <a:lnTo>
                    <a:pt x="20" y="60"/>
                  </a:lnTo>
                  <a:lnTo>
                    <a:pt x="8" y="42"/>
                  </a:lnTo>
                  <a:lnTo>
                    <a:pt x="8" y="35"/>
                  </a:lnTo>
                  <a:lnTo>
                    <a:pt x="26" y="41"/>
                  </a:lnTo>
                  <a:lnTo>
                    <a:pt x="41" y="38"/>
                  </a:lnTo>
                  <a:lnTo>
                    <a:pt x="28" y="27"/>
                  </a:lnTo>
                  <a:lnTo>
                    <a:pt x="2" y="23"/>
                  </a:lnTo>
                  <a:lnTo>
                    <a:pt x="0" y="18"/>
                  </a:lnTo>
                  <a:lnTo>
                    <a:pt x="0" y="8"/>
                  </a:lnTo>
                  <a:lnTo>
                    <a:pt x="2" y="3"/>
                  </a:lnTo>
                  <a:lnTo>
                    <a:pt x="1" y="0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76" name="Freeform 54"/>
            <p:cNvSpPr>
              <a:spLocks/>
            </p:cNvSpPr>
            <p:nvPr/>
          </p:nvSpPr>
          <p:spPr bwMode="auto">
            <a:xfrm>
              <a:off x="1849" y="1499"/>
              <a:ext cx="99" cy="90"/>
            </a:xfrm>
            <a:custGeom>
              <a:avLst/>
              <a:gdLst>
                <a:gd name="T0" fmla="*/ 19 w 99"/>
                <a:gd name="T1" fmla="*/ 4 h 90"/>
                <a:gd name="T2" fmla="*/ 23 w 99"/>
                <a:gd name="T3" fmla="*/ 0 h 90"/>
                <a:gd name="T4" fmla="*/ 23 w 99"/>
                <a:gd name="T5" fmla="*/ 3 h 90"/>
                <a:gd name="T6" fmla="*/ 27 w 99"/>
                <a:gd name="T7" fmla="*/ 3 h 90"/>
                <a:gd name="T8" fmla="*/ 30 w 99"/>
                <a:gd name="T9" fmla="*/ 10 h 90"/>
                <a:gd name="T10" fmla="*/ 29 w 99"/>
                <a:gd name="T11" fmla="*/ 12 h 90"/>
                <a:gd name="T12" fmla="*/ 30 w 99"/>
                <a:gd name="T13" fmla="*/ 21 h 90"/>
                <a:gd name="T14" fmla="*/ 33 w 99"/>
                <a:gd name="T15" fmla="*/ 22 h 90"/>
                <a:gd name="T16" fmla="*/ 36 w 99"/>
                <a:gd name="T17" fmla="*/ 15 h 90"/>
                <a:gd name="T18" fmla="*/ 38 w 99"/>
                <a:gd name="T19" fmla="*/ 15 h 90"/>
                <a:gd name="T20" fmla="*/ 43 w 99"/>
                <a:gd name="T21" fmla="*/ 19 h 90"/>
                <a:gd name="T22" fmla="*/ 43 w 99"/>
                <a:gd name="T23" fmla="*/ 23 h 90"/>
                <a:gd name="T24" fmla="*/ 53 w 99"/>
                <a:gd name="T25" fmla="*/ 26 h 90"/>
                <a:gd name="T26" fmla="*/ 62 w 99"/>
                <a:gd name="T27" fmla="*/ 37 h 90"/>
                <a:gd name="T28" fmla="*/ 74 w 99"/>
                <a:gd name="T29" fmla="*/ 42 h 90"/>
                <a:gd name="T30" fmla="*/ 79 w 99"/>
                <a:gd name="T31" fmla="*/ 57 h 90"/>
                <a:gd name="T32" fmla="*/ 77 w 99"/>
                <a:gd name="T33" fmla="*/ 61 h 90"/>
                <a:gd name="T34" fmla="*/ 84 w 99"/>
                <a:gd name="T35" fmla="*/ 62 h 90"/>
                <a:gd name="T36" fmla="*/ 88 w 99"/>
                <a:gd name="T37" fmla="*/ 58 h 90"/>
                <a:gd name="T38" fmla="*/ 93 w 99"/>
                <a:gd name="T39" fmla="*/ 63 h 90"/>
                <a:gd name="T40" fmla="*/ 93 w 99"/>
                <a:gd name="T41" fmla="*/ 67 h 90"/>
                <a:gd name="T42" fmla="*/ 99 w 99"/>
                <a:gd name="T43" fmla="*/ 70 h 90"/>
                <a:gd name="T44" fmla="*/ 86 w 99"/>
                <a:gd name="T45" fmla="*/ 80 h 90"/>
                <a:gd name="T46" fmla="*/ 72 w 99"/>
                <a:gd name="T47" fmla="*/ 72 h 90"/>
                <a:gd name="T48" fmla="*/ 67 w 99"/>
                <a:gd name="T49" fmla="*/ 73 h 90"/>
                <a:gd name="T50" fmla="*/ 67 w 99"/>
                <a:gd name="T51" fmla="*/ 65 h 90"/>
                <a:gd name="T52" fmla="*/ 57 w 99"/>
                <a:gd name="T53" fmla="*/ 63 h 90"/>
                <a:gd name="T54" fmla="*/ 60 w 99"/>
                <a:gd name="T55" fmla="*/ 57 h 90"/>
                <a:gd name="T56" fmla="*/ 50 w 99"/>
                <a:gd name="T57" fmla="*/ 60 h 90"/>
                <a:gd name="T58" fmla="*/ 50 w 99"/>
                <a:gd name="T59" fmla="*/ 71 h 90"/>
                <a:gd name="T60" fmla="*/ 41 w 99"/>
                <a:gd name="T61" fmla="*/ 76 h 90"/>
                <a:gd name="T62" fmla="*/ 35 w 99"/>
                <a:gd name="T63" fmla="*/ 86 h 90"/>
                <a:gd name="T64" fmla="*/ 27 w 99"/>
                <a:gd name="T65" fmla="*/ 90 h 90"/>
                <a:gd name="T66" fmla="*/ 24 w 99"/>
                <a:gd name="T67" fmla="*/ 90 h 90"/>
                <a:gd name="T68" fmla="*/ 22 w 99"/>
                <a:gd name="T69" fmla="*/ 85 h 90"/>
                <a:gd name="T70" fmla="*/ 21 w 99"/>
                <a:gd name="T71" fmla="*/ 67 h 90"/>
                <a:gd name="T72" fmla="*/ 19 w 99"/>
                <a:gd name="T73" fmla="*/ 72 h 90"/>
                <a:gd name="T74" fmla="*/ 2 w 99"/>
                <a:gd name="T75" fmla="*/ 77 h 90"/>
                <a:gd name="T76" fmla="*/ 0 w 99"/>
                <a:gd name="T77" fmla="*/ 73 h 90"/>
                <a:gd name="T78" fmla="*/ 3 w 99"/>
                <a:gd name="T79" fmla="*/ 66 h 90"/>
                <a:gd name="T80" fmla="*/ 13 w 99"/>
                <a:gd name="T81" fmla="*/ 58 h 90"/>
                <a:gd name="T82" fmla="*/ 11 w 99"/>
                <a:gd name="T83" fmla="*/ 44 h 90"/>
                <a:gd name="T84" fmla="*/ 14 w 99"/>
                <a:gd name="T85" fmla="*/ 29 h 90"/>
                <a:gd name="T86" fmla="*/ 15 w 99"/>
                <a:gd name="T87" fmla="*/ 15 h 90"/>
                <a:gd name="T88" fmla="*/ 19 w 99"/>
                <a:gd name="T89" fmla="*/ 4 h 9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99"/>
                <a:gd name="T136" fmla="*/ 0 h 90"/>
                <a:gd name="T137" fmla="*/ 99 w 99"/>
                <a:gd name="T138" fmla="*/ 90 h 9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99" h="90">
                  <a:moveTo>
                    <a:pt x="19" y="4"/>
                  </a:moveTo>
                  <a:lnTo>
                    <a:pt x="23" y="0"/>
                  </a:lnTo>
                  <a:lnTo>
                    <a:pt x="23" y="3"/>
                  </a:lnTo>
                  <a:lnTo>
                    <a:pt x="27" y="3"/>
                  </a:lnTo>
                  <a:lnTo>
                    <a:pt x="30" y="10"/>
                  </a:lnTo>
                  <a:lnTo>
                    <a:pt x="29" y="12"/>
                  </a:lnTo>
                  <a:lnTo>
                    <a:pt x="30" y="21"/>
                  </a:lnTo>
                  <a:lnTo>
                    <a:pt x="33" y="22"/>
                  </a:lnTo>
                  <a:lnTo>
                    <a:pt x="36" y="15"/>
                  </a:lnTo>
                  <a:lnTo>
                    <a:pt x="38" y="15"/>
                  </a:lnTo>
                  <a:lnTo>
                    <a:pt x="43" y="19"/>
                  </a:lnTo>
                  <a:lnTo>
                    <a:pt x="43" y="23"/>
                  </a:lnTo>
                  <a:lnTo>
                    <a:pt x="53" y="26"/>
                  </a:lnTo>
                  <a:lnTo>
                    <a:pt x="62" y="37"/>
                  </a:lnTo>
                  <a:lnTo>
                    <a:pt x="74" y="42"/>
                  </a:lnTo>
                  <a:lnTo>
                    <a:pt x="79" y="57"/>
                  </a:lnTo>
                  <a:lnTo>
                    <a:pt x="77" y="61"/>
                  </a:lnTo>
                  <a:lnTo>
                    <a:pt x="84" y="62"/>
                  </a:lnTo>
                  <a:lnTo>
                    <a:pt x="88" y="58"/>
                  </a:lnTo>
                  <a:lnTo>
                    <a:pt x="93" y="63"/>
                  </a:lnTo>
                  <a:lnTo>
                    <a:pt x="93" y="67"/>
                  </a:lnTo>
                  <a:lnTo>
                    <a:pt x="99" y="70"/>
                  </a:lnTo>
                  <a:lnTo>
                    <a:pt x="86" y="80"/>
                  </a:lnTo>
                  <a:lnTo>
                    <a:pt x="72" y="72"/>
                  </a:lnTo>
                  <a:lnTo>
                    <a:pt x="67" y="73"/>
                  </a:lnTo>
                  <a:lnTo>
                    <a:pt x="67" y="65"/>
                  </a:lnTo>
                  <a:lnTo>
                    <a:pt x="57" y="63"/>
                  </a:lnTo>
                  <a:lnTo>
                    <a:pt x="60" y="57"/>
                  </a:lnTo>
                  <a:lnTo>
                    <a:pt x="50" y="60"/>
                  </a:lnTo>
                  <a:lnTo>
                    <a:pt x="50" y="71"/>
                  </a:lnTo>
                  <a:lnTo>
                    <a:pt x="41" y="76"/>
                  </a:lnTo>
                  <a:lnTo>
                    <a:pt x="35" y="86"/>
                  </a:lnTo>
                  <a:lnTo>
                    <a:pt x="27" y="90"/>
                  </a:lnTo>
                  <a:lnTo>
                    <a:pt x="24" y="90"/>
                  </a:lnTo>
                  <a:lnTo>
                    <a:pt x="22" y="85"/>
                  </a:lnTo>
                  <a:lnTo>
                    <a:pt x="21" y="67"/>
                  </a:lnTo>
                  <a:lnTo>
                    <a:pt x="19" y="72"/>
                  </a:lnTo>
                  <a:lnTo>
                    <a:pt x="2" y="77"/>
                  </a:lnTo>
                  <a:lnTo>
                    <a:pt x="0" y="73"/>
                  </a:lnTo>
                  <a:lnTo>
                    <a:pt x="3" y="66"/>
                  </a:lnTo>
                  <a:lnTo>
                    <a:pt x="13" y="58"/>
                  </a:lnTo>
                  <a:lnTo>
                    <a:pt x="11" y="44"/>
                  </a:lnTo>
                  <a:lnTo>
                    <a:pt x="14" y="29"/>
                  </a:lnTo>
                  <a:lnTo>
                    <a:pt x="15" y="15"/>
                  </a:lnTo>
                  <a:lnTo>
                    <a:pt x="19" y="4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77" name="Freeform 55"/>
            <p:cNvSpPr>
              <a:spLocks/>
            </p:cNvSpPr>
            <p:nvPr/>
          </p:nvSpPr>
          <p:spPr bwMode="auto">
            <a:xfrm>
              <a:off x="1671" y="1265"/>
              <a:ext cx="47" cy="26"/>
            </a:xfrm>
            <a:custGeom>
              <a:avLst/>
              <a:gdLst>
                <a:gd name="T0" fmla="*/ 0 w 47"/>
                <a:gd name="T1" fmla="*/ 0 h 26"/>
                <a:gd name="T2" fmla="*/ 47 w 47"/>
                <a:gd name="T3" fmla="*/ 0 h 26"/>
                <a:gd name="T4" fmla="*/ 47 w 47"/>
                <a:gd name="T5" fmla="*/ 1 h 26"/>
                <a:gd name="T6" fmla="*/ 35 w 47"/>
                <a:gd name="T7" fmla="*/ 12 h 26"/>
                <a:gd name="T8" fmla="*/ 24 w 47"/>
                <a:gd name="T9" fmla="*/ 10 h 26"/>
                <a:gd name="T10" fmla="*/ 26 w 47"/>
                <a:gd name="T11" fmla="*/ 18 h 26"/>
                <a:gd name="T12" fmla="*/ 19 w 47"/>
                <a:gd name="T13" fmla="*/ 26 h 26"/>
                <a:gd name="T14" fmla="*/ 15 w 47"/>
                <a:gd name="T15" fmla="*/ 21 h 26"/>
                <a:gd name="T16" fmla="*/ 10 w 47"/>
                <a:gd name="T17" fmla="*/ 23 h 26"/>
                <a:gd name="T18" fmla="*/ 5 w 47"/>
                <a:gd name="T19" fmla="*/ 6 h 26"/>
                <a:gd name="T20" fmla="*/ 0 w 47"/>
                <a:gd name="T21" fmla="*/ 0 h 2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7"/>
                <a:gd name="T34" fmla="*/ 0 h 26"/>
                <a:gd name="T35" fmla="*/ 47 w 47"/>
                <a:gd name="T36" fmla="*/ 26 h 2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7" h="26">
                  <a:moveTo>
                    <a:pt x="0" y="0"/>
                  </a:moveTo>
                  <a:lnTo>
                    <a:pt x="47" y="0"/>
                  </a:lnTo>
                  <a:lnTo>
                    <a:pt x="47" y="1"/>
                  </a:lnTo>
                  <a:lnTo>
                    <a:pt x="35" y="12"/>
                  </a:lnTo>
                  <a:lnTo>
                    <a:pt x="24" y="10"/>
                  </a:lnTo>
                  <a:lnTo>
                    <a:pt x="26" y="18"/>
                  </a:lnTo>
                  <a:lnTo>
                    <a:pt x="19" y="26"/>
                  </a:lnTo>
                  <a:lnTo>
                    <a:pt x="15" y="21"/>
                  </a:lnTo>
                  <a:lnTo>
                    <a:pt x="10" y="23"/>
                  </a:lnTo>
                  <a:lnTo>
                    <a:pt x="5" y="6"/>
                  </a:lnTo>
                  <a:lnTo>
                    <a:pt x="0" y="0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78" name="Freeform 56"/>
            <p:cNvSpPr>
              <a:spLocks/>
            </p:cNvSpPr>
            <p:nvPr/>
          </p:nvSpPr>
          <p:spPr bwMode="auto">
            <a:xfrm>
              <a:off x="1398" y="1265"/>
              <a:ext cx="258" cy="139"/>
            </a:xfrm>
            <a:custGeom>
              <a:avLst/>
              <a:gdLst>
                <a:gd name="T0" fmla="*/ 151 w 258"/>
                <a:gd name="T1" fmla="*/ 0 h 139"/>
                <a:gd name="T2" fmla="*/ 155 w 258"/>
                <a:gd name="T3" fmla="*/ 8 h 139"/>
                <a:gd name="T4" fmla="*/ 162 w 258"/>
                <a:gd name="T5" fmla="*/ 0 h 139"/>
                <a:gd name="T6" fmla="*/ 207 w 258"/>
                <a:gd name="T7" fmla="*/ 11 h 139"/>
                <a:gd name="T8" fmla="*/ 205 w 258"/>
                <a:gd name="T9" fmla="*/ 21 h 139"/>
                <a:gd name="T10" fmla="*/ 206 w 258"/>
                <a:gd name="T11" fmla="*/ 34 h 139"/>
                <a:gd name="T12" fmla="*/ 231 w 258"/>
                <a:gd name="T13" fmla="*/ 52 h 139"/>
                <a:gd name="T14" fmla="*/ 247 w 258"/>
                <a:gd name="T15" fmla="*/ 66 h 139"/>
                <a:gd name="T16" fmla="*/ 256 w 258"/>
                <a:gd name="T17" fmla="*/ 73 h 139"/>
                <a:gd name="T18" fmla="*/ 256 w 258"/>
                <a:gd name="T19" fmla="*/ 92 h 139"/>
                <a:gd name="T20" fmla="*/ 250 w 258"/>
                <a:gd name="T21" fmla="*/ 87 h 139"/>
                <a:gd name="T22" fmla="*/ 247 w 258"/>
                <a:gd name="T23" fmla="*/ 92 h 139"/>
                <a:gd name="T24" fmla="*/ 241 w 258"/>
                <a:gd name="T25" fmla="*/ 82 h 139"/>
                <a:gd name="T26" fmla="*/ 234 w 258"/>
                <a:gd name="T27" fmla="*/ 97 h 139"/>
                <a:gd name="T28" fmla="*/ 226 w 258"/>
                <a:gd name="T29" fmla="*/ 109 h 139"/>
                <a:gd name="T30" fmla="*/ 240 w 258"/>
                <a:gd name="T31" fmla="*/ 99 h 139"/>
                <a:gd name="T32" fmla="*/ 239 w 258"/>
                <a:gd name="T33" fmla="*/ 107 h 139"/>
                <a:gd name="T34" fmla="*/ 241 w 258"/>
                <a:gd name="T35" fmla="*/ 108 h 139"/>
                <a:gd name="T36" fmla="*/ 243 w 258"/>
                <a:gd name="T37" fmla="*/ 120 h 139"/>
                <a:gd name="T38" fmla="*/ 228 w 258"/>
                <a:gd name="T39" fmla="*/ 128 h 139"/>
                <a:gd name="T40" fmla="*/ 199 w 258"/>
                <a:gd name="T41" fmla="*/ 115 h 139"/>
                <a:gd name="T42" fmla="*/ 180 w 258"/>
                <a:gd name="T43" fmla="*/ 102 h 139"/>
                <a:gd name="T44" fmla="*/ 170 w 258"/>
                <a:gd name="T45" fmla="*/ 105 h 139"/>
                <a:gd name="T46" fmla="*/ 165 w 258"/>
                <a:gd name="T47" fmla="*/ 119 h 139"/>
                <a:gd name="T48" fmla="*/ 146 w 258"/>
                <a:gd name="T49" fmla="*/ 127 h 139"/>
                <a:gd name="T50" fmla="*/ 82 w 258"/>
                <a:gd name="T51" fmla="*/ 139 h 139"/>
                <a:gd name="T52" fmla="*/ 78 w 258"/>
                <a:gd name="T53" fmla="*/ 129 h 139"/>
                <a:gd name="T54" fmla="*/ 77 w 258"/>
                <a:gd name="T55" fmla="*/ 116 h 139"/>
                <a:gd name="T56" fmla="*/ 59 w 258"/>
                <a:gd name="T57" fmla="*/ 108 h 139"/>
                <a:gd name="T58" fmla="*/ 36 w 258"/>
                <a:gd name="T59" fmla="*/ 101 h 139"/>
                <a:gd name="T60" fmla="*/ 23 w 258"/>
                <a:gd name="T61" fmla="*/ 78 h 139"/>
                <a:gd name="T62" fmla="*/ 92 w 258"/>
                <a:gd name="T63" fmla="*/ 69 h 139"/>
                <a:gd name="T64" fmla="*/ 94 w 258"/>
                <a:gd name="T65" fmla="*/ 62 h 139"/>
                <a:gd name="T66" fmla="*/ 51 w 258"/>
                <a:gd name="T67" fmla="*/ 56 h 139"/>
                <a:gd name="T68" fmla="*/ 21 w 258"/>
                <a:gd name="T69" fmla="*/ 52 h 139"/>
                <a:gd name="T70" fmla="*/ 21 w 258"/>
                <a:gd name="T71" fmla="*/ 28 h 139"/>
                <a:gd name="T72" fmla="*/ 46 w 258"/>
                <a:gd name="T73" fmla="*/ 22 h 139"/>
                <a:gd name="T74" fmla="*/ 13 w 258"/>
                <a:gd name="T75" fmla="*/ 21 h 139"/>
                <a:gd name="T76" fmla="*/ 18 w 258"/>
                <a:gd name="T77" fmla="*/ 14 h 139"/>
                <a:gd name="T78" fmla="*/ 1 w 258"/>
                <a:gd name="T79" fmla="*/ 9 h 139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58"/>
                <a:gd name="T121" fmla="*/ 0 h 139"/>
                <a:gd name="T122" fmla="*/ 258 w 258"/>
                <a:gd name="T123" fmla="*/ 139 h 139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58" h="139">
                  <a:moveTo>
                    <a:pt x="0" y="0"/>
                  </a:moveTo>
                  <a:lnTo>
                    <a:pt x="151" y="0"/>
                  </a:lnTo>
                  <a:lnTo>
                    <a:pt x="151" y="5"/>
                  </a:lnTo>
                  <a:lnTo>
                    <a:pt x="155" y="8"/>
                  </a:lnTo>
                  <a:lnTo>
                    <a:pt x="159" y="5"/>
                  </a:lnTo>
                  <a:lnTo>
                    <a:pt x="162" y="0"/>
                  </a:lnTo>
                  <a:lnTo>
                    <a:pt x="202" y="0"/>
                  </a:lnTo>
                  <a:lnTo>
                    <a:pt x="207" y="11"/>
                  </a:lnTo>
                  <a:lnTo>
                    <a:pt x="208" y="19"/>
                  </a:lnTo>
                  <a:lnTo>
                    <a:pt x="205" y="21"/>
                  </a:lnTo>
                  <a:lnTo>
                    <a:pt x="205" y="30"/>
                  </a:lnTo>
                  <a:lnTo>
                    <a:pt x="206" y="34"/>
                  </a:lnTo>
                  <a:lnTo>
                    <a:pt x="222" y="53"/>
                  </a:lnTo>
                  <a:lnTo>
                    <a:pt x="231" y="52"/>
                  </a:lnTo>
                  <a:lnTo>
                    <a:pt x="242" y="65"/>
                  </a:lnTo>
                  <a:lnTo>
                    <a:pt x="247" y="66"/>
                  </a:lnTo>
                  <a:lnTo>
                    <a:pt x="248" y="73"/>
                  </a:lnTo>
                  <a:lnTo>
                    <a:pt x="256" y="73"/>
                  </a:lnTo>
                  <a:lnTo>
                    <a:pt x="258" y="79"/>
                  </a:lnTo>
                  <a:lnTo>
                    <a:pt x="256" y="92"/>
                  </a:lnTo>
                  <a:lnTo>
                    <a:pt x="252" y="92"/>
                  </a:lnTo>
                  <a:lnTo>
                    <a:pt x="250" y="87"/>
                  </a:lnTo>
                  <a:lnTo>
                    <a:pt x="250" y="81"/>
                  </a:lnTo>
                  <a:lnTo>
                    <a:pt x="247" y="92"/>
                  </a:lnTo>
                  <a:lnTo>
                    <a:pt x="243" y="91"/>
                  </a:lnTo>
                  <a:lnTo>
                    <a:pt x="241" y="82"/>
                  </a:lnTo>
                  <a:lnTo>
                    <a:pt x="233" y="89"/>
                  </a:lnTo>
                  <a:lnTo>
                    <a:pt x="234" y="97"/>
                  </a:lnTo>
                  <a:lnTo>
                    <a:pt x="225" y="96"/>
                  </a:lnTo>
                  <a:lnTo>
                    <a:pt x="226" y="109"/>
                  </a:lnTo>
                  <a:lnTo>
                    <a:pt x="233" y="99"/>
                  </a:lnTo>
                  <a:lnTo>
                    <a:pt x="240" y="99"/>
                  </a:lnTo>
                  <a:lnTo>
                    <a:pt x="242" y="101"/>
                  </a:lnTo>
                  <a:lnTo>
                    <a:pt x="239" y="107"/>
                  </a:lnTo>
                  <a:lnTo>
                    <a:pt x="239" y="111"/>
                  </a:lnTo>
                  <a:lnTo>
                    <a:pt x="241" y="108"/>
                  </a:lnTo>
                  <a:lnTo>
                    <a:pt x="248" y="113"/>
                  </a:lnTo>
                  <a:lnTo>
                    <a:pt x="243" y="120"/>
                  </a:lnTo>
                  <a:lnTo>
                    <a:pt x="231" y="123"/>
                  </a:lnTo>
                  <a:lnTo>
                    <a:pt x="228" y="128"/>
                  </a:lnTo>
                  <a:lnTo>
                    <a:pt x="196" y="121"/>
                  </a:lnTo>
                  <a:lnTo>
                    <a:pt x="199" y="115"/>
                  </a:lnTo>
                  <a:lnTo>
                    <a:pt x="180" y="111"/>
                  </a:lnTo>
                  <a:lnTo>
                    <a:pt x="180" y="102"/>
                  </a:lnTo>
                  <a:lnTo>
                    <a:pt x="176" y="99"/>
                  </a:lnTo>
                  <a:lnTo>
                    <a:pt x="170" y="105"/>
                  </a:lnTo>
                  <a:lnTo>
                    <a:pt x="171" y="111"/>
                  </a:lnTo>
                  <a:lnTo>
                    <a:pt x="165" y="119"/>
                  </a:lnTo>
                  <a:lnTo>
                    <a:pt x="149" y="122"/>
                  </a:lnTo>
                  <a:lnTo>
                    <a:pt x="146" y="127"/>
                  </a:lnTo>
                  <a:lnTo>
                    <a:pt x="135" y="133"/>
                  </a:lnTo>
                  <a:lnTo>
                    <a:pt x="82" y="139"/>
                  </a:lnTo>
                  <a:lnTo>
                    <a:pt x="86" y="136"/>
                  </a:lnTo>
                  <a:lnTo>
                    <a:pt x="78" y="129"/>
                  </a:lnTo>
                  <a:lnTo>
                    <a:pt x="76" y="124"/>
                  </a:lnTo>
                  <a:lnTo>
                    <a:pt x="77" y="116"/>
                  </a:lnTo>
                  <a:lnTo>
                    <a:pt x="71" y="109"/>
                  </a:lnTo>
                  <a:lnTo>
                    <a:pt x="59" y="108"/>
                  </a:lnTo>
                  <a:lnTo>
                    <a:pt x="45" y="108"/>
                  </a:lnTo>
                  <a:lnTo>
                    <a:pt x="36" y="101"/>
                  </a:lnTo>
                  <a:lnTo>
                    <a:pt x="31" y="96"/>
                  </a:lnTo>
                  <a:lnTo>
                    <a:pt x="23" y="78"/>
                  </a:lnTo>
                  <a:lnTo>
                    <a:pt x="65" y="65"/>
                  </a:lnTo>
                  <a:lnTo>
                    <a:pt x="92" y="69"/>
                  </a:lnTo>
                  <a:lnTo>
                    <a:pt x="95" y="66"/>
                  </a:lnTo>
                  <a:lnTo>
                    <a:pt x="94" y="62"/>
                  </a:lnTo>
                  <a:lnTo>
                    <a:pt x="72" y="50"/>
                  </a:lnTo>
                  <a:lnTo>
                    <a:pt x="51" y="56"/>
                  </a:lnTo>
                  <a:lnTo>
                    <a:pt x="40" y="52"/>
                  </a:lnTo>
                  <a:lnTo>
                    <a:pt x="21" y="52"/>
                  </a:lnTo>
                  <a:lnTo>
                    <a:pt x="10" y="36"/>
                  </a:lnTo>
                  <a:lnTo>
                    <a:pt x="21" y="28"/>
                  </a:lnTo>
                  <a:lnTo>
                    <a:pt x="35" y="24"/>
                  </a:lnTo>
                  <a:lnTo>
                    <a:pt x="46" y="22"/>
                  </a:lnTo>
                  <a:lnTo>
                    <a:pt x="42" y="18"/>
                  </a:lnTo>
                  <a:lnTo>
                    <a:pt x="13" y="21"/>
                  </a:lnTo>
                  <a:lnTo>
                    <a:pt x="11" y="17"/>
                  </a:lnTo>
                  <a:lnTo>
                    <a:pt x="18" y="14"/>
                  </a:lnTo>
                  <a:lnTo>
                    <a:pt x="17" y="8"/>
                  </a:lnTo>
                  <a:lnTo>
                    <a:pt x="1" y="9"/>
                  </a:lnTo>
                  <a:lnTo>
                    <a:pt x="0" y="0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79" name="Freeform 57"/>
            <p:cNvSpPr>
              <a:spLocks/>
            </p:cNvSpPr>
            <p:nvPr/>
          </p:nvSpPr>
          <p:spPr bwMode="auto">
            <a:xfrm>
              <a:off x="1317" y="1265"/>
              <a:ext cx="1" cy="1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0 w 1"/>
                <a:gd name="T5" fmla="*/ 1 h 1"/>
                <a:gd name="T6" fmla="*/ 0 w 1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1"/>
                <a:gd name="T14" fmla="*/ 1 w 1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1">
                  <a:moveTo>
                    <a:pt x="0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80" name="Freeform 58"/>
            <p:cNvSpPr>
              <a:spLocks/>
            </p:cNvSpPr>
            <p:nvPr/>
          </p:nvSpPr>
          <p:spPr bwMode="auto">
            <a:xfrm>
              <a:off x="1322" y="1265"/>
              <a:ext cx="56" cy="32"/>
            </a:xfrm>
            <a:custGeom>
              <a:avLst/>
              <a:gdLst>
                <a:gd name="T0" fmla="*/ 0 w 56"/>
                <a:gd name="T1" fmla="*/ 0 h 32"/>
                <a:gd name="T2" fmla="*/ 55 w 56"/>
                <a:gd name="T3" fmla="*/ 0 h 32"/>
                <a:gd name="T4" fmla="*/ 56 w 56"/>
                <a:gd name="T5" fmla="*/ 4 h 32"/>
                <a:gd name="T6" fmla="*/ 53 w 56"/>
                <a:gd name="T7" fmla="*/ 13 h 32"/>
                <a:gd name="T8" fmla="*/ 43 w 56"/>
                <a:gd name="T9" fmla="*/ 19 h 32"/>
                <a:gd name="T10" fmla="*/ 37 w 56"/>
                <a:gd name="T11" fmla="*/ 14 h 32"/>
                <a:gd name="T12" fmla="*/ 17 w 56"/>
                <a:gd name="T13" fmla="*/ 32 h 32"/>
                <a:gd name="T14" fmla="*/ 4 w 56"/>
                <a:gd name="T15" fmla="*/ 4 h 32"/>
                <a:gd name="T16" fmla="*/ 0 w 56"/>
                <a:gd name="T17" fmla="*/ 0 h 3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6"/>
                <a:gd name="T28" fmla="*/ 0 h 32"/>
                <a:gd name="T29" fmla="*/ 56 w 56"/>
                <a:gd name="T30" fmla="*/ 32 h 3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6" h="32">
                  <a:moveTo>
                    <a:pt x="0" y="0"/>
                  </a:moveTo>
                  <a:lnTo>
                    <a:pt x="55" y="0"/>
                  </a:lnTo>
                  <a:lnTo>
                    <a:pt x="56" y="4"/>
                  </a:lnTo>
                  <a:lnTo>
                    <a:pt x="53" y="13"/>
                  </a:lnTo>
                  <a:lnTo>
                    <a:pt x="43" y="19"/>
                  </a:lnTo>
                  <a:lnTo>
                    <a:pt x="37" y="14"/>
                  </a:lnTo>
                  <a:lnTo>
                    <a:pt x="17" y="32"/>
                  </a:lnTo>
                  <a:lnTo>
                    <a:pt x="4" y="4"/>
                  </a:lnTo>
                  <a:lnTo>
                    <a:pt x="0" y="0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81" name="Freeform 59"/>
            <p:cNvSpPr>
              <a:spLocks/>
            </p:cNvSpPr>
            <p:nvPr/>
          </p:nvSpPr>
          <p:spPr bwMode="auto">
            <a:xfrm>
              <a:off x="1675" y="1349"/>
              <a:ext cx="61" cy="55"/>
            </a:xfrm>
            <a:custGeom>
              <a:avLst/>
              <a:gdLst>
                <a:gd name="T0" fmla="*/ 36 w 61"/>
                <a:gd name="T1" fmla="*/ 14 h 55"/>
                <a:gd name="T2" fmla="*/ 30 w 61"/>
                <a:gd name="T3" fmla="*/ 9 h 55"/>
                <a:gd name="T4" fmla="*/ 30 w 61"/>
                <a:gd name="T5" fmla="*/ 5 h 55"/>
                <a:gd name="T6" fmla="*/ 22 w 61"/>
                <a:gd name="T7" fmla="*/ 0 h 55"/>
                <a:gd name="T8" fmla="*/ 17 w 61"/>
                <a:gd name="T9" fmla="*/ 11 h 55"/>
                <a:gd name="T10" fmla="*/ 18 w 61"/>
                <a:gd name="T11" fmla="*/ 15 h 55"/>
                <a:gd name="T12" fmla="*/ 13 w 61"/>
                <a:gd name="T13" fmla="*/ 15 h 55"/>
                <a:gd name="T14" fmla="*/ 14 w 61"/>
                <a:gd name="T15" fmla="*/ 23 h 55"/>
                <a:gd name="T16" fmla="*/ 12 w 61"/>
                <a:gd name="T17" fmla="*/ 28 h 55"/>
                <a:gd name="T18" fmla="*/ 1 w 61"/>
                <a:gd name="T19" fmla="*/ 32 h 55"/>
                <a:gd name="T20" fmla="*/ 0 w 61"/>
                <a:gd name="T21" fmla="*/ 39 h 55"/>
                <a:gd name="T22" fmla="*/ 6 w 61"/>
                <a:gd name="T23" fmla="*/ 43 h 55"/>
                <a:gd name="T24" fmla="*/ 8 w 61"/>
                <a:gd name="T25" fmla="*/ 39 h 55"/>
                <a:gd name="T26" fmla="*/ 28 w 61"/>
                <a:gd name="T27" fmla="*/ 52 h 55"/>
                <a:gd name="T28" fmla="*/ 45 w 61"/>
                <a:gd name="T29" fmla="*/ 55 h 55"/>
                <a:gd name="T30" fmla="*/ 48 w 61"/>
                <a:gd name="T31" fmla="*/ 50 h 55"/>
                <a:gd name="T32" fmla="*/ 58 w 61"/>
                <a:gd name="T33" fmla="*/ 47 h 55"/>
                <a:gd name="T34" fmla="*/ 61 w 61"/>
                <a:gd name="T35" fmla="*/ 43 h 55"/>
                <a:gd name="T36" fmla="*/ 57 w 61"/>
                <a:gd name="T37" fmla="*/ 44 h 55"/>
                <a:gd name="T38" fmla="*/ 49 w 61"/>
                <a:gd name="T39" fmla="*/ 29 h 55"/>
                <a:gd name="T40" fmla="*/ 36 w 61"/>
                <a:gd name="T41" fmla="*/ 14 h 5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61"/>
                <a:gd name="T64" fmla="*/ 0 h 55"/>
                <a:gd name="T65" fmla="*/ 61 w 61"/>
                <a:gd name="T66" fmla="*/ 55 h 55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61" h="55">
                  <a:moveTo>
                    <a:pt x="36" y="14"/>
                  </a:moveTo>
                  <a:lnTo>
                    <a:pt x="30" y="9"/>
                  </a:lnTo>
                  <a:lnTo>
                    <a:pt x="30" y="5"/>
                  </a:lnTo>
                  <a:lnTo>
                    <a:pt x="22" y="0"/>
                  </a:lnTo>
                  <a:lnTo>
                    <a:pt x="17" y="11"/>
                  </a:lnTo>
                  <a:lnTo>
                    <a:pt x="18" y="15"/>
                  </a:lnTo>
                  <a:lnTo>
                    <a:pt x="13" y="15"/>
                  </a:lnTo>
                  <a:lnTo>
                    <a:pt x="14" y="23"/>
                  </a:lnTo>
                  <a:lnTo>
                    <a:pt x="12" y="28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6" y="43"/>
                  </a:lnTo>
                  <a:lnTo>
                    <a:pt x="8" y="39"/>
                  </a:lnTo>
                  <a:lnTo>
                    <a:pt x="28" y="52"/>
                  </a:lnTo>
                  <a:lnTo>
                    <a:pt x="45" y="55"/>
                  </a:lnTo>
                  <a:lnTo>
                    <a:pt x="48" y="50"/>
                  </a:lnTo>
                  <a:lnTo>
                    <a:pt x="58" y="47"/>
                  </a:lnTo>
                  <a:lnTo>
                    <a:pt x="61" y="43"/>
                  </a:lnTo>
                  <a:lnTo>
                    <a:pt x="57" y="44"/>
                  </a:lnTo>
                  <a:lnTo>
                    <a:pt x="49" y="29"/>
                  </a:lnTo>
                  <a:lnTo>
                    <a:pt x="36" y="14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82" name="Freeform 60"/>
            <p:cNvSpPr>
              <a:spLocks/>
            </p:cNvSpPr>
            <p:nvPr/>
          </p:nvSpPr>
          <p:spPr bwMode="auto">
            <a:xfrm>
              <a:off x="1168" y="1354"/>
              <a:ext cx="20" cy="29"/>
            </a:xfrm>
            <a:custGeom>
              <a:avLst/>
              <a:gdLst>
                <a:gd name="T0" fmla="*/ 4 w 20"/>
                <a:gd name="T1" fmla="*/ 15 h 29"/>
                <a:gd name="T2" fmla="*/ 6 w 20"/>
                <a:gd name="T3" fmla="*/ 15 h 29"/>
                <a:gd name="T4" fmla="*/ 4 w 20"/>
                <a:gd name="T5" fmla="*/ 12 h 29"/>
                <a:gd name="T6" fmla="*/ 11 w 20"/>
                <a:gd name="T7" fmla="*/ 12 h 29"/>
                <a:gd name="T8" fmla="*/ 9 w 20"/>
                <a:gd name="T9" fmla="*/ 10 h 29"/>
                <a:gd name="T10" fmla="*/ 12 w 20"/>
                <a:gd name="T11" fmla="*/ 5 h 29"/>
                <a:gd name="T12" fmla="*/ 10 w 20"/>
                <a:gd name="T13" fmla="*/ 0 h 29"/>
                <a:gd name="T14" fmla="*/ 12 w 20"/>
                <a:gd name="T15" fmla="*/ 0 h 29"/>
                <a:gd name="T16" fmla="*/ 15 w 20"/>
                <a:gd name="T17" fmla="*/ 8 h 29"/>
                <a:gd name="T18" fmla="*/ 20 w 20"/>
                <a:gd name="T19" fmla="*/ 8 h 29"/>
                <a:gd name="T20" fmla="*/ 20 w 20"/>
                <a:gd name="T21" fmla="*/ 13 h 29"/>
                <a:gd name="T22" fmla="*/ 8 w 20"/>
                <a:gd name="T23" fmla="*/ 29 h 29"/>
                <a:gd name="T24" fmla="*/ 4 w 20"/>
                <a:gd name="T25" fmla="*/ 27 h 29"/>
                <a:gd name="T26" fmla="*/ 6 w 20"/>
                <a:gd name="T27" fmla="*/ 25 h 29"/>
                <a:gd name="T28" fmla="*/ 3 w 20"/>
                <a:gd name="T29" fmla="*/ 22 h 29"/>
                <a:gd name="T30" fmla="*/ 0 w 20"/>
                <a:gd name="T31" fmla="*/ 13 h 29"/>
                <a:gd name="T32" fmla="*/ 4 w 20"/>
                <a:gd name="T33" fmla="*/ 15 h 2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0"/>
                <a:gd name="T52" fmla="*/ 0 h 29"/>
                <a:gd name="T53" fmla="*/ 20 w 20"/>
                <a:gd name="T54" fmla="*/ 29 h 2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0" h="29">
                  <a:moveTo>
                    <a:pt x="4" y="15"/>
                  </a:moveTo>
                  <a:lnTo>
                    <a:pt x="6" y="15"/>
                  </a:lnTo>
                  <a:lnTo>
                    <a:pt x="4" y="12"/>
                  </a:lnTo>
                  <a:lnTo>
                    <a:pt x="11" y="12"/>
                  </a:lnTo>
                  <a:lnTo>
                    <a:pt x="9" y="10"/>
                  </a:lnTo>
                  <a:lnTo>
                    <a:pt x="12" y="5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5" y="8"/>
                  </a:lnTo>
                  <a:lnTo>
                    <a:pt x="20" y="8"/>
                  </a:lnTo>
                  <a:lnTo>
                    <a:pt x="20" y="13"/>
                  </a:lnTo>
                  <a:lnTo>
                    <a:pt x="8" y="29"/>
                  </a:lnTo>
                  <a:lnTo>
                    <a:pt x="4" y="27"/>
                  </a:lnTo>
                  <a:lnTo>
                    <a:pt x="6" y="25"/>
                  </a:lnTo>
                  <a:lnTo>
                    <a:pt x="3" y="22"/>
                  </a:lnTo>
                  <a:lnTo>
                    <a:pt x="0" y="13"/>
                  </a:lnTo>
                  <a:lnTo>
                    <a:pt x="4" y="15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83" name="Freeform 61"/>
            <p:cNvSpPr>
              <a:spLocks/>
            </p:cNvSpPr>
            <p:nvPr/>
          </p:nvSpPr>
          <p:spPr bwMode="auto">
            <a:xfrm>
              <a:off x="1158" y="1373"/>
              <a:ext cx="14" cy="13"/>
            </a:xfrm>
            <a:custGeom>
              <a:avLst/>
              <a:gdLst>
                <a:gd name="T0" fmla="*/ 1 w 14"/>
                <a:gd name="T1" fmla="*/ 1 h 13"/>
                <a:gd name="T2" fmla="*/ 0 w 14"/>
                <a:gd name="T3" fmla="*/ 5 h 13"/>
                <a:gd name="T4" fmla="*/ 4 w 14"/>
                <a:gd name="T5" fmla="*/ 10 h 13"/>
                <a:gd name="T6" fmla="*/ 14 w 14"/>
                <a:gd name="T7" fmla="*/ 13 h 13"/>
                <a:gd name="T8" fmla="*/ 3 w 14"/>
                <a:gd name="T9" fmla="*/ 0 h 13"/>
                <a:gd name="T10" fmla="*/ 1 w 14"/>
                <a:gd name="T11" fmla="*/ 1 h 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"/>
                <a:gd name="T19" fmla="*/ 0 h 13"/>
                <a:gd name="T20" fmla="*/ 14 w 14"/>
                <a:gd name="T21" fmla="*/ 13 h 1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" h="13">
                  <a:moveTo>
                    <a:pt x="1" y="1"/>
                  </a:moveTo>
                  <a:lnTo>
                    <a:pt x="0" y="5"/>
                  </a:lnTo>
                  <a:lnTo>
                    <a:pt x="4" y="10"/>
                  </a:lnTo>
                  <a:lnTo>
                    <a:pt x="14" y="13"/>
                  </a:lnTo>
                  <a:lnTo>
                    <a:pt x="3" y="0"/>
                  </a:lnTo>
                  <a:lnTo>
                    <a:pt x="1" y="1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84" name="Freeform 62"/>
            <p:cNvSpPr>
              <a:spLocks/>
            </p:cNvSpPr>
            <p:nvPr/>
          </p:nvSpPr>
          <p:spPr bwMode="auto">
            <a:xfrm>
              <a:off x="2243" y="1893"/>
              <a:ext cx="94" cy="109"/>
            </a:xfrm>
            <a:custGeom>
              <a:avLst/>
              <a:gdLst>
                <a:gd name="T0" fmla="*/ 82 w 94"/>
                <a:gd name="T1" fmla="*/ 51 h 109"/>
                <a:gd name="T2" fmla="*/ 72 w 94"/>
                <a:gd name="T3" fmla="*/ 50 h 109"/>
                <a:gd name="T4" fmla="*/ 57 w 94"/>
                <a:gd name="T5" fmla="*/ 53 h 109"/>
                <a:gd name="T6" fmla="*/ 56 w 94"/>
                <a:gd name="T7" fmla="*/ 49 h 109"/>
                <a:gd name="T8" fmla="*/ 49 w 94"/>
                <a:gd name="T9" fmla="*/ 45 h 109"/>
                <a:gd name="T10" fmla="*/ 54 w 94"/>
                <a:gd name="T11" fmla="*/ 39 h 109"/>
                <a:gd name="T12" fmla="*/ 47 w 94"/>
                <a:gd name="T13" fmla="*/ 35 h 109"/>
                <a:gd name="T14" fmla="*/ 37 w 94"/>
                <a:gd name="T15" fmla="*/ 45 h 109"/>
                <a:gd name="T16" fmla="*/ 37 w 94"/>
                <a:gd name="T17" fmla="*/ 36 h 109"/>
                <a:gd name="T18" fmla="*/ 45 w 94"/>
                <a:gd name="T19" fmla="*/ 17 h 109"/>
                <a:gd name="T20" fmla="*/ 49 w 94"/>
                <a:gd name="T21" fmla="*/ 17 h 109"/>
                <a:gd name="T22" fmla="*/ 48 w 94"/>
                <a:gd name="T23" fmla="*/ 9 h 109"/>
                <a:gd name="T24" fmla="*/ 52 w 94"/>
                <a:gd name="T25" fmla="*/ 6 h 109"/>
                <a:gd name="T26" fmla="*/ 54 w 94"/>
                <a:gd name="T27" fmla="*/ 0 h 109"/>
                <a:gd name="T28" fmla="*/ 38 w 94"/>
                <a:gd name="T29" fmla="*/ 6 h 109"/>
                <a:gd name="T30" fmla="*/ 34 w 94"/>
                <a:gd name="T31" fmla="*/ 14 h 109"/>
                <a:gd name="T32" fmla="*/ 28 w 94"/>
                <a:gd name="T33" fmla="*/ 21 h 109"/>
                <a:gd name="T34" fmla="*/ 27 w 94"/>
                <a:gd name="T35" fmla="*/ 31 h 109"/>
                <a:gd name="T36" fmla="*/ 24 w 94"/>
                <a:gd name="T37" fmla="*/ 35 h 109"/>
                <a:gd name="T38" fmla="*/ 21 w 94"/>
                <a:gd name="T39" fmla="*/ 47 h 109"/>
                <a:gd name="T40" fmla="*/ 16 w 94"/>
                <a:gd name="T41" fmla="*/ 53 h 109"/>
                <a:gd name="T42" fmla="*/ 19 w 94"/>
                <a:gd name="T43" fmla="*/ 57 h 109"/>
                <a:gd name="T44" fmla="*/ 10 w 94"/>
                <a:gd name="T45" fmla="*/ 66 h 109"/>
                <a:gd name="T46" fmla="*/ 8 w 94"/>
                <a:gd name="T47" fmla="*/ 66 h 109"/>
                <a:gd name="T48" fmla="*/ 12 w 94"/>
                <a:gd name="T49" fmla="*/ 69 h 109"/>
                <a:gd name="T50" fmla="*/ 1 w 94"/>
                <a:gd name="T51" fmla="*/ 82 h 109"/>
                <a:gd name="T52" fmla="*/ 2 w 94"/>
                <a:gd name="T53" fmla="*/ 89 h 109"/>
                <a:gd name="T54" fmla="*/ 18 w 94"/>
                <a:gd name="T55" fmla="*/ 86 h 109"/>
                <a:gd name="T56" fmla="*/ 45 w 94"/>
                <a:gd name="T57" fmla="*/ 87 h 109"/>
                <a:gd name="T58" fmla="*/ 50 w 94"/>
                <a:gd name="T59" fmla="*/ 87 h 109"/>
                <a:gd name="T60" fmla="*/ 55 w 94"/>
                <a:gd name="T61" fmla="*/ 90 h 109"/>
                <a:gd name="T62" fmla="*/ 64 w 94"/>
                <a:gd name="T63" fmla="*/ 89 h 109"/>
                <a:gd name="T64" fmla="*/ 55 w 94"/>
                <a:gd name="T65" fmla="*/ 98 h 109"/>
                <a:gd name="T66" fmla="*/ 49 w 94"/>
                <a:gd name="T67" fmla="*/ 102 h 109"/>
                <a:gd name="T68" fmla="*/ 58 w 94"/>
                <a:gd name="T69" fmla="*/ 101 h 109"/>
                <a:gd name="T70" fmla="*/ 69 w 94"/>
                <a:gd name="T71" fmla="*/ 92 h 109"/>
                <a:gd name="T72" fmla="*/ 75 w 94"/>
                <a:gd name="T73" fmla="*/ 81 h 109"/>
                <a:gd name="T74" fmla="*/ 74 w 94"/>
                <a:gd name="T75" fmla="*/ 103 h 109"/>
                <a:gd name="T76" fmla="*/ 81 w 94"/>
                <a:gd name="T77" fmla="*/ 97 h 109"/>
                <a:gd name="T78" fmla="*/ 82 w 94"/>
                <a:gd name="T79" fmla="*/ 106 h 109"/>
                <a:gd name="T80" fmla="*/ 86 w 94"/>
                <a:gd name="T81" fmla="*/ 106 h 109"/>
                <a:gd name="T82" fmla="*/ 94 w 94"/>
                <a:gd name="T83" fmla="*/ 92 h 109"/>
                <a:gd name="T84" fmla="*/ 93 w 94"/>
                <a:gd name="T85" fmla="*/ 85 h 109"/>
                <a:gd name="T86" fmla="*/ 88 w 94"/>
                <a:gd name="T87" fmla="*/ 89 h 109"/>
                <a:gd name="T88" fmla="*/ 91 w 94"/>
                <a:gd name="T89" fmla="*/ 76 h 109"/>
                <a:gd name="T90" fmla="*/ 82 w 94"/>
                <a:gd name="T91" fmla="*/ 87 h 109"/>
                <a:gd name="T92" fmla="*/ 79 w 94"/>
                <a:gd name="T93" fmla="*/ 84 h 109"/>
                <a:gd name="T94" fmla="*/ 77 w 94"/>
                <a:gd name="T95" fmla="*/ 75 h 109"/>
                <a:gd name="T96" fmla="*/ 88 w 94"/>
                <a:gd name="T97" fmla="*/ 66 h 109"/>
                <a:gd name="T98" fmla="*/ 76 w 94"/>
                <a:gd name="T99" fmla="*/ 69 h 109"/>
                <a:gd name="T100" fmla="*/ 76 w 94"/>
                <a:gd name="T101" fmla="*/ 62 h 10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94"/>
                <a:gd name="T154" fmla="*/ 0 h 109"/>
                <a:gd name="T155" fmla="*/ 94 w 94"/>
                <a:gd name="T156" fmla="*/ 109 h 10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94" h="109">
                  <a:moveTo>
                    <a:pt x="83" y="53"/>
                  </a:moveTo>
                  <a:lnTo>
                    <a:pt x="82" y="51"/>
                  </a:lnTo>
                  <a:lnTo>
                    <a:pt x="76" y="49"/>
                  </a:lnTo>
                  <a:lnTo>
                    <a:pt x="72" y="50"/>
                  </a:lnTo>
                  <a:lnTo>
                    <a:pt x="69" y="48"/>
                  </a:lnTo>
                  <a:lnTo>
                    <a:pt x="57" y="53"/>
                  </a:lnTo>
                  <a:lnTo>
                    <a:pt x="60" y="47"/>
                  </a:lnTo>
                  <a:lnTo>
                    <a:pt x="56" y="49"/>
                  </a:lnTo>
                  <a:lnTo>
                    <a:pt x="49" y="48"/>
                  </a:lnTo>
                  <a:lnTo>
                    <a:pt x="49" y="45"/>
                  </a:lnTo>
                  <a:lnTo>
                    <a:pt x="47" y="44"/>
                  </a:lnTo>
                  <a:lnTo>
                    <a:pt x="54" y="39"/>
                  </a:lnTo>
                  <a:lnTo>
                    <a:pt x="46" y="37"/>
                  </a:lnTo>
                  <a:lnTo>
                    <a:pt x="47" y="35"/>
                  </a:lnTo>
                  <a:lnTo>
                    <a:pt x="45" y="34"/>
                  </a:lnTo>
                  <a:lnTo>
                    <a:pt x="37" y="45"/>
                  </a:lnTo>
                  <a:lnTo>
                    <a:pt x="36" y="42"/>
                  </a:lnTo>
                  <a:lnTo>
                    <a:pt x="37" y="36"/>
                  </a:lnTo>
                  <a:lnTo>
                    <a:pt x="45" y="24"/>
                  </a:lnTo>
                  <a:lnTo>
                    <a:pt x="45" y="17"/>
                  </a:lnTo>
                  <a:lnTo>
                    <a:pt x="46" y="18"/>
                  </a:lnTo>
                  <a:lnTo>
                    <a:pt x="49" y="17"/>
                  </a:lnTo>
                  <a:lnTo>
                    <a:pt x="51" y="11"/>
                  </a:lnTo>
                  <a:lnTo>
                    <a:pt x="48" y="9"/>
                  </a:lnTo>
                  <a:lnTo>
                    <a:pt x="49" y="7"/>
                  </a:lnTo>
                  <a:lnTo>
                    <a:pt x="52" y="6"/>
                  </a:lnTo>
                  <a:lnTo>
                    <a:pt x="54" y="2"/>
                  </a:lnTo>
                  <a:lnTo>
                    <a:pt x="54" y="0"/>
                  </a:lnTo>
                  <a:lnTo>
                    <a:pt x="45" y="3"/>
                  </a:lnTo>
                  <a:lnTo>
                    <a:pt x="38" y="6"/>
                  </a:lnTo>
                  <a:lnTo>
                    <a:pt x="36" y="12"/>
                  </a:lnTo>
                  <a:lnTo>
                    <a:pt x="34" y="14"/>
                  </a:lnTo>
                  <a:lnTo>
                    <a:pt x="33" y="18"/>
                  </a:lnTo>
                  <a:lnTo>
                    <a:pt x="28" y="21"/>
                  </a:lnTo>
                  <a:lnTo>
                    <a:pt x="30" y="23"/>
                  </a:lnTo>
                  <a:lnTo>
                    <a:pt x="27" y="31"/>
                  </a:lnTo>
                  <a:lnTo>
                    <a:pt x="29" y="34"/>
                  </a:lnTo>
                  <a:lnTo>
                    <a:pt x="24" y="35"/>
                  </a:lnTo>
                  <a:lnTo>
                    <a:pt x="21" y="43"/>
                  </a:lnTo>
                  <a:lnTo>
                    <a:pt x="21" y="47"/>
                  </a:lnTo>
                  <a:lnTo>
                    <a:pt x="17" y="50"/>
                  </a:lnTo>
                  <a:lnTo>
                    <a:pt x="16" y="53"/>
                  </a:lnTo>
                  <a:lnTo>
                    <a:pt x="19" y="54"/>
                  </a:lnTo>
                  <a:lnTo>
                    <a:pt x="19" y="57"/>
                  </a:lnTo>
                  <a:lnTo>
                    <a:pt x="14" y="57"/>
                  </a:lnTo>
                  <a:lnTo>
                    <a:pt x="10" y="66"/>
                  </a:lnTo>
                  <a:lnTo>
                    <a:pt x="9" y="67"/>
                  </a:lnTo>
                  <a:lnTo>
                    <a:pt x="8" y="66"/>
                  </a:lnTo>
                  <a:lnTo>
                    <a:pt x="3" y="68"/>
                  </a:lnTo>
                  <a:lnTo>
                    <a:pt x="12" y="69"/>
                  </a:lnTo>
                  <a:lnTo>
                    <a:pt x="13" y="71"/>
                  </a:lnTo>
                  <a:lnTo>
                    <a:pt x="1" y="82"/>
                  </a:lnTo>
                  <a:lnTo>
                    <a:pt x="0" y="86"/>
                  </a:lnTo>
                  <a:lnTo>
                    <a:pt x="2" y="89"/>
                  </a:lnTo>
                  <a:lnTo>
                    <a:pt x="5" y="89"/>
                  </a:lnTo>
                  <a:lnTo>
                    <a:pt x="18" y="86"/>
                  </a:lnTo>
                  <a:lnTo>
                    <a:pt x="37" y="89"/>
                  </a:lnTo>
                  <a:lnTo>
                    <a:pt x="45" y="87"/>
                  </a:lnTo>
                  <a:lnTo>
                    <a:pt x="51" y="83"/>
                  </a:lnTo>
                  <a:lnTo>
                    <a:pt x="50" y="87"/>
                  </a:lnTo>
                  <a:lnTo>
                    <a:pt x="46" y="90"/>
                  </a:lnTo>
                  <a:lnTo>
                    <a:pt x="55" y="90"/>
                  </a:lnTo>
                  <a:lnTo>
                    <a:pt x="57" y="87"/>
                  </a:lnTo>
                  <a:lnTo>
                    <a:pt x="64" y="89"/>
                  </a:lnTo>
                  <a:lnTo>
                    <a:pt x="59" y="94"/>
                  </a:lnTo>
                  <a:lnTo>
                    <a:pt x="55" y="98"/>
                  </a:lnTo>
                  <a:lnTo>
                    <a:pt x="49" y="100"/>
                  </a:lnTo>
                  <a:lnTo>
                    <a:pt x="49" y="102"/>
                  </a:lnTo>
                  <a:lnTo>
                    <a:pt x="52" y="103"/>
                  </a:lnTo>
                  <a:lnTo>
                    <a:pt x="58" y="101"/>
                  </a:lnTo>
                  <a:lnTo>
                    <a:pt x="64" y="93"/>
                  </a:lnTo>
                  <a:lnTo>
                    <a:pt x="69" y="92"/>
                  </a:lnTo>
                  <a:lnTo>
                    <a:pt x="73" y="81"/>
                  </a:lnTo>
                  <a:lnTo>
                    <a:pt x="75" y="81"/>
                  </a:lnTo>
                  <a:lnTo>
                    <a:pt x="77" y="94"/>
                  </a:lnTo>
                  <a:lnTo>
                    <a:pt x="74" y="103"/>
                  </a:lnTo>
                  <a:lnTo>
                    <a:pt x="76" y="104"/>
                  </a:lnTo>
                  <a:lnTo>
                    <a:pt x="81" y="97"/>
                  </a:lnTo>
                  <a:lnTo>
                    <a:pt x="82" y="98"/>
                  </a:lnTo>
                  <a:lnTo>
                    <a:pt x="82" y="106"/>
                  </a:lnTo>
                  <a:lnTo>
                    <a:pt x="83" y="109"/>
                  </a:lnTo>
                  <a:lnTo>
                    <a:pt x="86" y="106"/>
                  </a:lnTo>
                  <a:lnTo>
                    <a:pt x="89" y="107"/>
                  </a:lnTo>
                  <a:lnTo>
                    <a:pt x="94" y="92"/>
                  </a:lnTo>
                  <a:lnTo>
                    <a:pt x="94" y="86"/>
                  </a:lnTo>
                  <a:lnTo>
                    <a:pt x="93" y="85"/>
                  </a:lnTo>
                  <a:lnTo>
                    <a:pt x="89" y="91"/>
                  </a:lnTo>
                  <a:lnTo>
                    <a:pt x="88" y="89"/>
                  </a:lnTo>
                  <a:lnTo>
                    <a:pt x="88" y="86"/>
                  </a:lnTo>
                  <a:lnTo>
                    <a:pt x="91" y="76"/>
                  </a:lnTo>
                  <a:lnTo>
                    <a:pt x="86" y="80"/>
                  </a:lnTo>
                  <a:lnTo>
                    <a:pt x="82" y="87"/>
                  </a:lnTo>
                  <a:lnTo>
                    <a:pt x="81" y="87"/>
                  </a:lnTo>
                  <a:lnTo>
                    <a:pt x="79" y="84"/>
                  </a:lnTo>
                  <a:lnTo>
                    <a:pt x="80" y="79"/>
                  </a:lnTo>
                  <a:lnTo>
                    <a:pt x="77" y="75"/>
                  </a:lnTo>
                  <a:lnTo>
                    <a:pt x="87" y="70"/>
                  </a:lnTo>
                  <a:lnTo>
                    <a:pt x="88" y="66"/>
                  </a:lnTo>
                  <a:lnTo>
                    <a:pt x="81" y="69"/>
                  </a:lnTo>
                  <a:lnTo>
                    <a:pt x="76" y="69"/>
                  </a:lnTo>
                  <a:lnTo>
                    <a:pt x="79" y="64"/>
                  </a:lnTo>
                  <a:lnTo>
                    <a:pt x="76" y="62"/>
                  </a:lnTo>
                  <a:lnTo>
                    <a:pt x="83" y="53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85" name="Freeform 63"/>
            <p:cNvSpPr>
              <a:spLocks/>
            </p:cNvSpPr>
            <p:nvPr/>
          </p:nvSpPr>
          <p:spPr bwMode="auto">
            <a:xfrm>
              <a:off x="2214" y="1993"/>
              <a:ext cx="23" cy="28"/>
            </a:xfrm>
            <a:custGeom>
              <a:avLst/>
              <a:gdLst>
                <a:gd name="T0" fmla="*/ 12 w 23"/>
                <a:gd name="T1" fmla="*/ 1 h 28"/>
                <a:gd name="T2" fmla="*/ 11 w 23"/>
                <a:gd name="T3" fmla="*/ 0 h 28"/>
                <a:gd name="T4" fmla="*/ 11 w 23"/>
                <a:gd name="T5" fmla="*/ 2 h 28"/>
                <a:gd name="T6" fmla="*/ 1 w 23"/>
                <a:gd name="T7" fmla="*/ 18 h 28"/>
                <a:gd name="T8" fmla="*/ 0 w 23"/>
                <a:gd name="T9" fmla="*/ 25 h 28"/>
                <a:gd name="T10" fmla="*/ 2 w 23"/>
                <a:gd name="T11" fmla="*/ 28 h 28"/>
                <a:gd name="T12" fmla="*/ 13 w 23"/>
                <a:gd name="T13" fmla="*/ 28 h 28"/>
                <a:gd name="T14" fmla="*/ 23 w 23"/>
                <a:gd name="T15" fmla="*/ 21 h 28"/>
                <a:gd name="T16" fmla="*/ 22 w 23"/>
                <a:gd name="T17" fmla="*/ 20 h 28"/>
                <a:gd name="T18" fmla="*/ 22 w 23"/>
                <a:gd name="T19" fmla="*/ 16 h 28"/>
                <a:gd name="T20" fmla="*/ 19 w 23"/>
                <a:gd name="T21" fmla="*/ 15 h 28"/>
                <a:gd name="T22" fmla="*/ 18 w 23"/>
                <a:gd name="T23" fmla="*/ 19 h 28"/>
                <a:gd name="T24" fmla="*/ 17 w 23"/>
                <a:gd name="T25" fmla="*/ 16 h 28"/>
                <a:gd name="T26" fmla="*/ 11 w 23"/>
                <a:gd name="T27" fmla="*/ 19 h 28"/>
                <a:gd name="T28" fmla="*/ 14 w 23"/>
                <a:gd name="T29" fmla="*/ 14 h 28"/>
                <a:gd name="T30" fmla="*/ 12 w 23"/>
                <a:gd name="T31" fmla="*/ 14 h 28"/>
                <a:gd name="T32" fmla="*/ 15 w 23"/>
                <a:gd name="T33" fmla="*/ 3 h 28"/>
                <a:gd name="T34" fmla="*/ 14 w 23"/>
                <a:gd name="T35" fmla="*/ 0 h 28"/>
                <a:gd name="T36" fmla="*/ 12 w 23"/>
                <a:gd name="T37" fmla="*/ 1 h 2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3"/>
                <a:gd name="T58" fmla="*/ 0 h 28"/>
                <a:gd name="T59" fmla="*/ 23 w 23"/>
                <a:gd name="T60" fmla="*/ 28 h 2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3" h="28">
                  <a:moveTo>
                    <a:pt x="12" y="1"/>
                  </a:moveTo>
                  <a:lnTo>
                    <a:pt x="11" y="0"/>
                  </a:lnTo>
                  <a:lnTo>
                    <a:pt x="11" y="2"/>
                  </a:lnTo>
                  <a:lnTo>
                    <a:pt x="1" y="18"/>
                  </a:lnTo>
                  <a:lnTo>
                    <a:pt x="0" y="25"/>
                  </a:lnTo>
                  <a:lnTo>
                    <a:pt x="2" y="28"/>
                  </a:lnTo>
                  <a:lnTo>
                    <a:pt x="13" y="28"/>
                  </a:lnTo>
                  <a:lnTo>
                    <a:pt x="23" y="21"/>
                  </a:lnTo>
                  <a:lnTo>
                    <a:pt x="22" y="20"/>
                  </a:lnTo>
                  <a:lnTo>
                    <a:pt x="22" y="16"/>
                  </a:lnTo>
                  <a:lnTo>
                    <a:pt x="19" y="15"/>
                  </a:lnTo>
                  <a:lnTo>
                    <a:pt x="18" y="19"/>
                  </a:lnTo>
                  <a:lnTo>
                    <a:pt x="17" y="16"/>
                  </a:lnTo>
                  <a:lnTo>
                    <a:pt x="11" y="19"/>
                  </a:lnTo>
                  <a:lnTo>
                    <a:pt x="14" y="14"/>
                  </a:lnTo>
                  <a:lnTo>
                    <a:pt x="12" y="14"/>
                  </a:lnTo>
                  <a:lnTo>
                    <a:pt x="15" y="3"/>
                  </a:lnTo>
                  <a:lnTo>
                    <a:pt x="14" y="0"/>
                  </a:lnTo>
                  <a:lnTo>
                    <a:pt x="12" y="1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86" name="Freeform 64"/>
            <p:cNvSpPr>
              <a:spLocks/>
            </p:cNvSpPr>
            <p:nvPr/>
          </p:nvSpPr>
          <p:spPr bwMode="auto">
            <a:xfrm>
              <a:off x="2171" y="1931"/>
              <a:ext cx="39" cy="18"/>
            </a:xfrm>
            <a:custGeom>
              <a:avLst/>
              <a:gdLst>
                <a:gd name="T0" fmla="*/ 6 w 39"/>
                <a:gd name="T1" fmla="*/ 0 h 18"/>
                <a:gd name="T2" fmla="*/ 27 w 39"/>
                <a:gd name="T3" fmla="*/ 7 h 18"/>
                <a:gd name="T4" fmla="*/ 31 w 39"/>
                <a:gd name="T5" fmla="*/ 11 h 18"/>
                <a:gd name="T6" fmla="*/ 36 w 39"/>
                <a:gd name="T7" fmla="*/ 12 h 18"/>
                <a:gd name="T8" fmla="*/ 39 w 39"/>
                <a:gd name="T9" fmla="*/ 17 h 18"/>
                <a:gd name="T10" fmla="*/ 31 w 39"/>
                <a:gd name="T11" fmla="*/ 18 h 18"/>
                <a:gd name="T12" fmla="*/ 15 w 39"/>
                <a:gd name="T13" fmla="*/ 13 h 18"/>
                <a:gd name="T14" fmla="*/ 12 w 39"/>
                <a:gd name="T15" fmla="*/ 8 h 18"/>
                <a:gd name="T16" fmla="*/ 0 w 39"/>
                <a:gd name="T17" fmla="*/ 2 h 18"/>
                <a:gd name="T18" fmla="*/ 0 w 39"/>
                <a:gd name="T19" fmla="*/ 0 h 18"/>
                <a:gd name="T20" fmla="*/ 6 w 39"/>
                <a:gd name="T21" fmla="*/ 0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9"/>
                <a:gd name="T34" fmla="*/ 0 h 18"/>
                <a:gd name="T35" fmla="*/ 39 w 39"/>
                <a:gd name="T36" fmla="*/ 18 h 1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9" h="18">
                  <a:moveTo>
                    <a:pt x="6" y="0"/>
                  </a:moveTo>
                  <a:lnTo>
                    <a:pt x="27" y="7"/>
                  </a:lnTo>
                  <a:lnTo>
                    <a:pt x="31" y="11"/>
                  </a:lnTo>
                  <a:lnTo>
                    <a:pt x="36" y="12"/>
                  </a:lnTo>
                  <a:lnTo>
                    <a:pt x="39" y="17"/>
                  </a:lnTo>
                  <a:lnTo>
                    <a:pt x="31" y="18"/>
                  </a:lnTo>
                  <a:lnTo>
                    <a:pt x="15" y="13"/>
                  </a:lnTo>
                  <a:lnTo>
                    <a:pt x="12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6" y="0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87" name="Freeform 65"/>
            <p:cNvSpPr>
              <a:spLocks/>
            </p:cNvSpPr>
            <p:nvPr/>
          </p:nvSpPr>
          <p:spPr bwMode="auto">
            <a:xfrm>
              <a:off x="1906" y="2016"/>
              <a:ext cx="22" cy="8"/>
            </a:xfrm>
            <a:custGeom>
              <a:avLst/>
              <a:gdLst>
                <a:gd name="T0" fmla="*/ 15 w 22"/>
                <a:gd name="T1" fmla="*/ 1 h 8"/>
                <a:gd name="T2" fmla="*/ 0 w 22"/>
                <a:gd name="T3" fmla="*/ 1 h 8"/>
                <a:gd name="T4" fmla="*/ 9 w 22"/>
                <a:gd name="T5" fmla="*/ 5 h 8"/>
                <a:gd name="T6" fmla="*/ 18 w 22"/>
                <a:gd name="T7" fmla="*/ 8 h 8"/>
                <a:gd name="T8" fmla="*/ 20 w 22"/>
                <a:gd name="T9" fmla="*/ 5 h 8"/>
                <a:gd name="T10" fmla="*/ 22 w 22"/>
                <a:gd name="T11" fmla="*/ 1 h 8"/>
                <a:gd name="T12" fmla="*/ 20 w 22"/>
                <a:gd name="T13" fmla="*/ 1 h 8"/>
                <a:gd name="T14" fmla="*/ 19 w 22"/>
                <a:gd name="T15" fmla="*/ 6 h 8"/>
                <a:gd name="T16" fmla="*/ 18 w 22"/>
                <a:gd name="T17" fmla="*/ 0 h 8"/>
                <a:gd name="T18" fmla="*/ 15 w 22"/>
                <a:gd name="T19" fmla="*/ 1 h 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2"/>
                <a:gd name="T31" fmla="*/ 0 h 8"/>
                <a:gd name="T32" fmla="*/ 22 w 22"/>
                <a:gd name="T33" fmla="*/ 8 h 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2" h="8">
                  <a:moveTo>
                    <a:pt x="15" y="1"/>
                  </a:moveTo>
                  <a:lnTo>
                    <a:pt x="0" y="1"/>
                  </a:lnTo>
                  <a:lnTo>
                    <a:pt x="9" y="5"/>
                  </a:lnTo>
                  <a:lnTo>
                    <a:pt x="18" y="8"/>
                  </a:lnTo>
                  <a:lnTo>
                    <a:pt x="20" y="5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9" y="6"/>
                  </a:lnTo>
                  <a:lnTo>
                    <a:pt x="18" y="0"/>
                  </a:lnTo>
                  <a:lnTo>
                    <a:pt x="15" y="1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</p:grpSp>
      <p:sp>
        <p:nvSpPr>
          <p:cNvPr id="58377" name="Freeform 66"/>
          <p:cNvSpPr>
            <a:spLocks noChangeAspect="1"/>
          </p:cNvSpPr>
          <p:nvPr/>
        </p:nvSpPr>
        <p:spPr bwMode="gray">
          <a:xfrm>
            <a:off x="8562975" y="4557713"/>
            <a:ext cx="6350" cy="4762"/>
          </a:xfrm>
          <a:custGeom>
            <a:avLst/>
            <a:gdLst>
              <a:gd name="T0" fmla="*/ 2147483647 w 14"/>
              <a:gd name="T1" fmla="*/ 2147483647 h 9"/>
              <a:gd name="T2" fmla="*/ 2147483647 w 14"/>
              <a:gd name="T3" fmla="*/ 2147483647 h 9"/>
              <a:gd name="T4" fmla="*/ 0 w 14"/>
              <a:gd name="T5" fmla="*/ 0 h 9"/>
              <a:gd name="T6" fmla="*/ 2147483647 w 14"/>
              <a:gd name="T7" fmla="*/ 2147483647 h 9"/>
              <a:gd name="T8" fmla="*/ 0 60000 65536"/>
              <a:gd name="T9" fmla="*/ 0 60000 65536"/>
              <a:gd name="T10" fmla="*/ 0 60000 65536"/>
              <a:gd name="T11" fmla="*/ 0 60000 65536"/>
              <a:gd name="T12" fmla="*/ 0 w 14"/>
              <a:gd name="T13" fmla="*/ 0 h 9"/>
              <a:gd name="T14" fmla="*/ 14 w 14"/>
              <a:gd name="T15" fmla="*/ 9 h 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4" h="9">
                <a:moveTo>
                  <a:pt x="14" y="1"/>
                </a:moveTo>
                <a:lnTo>
                  <a:pt x="14" y="9"/>
                </a:lnTo>
                <a:lnTo>
                  <a:pt x="0" y="0"/>
                </a:lnTo>
                <a:lnTo>
                  <a:pt x="14" y="1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378" name="Freeform 67"/>
          <p:cNvSpPr>
            <a:spLocks noChangeAspect="1"/>
          </p:cNvSpPr>
          <p:nvPr/>
        </p:nvSpPr>
        <p:spPr bwMode="gray">
          <a:xfrm>
            <a:off x="7102475" y="3249613"/>
            <a:ext cx="41275" cy="79375"/>
          </a:xfrm>
          <a:custGeom>
            <a:avLst/>
            <a:gdLst>
              <a:gd name="T0" fmla="*/ 2147483647 w 80"/>
              <a:gd name="T1" fmla="*/ 0 h 165"/>
              <a:gd name="T2" fmla="*/ 2147483647 w 80"/>
              <a:gd name="T3" fmla="*/ 2147483647 h 165"/>
              <a:gd name="T4" fmla="*/ 2147483647 w 80"/>
              <a:gd name="T5" fmla="*/ 2147483647 h 165"/>
              <a:gd name="T6" fmla="*/ 2147483647 w 80"/>
              <a:gd name="T7" fmla="*/ 2147483647 h 165"/>
              <a:gd name="T8" fmla="*/ 2147483647 w 80"/>
              <a:gd name="T9" fmla="*/ 2147483647 h 165"/>
              <a:gd name="T10" fmla="*/ 2147483647 w 80"/>
              <a:gd name="T11" fmla="*/ 2147483647 h 165"/>
              <a:gd name="T12" fmla="*/ 2147483647 w 80"/>
              <a:gd name="T13" fmla="*/ 2147483647 h 165"/>
              <a:gd name="T14" fmla="*/ 2147483647 w 80"/>
              <a:gd name="T15" fmla="*/ 2147483647 h 165"/>
              <a:gd name="T16" fmla="*/ 0 w 80"/>
              <a:gd name="T17" fmla="*/ 2147483647 h 165"/>
              <a:gd name="T18" fmla="*/ 2147483647 w 80"/>
              <a:gd name="T19" fmla="*/ 2147483647 h 165"/>
              <a:gd name="T20" fmla="*/ 2147483647 w 80"/>
              <a:gd name="T21" fmla="*/ 2147483647 h 165"/>
              <a:gd name="T22" fmla="*/ 2147483647 w 80"/>
              <a:gd name="T23" fmla="*/ 0 h 165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80"/>
              <a:gd name="T37" fmla="*/ 0 h 165"/>
              <a:gd name="T38" fmla="*/ 80 w 80"/>
              <a:gd name="T39" fmla="*/ 165 h 165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80" h="165">
                <a:moveTo>
                  <a:pt x="62" y="0"/>
                </a:moveTo>
                <a:lnTo>
                  <a:pt x="80" y="12"/>
                </a:lnTo>
                <a:lnTo>
                  <a:pt x="79" y="34"/>
                </a:lnTo>
                <a:lnTo>
                  <a:pt x="62" y="94"/>
                </a:lnTo>
                <a:lnTo>
                  <a:pt x="38" y="141"/>
                </a:lnTo>
                <a:lnTo>
                  <a:pt x="34" y="165"/>
                </a:lnTo>
                <a:lnTo>
                  <a:pt x="21" y="142"/>
                </a:lnTo>
                <a:lnTo>
                  <a:pt x="4" y="124"/>
                </a:lnTo>
                <a:lnTo>
                  <a:pt x="0" y="85"/>
                </a:lnTo>
                <a:lnTo>
                  <a:pt x="8" y="65"/>
                </a:lnTo>
                <a:lnTo>
                  <a:pt x="40" y="15"/>
                </a:lnTo>
                <a:lnTo>
                  <a:pt x="62" y="0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379" name="Freeform 68"/>
          <p:cNvSpPr>
            <a:spLocks noChangeAspect="1" noEditPoints="1"/>
          </p:cNvSpPr>
          <p:nvPr/>
        </p:nvSpPr>
        <p:spPr bwMode="gray">
          <a:xfrm>
            <a:off x="6654800" y="3675063"/>
            <a:ext cx="430213" cy="134937"/>
          </a:xfrm>
          <a:custGeom>
            <a:avLst/>
            <a:gdLst>
              <a:gd name="T0" fmla="*/ 2147483647 w 878"/>
              <a:gd name="T1" fmla="*/ 2147483647 h 275"/>
              <a:gd name="T2" fmla="*/ 2147483647 w 878"/>
              <a:gd name="T3" fmla="*/ 2147483647 h 275"/>
              <a:gd name="T4" fmla="*/ 2147483647 w 878"/>
              <a:gd name="T5" fmla="*/ 2147483647 h 275"/>
              <a:gd name="T6" fmla="*/ 2147483647 w 878"/>
              <a:gd name="T7" fmla="*/ 2147483647 h 275"/>
              <a:gd name="T8" fmla="*/ 2147483647 w 878"/>
              <a:gd name="T9" fmla="*/ 2147483647 h 275"/>
              <a:gd name="T10" fmla="*/ 2147483647 w 878"/>
              <a:gd name="T11" fmla="*/ 2147483647 h 275"/>
              <a:gd name="T12" fmla="*/ 2147483647 w 878"/>
              <a:gd name="T13" fmla="*/ 0 h 275"/>
              <a:gd name="T14" fmla="*/ 2147483647 w 878"/>
              <a:gd name="T15" fmla="*/ 0 h 275"/>
              <a:gd name="T16" fmla="*/ 2147483647 w 878"/>
              <a:gd name="T17" fmla="*/ 2147483647 h 275"/>
              <a:gd name="T18" fmla="*/ 2147483647 w 878"/>
              <a:gd name="T19" fmla="*/ 2147483647 h 275"/>
              <a:gd name="T20" fmla="*/ 2147483647 w 878"/>
              <a:gd name="T21" fmla="*/ 2147483647 h 275"/>
              <a:gd name="T22" fmla="*/ 2147483647 w 878"/>
              <a:gd name="T23" fmla="*/ 2147483647 h 275"/>
              <a:gd name="T24" fmla="*/ 2147483647 w 878"/>
              <a:gd name="T25" fmla="*/ 2147483647 h 275"/>
              <a:gd name="T26" fmla="*/ 2147483647 w 878"/>
              <a:gd name="T27" fmla="*/ 2147483647 h 275"/>
              <a:gd name="T28" fmla="*/ 2147483647 w 878"/>
              <a:gd name="T29" fmla="*/ 2147483647 h 275"/>
              <a:gd name="T30" fmla="*/ 2147483647 w 878"/>
              <a:gd name="T31" fmla="*/ 2147483647 h 275"/>
              <a:gd name="T32" fmla="*/ 2147483647 w 878"/>
              <a:gd name="T33" fmla="*/ 2147483647 h 275"/>
              <a:gd name="T34" fmla="*/ 2147483647 w 878"/>
              <a:gd name="T35" fmla="*/ 2147483647 h 275"/>
              <a:gd name="T36" fmla="*/ 2147483647 w 878"/>
              <a:gd name="T37" fmla="*/ 2147483647 h 275"/>
              <a:gd name="T38" fmla="*/ 2147483647 w 878"/>
              <a:gd name="T39" fmla="*/ 2147483647 h 275"/>
              <a:gd name="T40" fmla="*/ 2147483647 w 878"/>
              <a:gd name="T41" fmla="*/ 2147483647 h 275"/>
              <a:gd name="T42" fmla="*/ 2147483647 w 878"/>
              <a:gd name="T43" fmla="*/ 2147483647 h 275"/>
              <a:gd name="T44" fmla="*/ 2147483647 w 878"/>
              <a:gd name="T45" fmla="*/ 2147483647 h 275"/>
              <a:gd name="T46" fmla="*/ 2147483647 w 878"/>
              <a:gd name="T47" fmla="*/ 2147483647 h 275"/>
              <a:gd name="T48" fmla="*/ 2147483647 w 878"/>
              <a:gd name="T49" fmla="*/ 2147483647 h 275"/>
              <a:gd name="T50" fmla="*/ 2147483647 w 878"/>
              <a:gd name="T51" fmla="*/ 2147483647 h 275"/>
              <a:gd name="T52" fmla="*/ 2147483647 w 878"/>
              <a:gd name="T53" fmla="*/ 2147483647 h 275"/>
              <a:gd name="T54" fmla="*/ 2147483647 w 878"/>
              <a:gd name="T55" fmla="*/ 2147483647 h 275"/>
              <a:gd name="T56" fmla="*/ 2147483647 w 878"/>
              <a:gd name="T57" fmla="*/ 2147483647 h 275"/>
              <a:gd name="T58" fmla="*/ 2147483647 w 878"/>
              <a:gd name="T59" fmla="*/ 2147483647 h 275"/>
              <a:gd name="T60" fmla="*/ 2147483647 w 878"/>
              <a:gd name="T61" fmla="*/ 2147483647 h 275"/>
              <a:gd name="T62" fmla="*/ 2147483647 w 878"/>
              <a:gd name="T63" fmla="*/ 2147483647 h 275"/>
              <a:gd name="T64" fmla="*/ 2147483647 w 878"/>
              <a:gd name="T65" fmla="*/ 2147483647 h 275"/>
              <a:gd name="T66" fmla="*/ 2147483647 w 878"/>
              <a:gd name="T67" fmla="*/ 2147483647 h 275"/>
              <a:gd name="T68" fmla="*/ 2147483647 w 878"/>
              <a:gd name="T69" fmla="*/ 2147483647 h 275"/>
              <a:gd name="T70" fmla="*/ 2147483647 w 878"/>
              <a:gd name="T71" fmla="*/ 2147483647 h 275"/>
              <a:gd name="T72" fmla="*/ 2147483647 w 878"/>
              <a:gd name="T73" fmla="*/ 2147483647 h 275"/>
              <a:gd name="T74" fmla="*/ 2147483647 w 878"/>
              <a:gd name="T75" fmla="*/ 2147483647 h 275"/>
              <a:gd name="T76" fmla="*/ 2147483647 w 878"/>
              <a:gd name="T77" fmla="*/ 2147483647 h 275"/>
              <a:gd name="T78" fmla="*/ 2147483647 w 878"/>
              <a:gd name="T79" fmla="*/ 2147483647 h 275"/>
              <a:gd name="T80" fmla="*/ 2147483647 w 878"/>
              <a:gd name="T81" fmla="*/ 2147483647 h 275"/>
              <a:gd name="T82" fmla="*/ 0 w 878"/>
              <a:gd name="T83" fmla="*/ 2147483647 h 275"/>
              <a:gd name="T84" fmla="*/ 2147483647 w 878"/>
              <a:gd name="T85" fmla="*/ 2147483647 h 275"/>
              <a:gd name="T86" fmla="*/ 2147483647 w 878"/>
              <a:gd name="T87" fmla="*/ 2147483647 h 275"/>
              <a:gd name="T88" fmla="*/ 2147483647 w 878"/>
              <a:gd name="T89" fmla="*/ 2147483647 h 275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878"/>
              <a:gd name="T136" fmla="*/ 0 h 275"/>
              <a:gd name="T137" fmla="*/ 878 w 878"/>
              <a:gd name="T138" fmla="*/ 275 h 275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878" h="275">
                <a:moveTo>
                  <a:pt x="634" y="108"/>
                </a:moveTo>
                <a:lnTo>
                  <a:pt x="665" y="133"/>
                </a:lnTo>
                <a:lnTo>
                  <a:pt x="670" y="125"/>
                </a:lnTo>
                <a:lnTo>
                  <a:pt x="670" y="105"/>
                </a:lnTo>
                <a:lnTo>
                  <a:pt x="679" y="97"/>
                </a:lnTo>
                <a:lnTo>
                  <a:pt x="690" y="113"/>
                </a:lnTo>
                <a:lnTo>
                  <a:pt x="699" y="116"/>
                </a:lnTo>
                <a:lnTo>
                  <a:pt x="699" y="102"/>
                </a:lnTo>
                <a:lnTo>
                  <a:pt x="692" y="91"/>
                </a:lnTo>
                <a:lnTo>
                  <a:pt x="707" y="80"/>
                </a:lnTo>
                <a:lnTo>
                  <a:pt x="701" y="72"/>
                </a:lnTo>
                <a:lnTo>
                  <a:pt x="704" y="68"/>
                </a:lnTo>
                <a:lnTo>
                  <a:pt x="717" y="66"/>
                </a:lnTo>
                <a:lnTo>
                  <a:pt x="761" y="0"/>
                </a:lnTo>
                <a:lnTo>
                  <a:pt x="763" y="18"/>
                </a:lnTo>
                <a:lnTo>
                  <a:pt x="775" y="0"/>
                </a:lnTo>
                <a:lnTo>
                  <a:pt x="780" y="0"/>
                </a:lnTo>
                <a:lnTo>
                  <a:pt x="787" y="15"/>
                </a:lnTo>
                <a:lnTo>
                  <a:pt x="804" y="21"/>
                </a:lnTo>
                <a:lnTo>
                  <a:pt x="804" y="46"/>
                </a:lnTo>
                <a:lnTo>
                  <a:pt x="821" y="43"/>
                </a:lnTo>
                <a:lnTo>
                  <a:pt x="821" y="57"/>
                </a:lnTo>
                <a:lnTo>
                  <a:pt x="835" y="54"/>
                </a:lnTo>
                <a:lnTo>
                  <a:pt x="871" y="71"/>
                </a:lnTo>
                <a:lnTo>
                  <a:pt x="878" y="79"/>
                </a:lnTo>
                <a:lnTo>
                  <a:pt x="852" y="93"/>
                </a:lnTo>
                <a:lnTo>
                  <a:pt x="832" y="94"/>
                </a:lnTo>
                <a:lnTo>
                  <a:pt x="832" y="105"/>
                </a:lnTo>
                <a:lnTo>
                  <a:pt x="846" y="116"/>
                </a:lnTo>
                <a:lnTo>
                  <a:pt x="821" y="125"/>
                </a:lnTo>
                <a:lnTo>
                  <a:pt x="807" y="118"/>
                </a:lnTo>
                <a:lnTo>
                  <a:pt x="802" y="126"/>
                </a:lnTo>
                <a:lnTo>
                  <a:pt x="778" y="118"/>
                </a:lnTo>
                <a:lnTo>
                  <a:pt x="721" y="118"/>
                </a:lnTo>
                <a:lnTo>
                  <a:pt x="704" y="167"/>
                </a:lnTo>
                <a:lnTo>
                  <a:pt x="682" y="193"/>
                </a:lnTo>
                <a:lnTo>
                  <a:pt x="670" y="230"/>
                </a:lnTo>
                <a:lnTo>
                  <a:pt x="660" y="244"/>
                </a:lnTo>
                <a:lnTo>
                  <a:pt x="643" y="253"/>
                </a:lnTo>
                <a:lnTo>
                  <a:pt x="608" y="261"/>
                </a:lnTo>
                <a:lnTo>
                  <a:pt x="587" y="255"/>
                </a:lnTo>
                <a:lnTo>
                  <a:pt x="582" y="249"/>
                </a:lnTo>
                <a:lnTo>
                  <a:pt x="558" y="247"/>
                </a:lnTo>
                <a:lnTo>
                  <a:pt x="527" y="274"/>
                </a:lnTo>
                <a:lnTo>
                  <a:pt x="504" y="275"/>
                </a:lnTo>
                <a:lnTo>
                  <a:pt x="495" y="270"/>
                </a:lnTo>
                <a:lnTo>
                  <a:pt x="476" y="275"/>
                </a:lnTo>
                <a:lnTo>
                  <a:pt x="465" y="272"/>
                </a:lnTo>
                <a:lnTo>
                  <a:pt x="453" y="269"/>
                </a:lnTo>
                <a:lnTo>
                  <a:pt x="434" y="235"/>
                </a:lnTo>
                <a:lnTo>
                  <a:pt x="433" y="223"/>
                </a:lnTo>
                <a:lnTo>
                  <a:pt x="438" y="219"/>
                </a:lnTo>
                <a:lnTo>
                  <a:pt x="442" y="232"/>
                </a:lnTo>
                <a:lnTo>
                  <a:pt x="455" y="236"/>
                </a:lnTo>
                <a:lnTo>
                  <a:pt x="472" y="236"/>
                </a:lnTo>
                <a:lnTo>
                  <a:pt x="502" y="244"/>
                </a:lnTo>
                <a:lnTo>
                  <a:pt x="509" y="219"/>
                </a:lnTo>
                <a:lnTo>
                  <a:pt x="507" y="211"/>
                </a:lnTo>
                <a:lnTo>
                  <a:pt x="519" y="211"/>
                </a:lnTo>
                <a:lnTo>
                  <a:pt x="519" y="199"/>
                </a:lnTo>
                <a:lnTo>
                  <a:pt x="526" y="187"/>
                </a:lnTo>
                <a:lnTo>
                  <a:pt x="582" y="176"/>
                </a:lnTo>
                <a:lnTo>
                  <a:pt x="626" y="128"/>
                </a:lnTo>
                <a:lnTo>
                  <a:pt x="634" y="108"/>
                </a:lnTo>
                <a:close/>
                <a:moveTo>
                  <a:pt x="91" y="34"/>
                </a:moveTo>
                <a:lnTo>
                  <a:pt x="101" y="34"/>
                </a:lnTo>
                <a:lnTo>
                  <a:pt x="131" y="60"/>
                </a:lnTo>
                <a:lnTo>
                  <a:pt x="150" y="89"/>
                </a:lnTo>
                <a:lnTo>
                  <a:pt x="152" y="170"/>
                </a:lnTo>
                <a:lnTo>
                  <a:pt x="157" y="185"/>
                </a:lnTo>
                <a:lnTo>
                  <a:pt x="170" y="196"/>
                </a:lnTo>
                <a:lnTo>
                  <a:pt x="189" y="232"/>
                </a:lnTo>
                <a:lnTo>
                  <a:pt x="182" y="252"/>
                </a:lnTo>
                <a:lnTo>
                  <a:pt x="165" y="241"/>
                </a:lnTo>
                <a:lnTo>
                  <a:pt x="152" y="252"/>
                </a:lnTo>
                <a:lnTo>
                  <a:pt x="94" y="218"/>
                </a:lnTo>
                <a:lnTo>
                  <a:pt x="55" y="184"/>
                </a:lnTo>
                <a:lnTo>
                  <a:pt x="48" y="164"/>
                </a:lnTo>
                <a:lnTo>
                  <a:pt x="26" y="134"/>
                </a:lnTo>
                <a:lnTo>
                  <a:pt x="20" y="119"/>
                </a:lnTo>
                <a:lnTo>
                  <a:pt x="21" y="96"/>
                </a:lnTo>
                <a:lnTo>
                  <a:pt x="11" y="82"/>
                </a:lnTo>
                <a:lnTo>
                  <a:pt x="3" y="21"/>
                </a:lnTo>
                <a:lnTo>
                  <a:pt x="0" y="9"/>
                </a:lnTo>
                <a:lnTo>
                  <a:pt x="37" y="21"/>
                </a:lnTo>
                <a:lnTo>
                  <a:pt x="46" y="34"/>
                </a:lnTo>
                <a:lnTo>
                  <a:pt x="46" y="57"/>
                </a:lnTo>
                <a:lnTo>
                  <a:pt x="68" y="43"/>
                </a:lnTo>
                <a:lnTo>
                  <a:pt x="86" y="45"/>
                </a:lnTo>
                <a:lnTo>
                  <a:pt x="91" y="34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380" name="Freeform 69"/>
          <p:cNvSpPr>
            <a:spLocks noChangeAspect="1"/>
          </p:cNvSpPr>
          <p:nvPr/>
        </p:nvSpPr>
        <p:spPr bwMode="gray">
          <a:xfrm>
            <a:off x="6965950" y="3716338"/>
            <a:ext cx="31750" cy="25400"/>
          </a:xfrm>
          <a:custGeom>
            <a:avLst/>
            <a:gdLst>
              <a:gd name="T0" fmla="*/ 0 w 65"/>
              <a:gd name="T1" fmla="*/ 2147483647 h 48"/>
              <a:gd name="T2" fmla="*/ 2147483647 w 65"/>
              <a:gd name="T3" fmla="*/ 2147483647 h 48"/>
              <a:gd name="T4" fmla="*/ 2147483647 w 65"/>
              <a:gd name="T5" fmla="*/ 2147483647 h 48"/>
              <a:gd name="T6" fmla="*/ 2147483647 w 65"/>
              <a:gd name="T7" fmla="*/ 2147483647 h 48"/>
              <a:gd name="T8" fmla="*/ 2147483647 w 65"/>
              <a:gd name="T9" fmla="*/ 2147483647 h 48"/>
              <a:gd name="T10" fmla="*/ 2147483647 w 65"/>
              <a:gd name="T11" fmla="*/ 2147483647 h 48"/>
              <a:gd name="T12" fmla="*/ 2147483647 w 65"/>
              <a:gd name="T13" fmla="*/ 2147483647 h 48"/>
              <a:gd name="T14" fmla="*/ 2147483647 w 65"/>
              <a:gd name="T15" fmla="*/ 2147483647 h 48"/>
              <a:gd name="T16" fmla="*/ 2147483647 w 65"/>
              <a:gd name="T17" fmla="*/ 2147483647 h 48"/>
              <a:gd name="T18" fmla="*/ 2147483647 w 65"/>
              <a:gd name="T19" fmla="*/ 2147483647 h 48"/>
              <a:gd name="T20" fmla="*/ 2147483647 w 65"/>
              <a:gd name="T21" fmla="*/ 0 h 48"/>
              <a:gd name="T22" fmla="*/ 2147483647 w 65"/>
              <a:gd name="T23" fmla="*/ 2147483647 h 48"/>
              <a:gd name="T24" fmla="*/ 0 w 65"/>
              <a:gd name="T25" fmla="*/ 2147483647 h 48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65"/>
              <a:gd name="T40" fmla="*/ 0 h 48"/>
              <a:gd name="T41" fmla="*/ 65 w 65"/>
              <a:gd name="T42" fmla="*/ 48 h 48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65" h="48">
                <a:moveTo>
                  <a:pt x="0" y="23"/>
                </a:moveTo>
                <a:lnTo>
                  <a:pt x="31" y="48"/>
                </a:lnTo>
                <a:lnTo>
                  <a:pt x="36" y="40"/>
                </a:lnTo>
                <a:lnTo>
                  <a:pt x="36" y="20"/>
                </a:lnTo>
                <a:lnTo>
                  <a:pt x="45" y="12"/>
                </a:lnTo>
                <a:lnTo>
                  <a:pt x="56" y="28"/>
                </a:lnTo>
                <a:lnTo>
                  <a:pt x="65" y="31"/>
                </a:lnTo>
                <a:lnTo>
                  <a:pt x="65" y="17"/>
                </a:lnTo>
                <a:lnTo>
                  <a:pt x="58" y="6"/>
                </a:lnTo>
                <a:lnTo>
                  <a:pt x="48" y="6"/>
                </a:lnTo>
                <a:lnTo>
                  <a:pt x="45" y="0"/>
                </a:lnTo>
                <a:lnTo>
                  <a:pt x="22" y="17"/>
                </a:lnTo>
                <a:lnTo>
                  <a:pt x="0" y="23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381" name="Freeform 70"/>
          <p:cNvSpPr>
            <a:spLocks noChangeAspect="1" noEditPoints="1"/>
          </p:cNvSpPr>
          <p:nvPr/>
        </p:nvSpPr>
        <p:spPr bwMode="gray">
          <a:xfrm>
            <a:off x="7040563" y="3408363"/>
            <a:ext cx="619125" cy="333375"/>
          </a:xfrm>
          <a:custGeom>
            <a:avLst/>
            <a:gdLst>
              <a:gd name="T0" fmla="*/ 2147483647 w 1277"/>
              <a:gd name="T1" fmla="*/ 2147483647 h 682"/>
              <a:gd name="T2" fmla="*/ 2147483647 w 1277"/>
              <a:gd name="T3" fmla="*/ 2147483647 h 682"/>
              <a:gd name="T4" fmla="*/ 2147483647 w 1277"/>
              <a:gd name="T5" fmla="*/ 2147483647 h 682"/>
              <a:gd name="T6" fmla="*/ 2147483647 w 1277"/>
              <a:gd name="T7" fmla="*/ 2147483647 h 682"/>
              <a:gd name="T8" fmla="*/ 2147483647 w 1277"/>
              <a:gd name="T9" fmla="*/ 2147483647 h 682"/>
              <a:gd name="T10" fmla="*/ 2147483647 w 1277"/>
              <a:gd name="T11" fmla="*/ 2147483647 h 682"/>
              <a:gd name="T12" fmla="*/ 2147483647 w 1277"/>
              <a:gd name="T13" fmla="*/ 2147483647 h 682"/>
              <a:gd name="T14" fmla="*/ 2147483647 w 1277"/>
              <a:gd name="T15" fmla="*/ 2147483647 h 682"/>
              <a:gd name="T16" fmla="*/ 2147483647 w 1277"/>
              <a:gd name="T17" fmla="*/ 2147483647 h 682"/>
              <a:gd name="T18" fmla="*/ 2147483647 w 1277"/>
              <a:gd name="T19" fmla="*/ 2147483647 h 682"/>
              <a:gd name="T20" fmla="*/ 2147483647 w 1277"/>
              <a:gd name="T21" fmla="*/ 2147483647 h 682"/>
              <a:gd name="T22" fmla="*/ 2147483647 w 1277"/>
              <a:gd name="T23" fmla="*/ 2147483647 h 682"/>
              <a:gd name="T24" fmla="*/ 2147483647 w 1277"/>
              <a:gd name="T25" fmla="*/ 2147483647 h 682"/>
              <a:gd name="T26" fmla="*/ 2147483647 w 1277"/>
              <a:gd name="T27" fmla="*/ 2147483647 h 682"/>
              <a:gd name="T28" fmla="*/ 2147483647 w 1277"/>
              <a:gd name="T29" fmla="*/ 2147483647 h 682"/>
              <a:gd name="T30" fmla="*/ 2147483647 w 1277"/>
              <a:gd name="T31" fmla="*/ 2147483647 h 682"/>
              <a:gd name="T32" fmla="*/ 2147483647 w 1277"/>
              <a:gd name="T33" fmla="*/ 2147483647 h 682"/>
              <a:gd name="T34" fmla="*/ 2147483647 w 1277"/>
              <a:gd name="T35" fmla="*/ 2147483647 h 682"/>
              <a:gd name="T36" fmla="*/ 2147483647 w 1277"/>
              <a:gd name="T37" fmla="*/ 2147483647 h 682"/>
              <a:gd name="T38" fmla="*/ 2147483647 w 1277"/>
              <a:gd name="T39" fmla="*/ 2147483647 h 682"/>
              <a:gd name="T40" fmla="*/ 2147483647 w 1277"/>
              <a:gd name="T41" fmla="*/ 2147483647 h 682"/>
              <a:gd name="T42" fmla="*/ 2147483647 w 1277"/>
              <a:gd name="T43" fmla="*/ 2147483647 h 682"/>
              <a:gd name="T44" fmla="*/ 2147483647 w 1277"/>
              <a:gd name="T45" fmla="*/ 2147483647 h 682"/>
              <a:gd name="T46" fmla="*/ 2147483647 w 1277"/>
              <a:gd name="T47" fmla="*/ 2147483647 h 682"/>
              <a:gd name="T48" fmla="*/ 2147483647 w 1277"/>
              <a:gd name="T49" fmla="*/ 2147483647 h 682"/>
              <a:gd name="T50" fmla="*/ 2147483647 w 1277"/>
              <a:gd name="T51" fmla="*/ 2147483647 h 682"/>
              <a:gd name="T52" fmla="*/ 2147483647 w 1277"/>
              <a:gd name="T53" fmla="*/ 2147483647 h 682"/>
              <a:gd name="T54" fmla="*/ 2147483647 w 1277"/>
              <a:gd name="T55" fmla="*/ 2147483647 h 682"/>
              <a:gd name="T56" fmla="*/ 2147483647 w 1277"/>
              <a:gd name="T57" fmla="*/ 2147483647 h 682"/>
              <a:gd name="T58" fmla="*/ 2147483647 w 1277"/>
              <a:gd name="T59" fmla="*/ 2147483647 h 682"/>
              <a:gd name="T60" fmla="*/ 2147483647 w 1277"/>
              <a:gd name="T61" fmla="*/ 2147483647 h 682"/>
              <a:gd name="T62" fmla="*/ 2147483647 w 1277"/>
              <a:gd name="T63" fmla="*/ 2147483647 h 682"/>
              <a:gd name="T64" fmla="*/ 2147483647 w 1277"/>
              <a:gd name="T65" fmla="*/ 2147483647 h 682"/>
              <a:gd name="T66" fmla="*/ 2147483647 w 1277"/>
              <a:gd name="T67" fmla="*/ 2147483647 h 682"/>
              <a:gd name="T68" fmla="*/ 2147483647 w 1277"/>
              <a:gd name="T69" fmla="*/ 2147483647 h 682"/>
              <a:gd name="T70" fmla="*/ 2147483647 w 1277"/>
              <a:gd name="T71" fmla="*/ 2147483647 h 682"/>
              <a:gd name="T72" fmla="*/ 2147483647 w 1277"/>
              <a:gd name="T73" fmla="*/ 2147483647 h 682"/>
              <a:gd name="T74" fmla="*/ 2147483647 w 1277"/>
              <a:gd name="T75" fmla="*/ 2147483647 h 682"/>
              <a:gd name="T76" fmla="*/ 2147483647 w 1277"/>
              <a:gd name="T77" fmla="*/ 2147483647 h 682"/>
              <a:gd name="T78" fmla="*/ 2147483647 w 1277"/>
              <a:gd name="T79" fmla="*/ 2147483647 h 682"/>
              <a:gd name="T80" fmla="*/ 2147483647 w 1277"/>
              <a:gd name="T81" fmla="*/ 2147483647 h 682"/>
              <a:gd name="T82" fmla="*/ 2147483647 w 1277"/>
              <a:gd name="T83" fmla="*/ 2147483647 h 682"/>
              <a:gd name="T84" fmla="*/ 2147483647 w 1277"/>
              <a:gd name="T85" fmla="*/ 2147483647 h 682"/>
              <a:gd name="T86" fmla="*/ 2147483647 w 1277"/>
              <a:gd name="T87" fmla="*/ 2147483647 h 682"/>
              <a:gd name="T88" fmla="*/ 2147483647 w 1277"/>
              <a:gd name="T89" fmla="*/ 2147483647 h 682"/>
              <a:gd name="T90" fmla="*/ 2147483647 w 1277"/>
              <a:gd name="T91" fmla="*/ 2147483647 h 682"/>
              <a:gd name="T92" fmla="*/ 2147483647 w 1277"/>
              <a:gd name="T93" fmla="*/ 2147483647 h 682"/>
              <a:gd name="T94" fmla="*/ 2147483647 w 1277"/>
              <a:gd name="T95" fmla="*/ 2147483647 h 682"/>
              <a:gd name="T96" fmla="*/ 2147483647 w 1277"/>
              <a:gd name="T97" fmla="*/ 2147483647 h 682"/>
              <a:gd name="T98" fmla="*/ 2147483647 w 1277"/>
              <a:gd name="T99" fmla="*/ 2147483647 h 682"/>
              <a:gd name="T100" fmla="*/ 2147483647 w 1277"/>
              <a:gd name="T101" fmla="*/ 2147483647 h 682"/>
              <a:gd name="T102" fmla="*/ 2147483647 w 1277"/>
              <a:gd name="T103" fmla="*/ 2147483647 h 68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1277"/>
              <a:gd name="T157" fmla="*/ 0 h 682"/>
              <a:gd name="T158" fmla="*/ 1277 w 1277"/>
              <a:gd name="T159" fmla="*/ 682 h 682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1277" h="682">
                <a:moveTo>
                  <a:pt x="120" y="317"/>
                </a:moveTo>
                <a:lnTo>
                  <a:pt x="129" y="323"/>
                </a:lnTo>
                <a:lnTo>
                  <a:pt x="127" y="329"/>
                </a:lnTo>
                <a:lnTo>
                  <a:pt x="120" y="317"/>
                </a:lnTo>
                <a:close/>
                <a:moveTo>
                  <a:pt x="1277" y="242"/>
                </a:moveTo>
                <a:lnTo>
                  <a:pt x="1271" y="253"/>
                </a:lnTo>
                <a:lnTo>
                  <a:pt x="1269" y="249"/>
                </a:lnTo>
                <a:lnTo>
                  <a:pt x="1277" y="242"/>
                </a:lnTo>
                <a:close/>
                <a:moveTo>
                  <a:pt x="806" y="515"/>
                </a:moveTo>
                <a:lnTo>
                  <a:pt x="801" y="528"/>
                </a:lnTo>
                <a:lnTo>
                  <a:pt x="801" y="518"/>
                </a:lnTo>
                <a:lnTo>
                  <a:pt x="806" y="515"/>
                </a:lnTo>
                <a:close/>
                <a:moveTo>
                  <a:pt x="439" y="659"/>
                </a:moveTo>
                <a:lnTo>
                  <a:pt x="443" y="672"/>
                </a:lnTo>
                <a:lnTo>
                  <a:pt x="442" y="682"/>
                </a:lnTo>
                <a:lnTo>
                  <a:pt x="439" y="659"/>
                </a:lnTo>
                <a:close/>
                <a:moveTo>
                  <a:pt x="120" y="638"/>
                </a:moveTo>
                <a:lnTo>
                  <a:pt x="126" y="629"/>
                </a:lnTo>
                <a:lnTo>
                  <a:pt x="137" y="628"/>
                </a:lnTo>
                <a:lnTo>
                  <a:pt x="139" y="631"/>
                </a:lnTo>
                <a:lnTo>
                  <a:pt x="120" y="638"/>
                </a:lnTo>
                <a:close/>
                <a:moveTo>
                  <a:pt x="171" y="598"/>
                </a:moveTo>
                <a:lnTo>
                  <a:pt x="178" y="589"/>
                </a:lnTo>
                <a:lnTo>
                  <a:pt x="191" y="594"/>
                </a:lnTo>
                <a:lnTo>
                  <a:pt x="188" y="600"/>
                </a:lnTo>
                <a:lnTo>
                  <a:pt x="171" y="598"/>
                </a:lnTo>
                <a:close/>
                <a:moveTo>
                  <a:pt x="211" y="562"/>
                </a:moveTo>
                <a:lnTo>
                  <a:pt x="222" y="558"/>
                </a:lnTo>
                <a:lnTo>
                  <a:pt x="234" y="564"/>
                </a:lnTo>
                <a:lnTo>
                  <a:pt x="219" y="572"/>
                </a:lnTo>
                <a:lnTo>
                  <a:pt x="211" y="562"/>
                </a:lnTo>
                <a:close/>
                <a:moveTo>
                  <a:pt x="376" y="420"/>
                </a:moveTo>
                <a:lnTo>
                  <a:pt x="384" y="418"/>
                </a:lnTo>
                <a:lnTo>
                  <a:pt x="414" y="447"/>
                </a:lnTo>
                <a:lnTo>
                  <a:pt x="418" y="462"/>
                </a:lnTo>
                <a:lnTo>
                  <a:pt x="410" y="473"/>
                </a:lnTo>
                <a:lnTo>
                  <a:pt x="418" y="477"/>
                </a:lnTo>
                <a:lnTo>
                  <a:pt x="431" y="523"/>
                </a:lnTo>
                <a:lnTo>
                  <a:pt x="431" y="538"/>
                </a:lnTo>
                <a:lnTo>
                  <a:pt x="417" y="553"/>
                </a:lnTo>
                <a:lnTo>
                  <a:pt x="417" y="574"/>
                </a:lnTo>
                <a:lnTo>
                  <a:pt x="410" y="569"/>
                </a:lnTo>
                <a:lnTo>
                  <a:pt x="406" y="545"/>
                </a:lnTo>
                <a:lnTo>
                  <a:pt x="398" y="532"/>
                </a:lnTo>
                <a:lnTo>
                  <a:pt x="392" y="533"/>
                </a:lnTo>
                <a:lnTo>
                  <a:pt x="380" y="552"/>
                </a:lnTo>
                <a:lnTo>
                  <a:pt x="376" y="564"/>
                </a:lnTo>
                <a:lnTo>
                  <a:pt x="389" y="587"/>
                </a:lnTo>
                <a:lnTo>
                  <a:pt x="380" y="609"/>
                </a:lnTo>
                <a:lnTo>
                  <a:pt x="372" y="606"/>
                </a:lnTo>
                <a:lnTo>
                  <a:pt x="369" y="591"/>
                </a:lnTo>
                <a:lnTo>
                  <a:pt x="354" y="598"/>
                </a:lnTo>
                <a:lnTo>
                  <a:pt x="329" y="586"/>
                </a:lnTo>
                <a:lnTo>
                  <a:pt x="322" y="579"/>
                </a:lnTo>
                <a:lnTo>
                  <a:pt x="312" y="545"/>
                </a:lnTo>
                <a:lnTo>
                  <a:pt x="322" y="525"/>
                </a:lnTo>
                <a:lnTo>
                  <a:pt x="296" y="507"/>
                </a:lnTo>
                <a:lnTo>
                  <a:pt x="291" y="507"/>
                </a:lnTo>
                <a:lnTo>
                  <a:pt x="285" y="525"/>
                </a:lnTo>
                <a:lnTo>
                  <a:pt x="274" y="521"/>
                </a:lnTo>
                <a:lnTo>
                  <a:pt x="274" y="515"/>
                </a:lnTo>
                <a:lnTo>
                  <a:pt x="261" y="530"/>
                </a:lnTo>
                <a:lnTo>
                  <a:pt x="256" y="513"/>
                </a:lnTo>
                <a:lnTo>
                  <a:pt x="249" y="513"/>
                </a:lnTo>
                <a:lnTo>
                  <a:pt x="239" y="523"/>
                </a:lnTo>
                <a:lnTo>
                  <a:pt x="228" y="549"/>
                </a:lnTo>
                <a:lnTo>
                  <a:pt x="219" y="549"/>
                </a:lnTo>
                <a:lnTo>
                  <a:pt x="217" y="540"/>
                </a:lnTo>
                <a:lnTo>
                  <a:pt x="225" y="507"/>
                </a:lnTo>
                <a:lnTo>
                  <a:pt x="234" y="498"/>
                </a:lnTo>
                <a:lnTo>
                  <a:pt x="261" y="491"/>
                </a:lnTo>
                <a:lnTo>
                  <a:pt x="262" y="482"/>
                </a:lnTo>
                <a:lnTo>
                  <a:pt x="282" y="467"/>
                </a:lnTo>
                <a:lnTo>
                  <a:pt x="299" y="473"/>
                </a:lnTo>
                <a:lnTo>
                  <a:pt x="304" y="482"/>
                </a:lnTo>
                <a:lnTo>
                  <a:pt x="298" y="499"/>
                </a:lnTo>
                <a:lnTo>
                  <a:pt x="316" y="491"/>
                </a:lnTo>
                <a:lnTo>
                  <a:pt x="324" y="477"/>
                </a:lnTo>
                <a:lnTo>
                  <a:pt x="332" y="473"/>
                </a:lnTo>
                <a:lnTo>
                  <a:pt x="339" y="474"/>
                </a:lnTo>
                <a:lnTo>
                  <a:pt x="349" y="456"/>
                </a:lnTo>
                <a:lnTo>
                  <a:pt x="359" y="459"/>
                </a:lnTo>
                <a:lnTo>
                  <a:pt x="380" y="451"/>
                </a:lnTo>
                <a:lnTo>
                  <a:pt x="376" y="420"/>
                </a:lnTo>
                <a:close/>
                <a:moveTo>
                  <a:pt x="101" y="343"/>
                </a:moveTo>
                <a:lnTo>
                  <a:pt x="106" y="343"/>
                </a:lnTo>
                <a:lnTo>
                  <a:pt x="107" y="357"/>
                </a:lnTo>
                <a:lnTo>
                  <a:pt x="107" y="388"/>
                </a:lnTo>
                <a:lnTo>
                  <a:pt x="73" y="413"/>
                </a:lnTo>
                <a:lnTo>
                  <a:pt x="70" y="425"/>
                </a:lnTo>
                <a:lnTo>
                  <a:pt x="30" y="462"/>
                </a:lnTo>
                <a:lnTo>
                  <a:pt x="5" y="481"/>
                </a:lnTo>
                <a:lnTo>
                  <a:pt x="0" y="479"/>
                </a:lnTo>
                <a:lnTo>
                  <a:pt x="8" y="459"/>
                </a:lnTo>
                <a:lnTo>
                  <a:pt x="30" y="442"/>
                </a:lnTo>
                <a:lnTo>
                  <a:pt x="75" y="394"/>
                </a:lnTo>
                <a:lnTo>
                  <a:pt x="89" y="388"/>
                </a:lnTo>
                <a:lnTo>
                  <a:pt x="93" y="368"/>
                </a:lnTo>
                <a:lnTo>
                  <a:pt x="95" y="371"/>
                </a:lnTo>
                <a:lnTo>
                  <a:pt x="98" y="369"/>
                </a:lnTo>
                <a:lnTo>
                  <a:pt x="93" y="363"/>
                </a:lnTo>
                <a:lnTo>
                  <a:pt x="101" y="343"/>
                </a:lnTo>
                <a:close/>
                <a:moveTo>
                  <a:pt x="304" y="413"/>
                </a:moveTo>
                <a:lnTo>
                  <a:pt x="321" y="400"/>
                </a:lnTo>
                <a:lnTo>
                  <a:pt x="338" y="401"/>
                </a:lnTo>
                <a:lnTo>
                  <a:pt x="333" y="422"/>
                </a:lnTo>
                <a:lnTo>
                  <a:pt x="310" y="425"/>
                </a:lnTo>
                <a:lnTo>
                  <a:pt x="304" y="413"/>
                </a:lnTo>
                <a:close/>
                <a:moveTo>
                  <a:pt x="312" y="351"/>
                </a:moveTo>
                <a:lnTo>
                  <a:pt x="312" y="388"/>
                </a:lnTo>
                <a:lnTo>
                  <a:pt x="302" y="397"/>
                </a:lnTo>
                <a:lnTo>
                  <a:pt x="285" y="431"/>
                </a:lnTo>
                <a:lnTo>
                  <a:pt x="281" y="413"/>
                </a:lnTo>
                <a:lnTo>
                  <a:pt x="312" y="351"/>
                </a:lnTo>
                <a:close/>
                <a:moveTo>
                  <a:pt x="325" y="337"/>
                </a:moveTo>
                <a:lnTo>
                  <a:pt x="330" y="343"/>
                </a:lnTo>
                <a:lnTo>
                  <a:pt x="350" y="343"/>
                </a:lnTo>
                <a:lnTo>
                  <a:pt x="358" y="352"/>
                </a:lnTo>
                <a:lnTo>
                  <a:pt x="358" y="374"/>
                </a:lnTo>
                <a:lnTo>
                  <a:pt x="367" y="396"/>
                </a:lnTo>
                <a:lnTo>
                  <a:pt x="358" y="396"/>
                </a:lnTo>
                <a:lnTo>
                  <a:pt x="358" y="405"/>
                </a:lnTo>
                <a:lnTo>
                  <a:pt x="347" y="394"/>
                </a:lnTo>
                <a:lnTo>
                  <a:pt x="342" y="364"/>
                </a:lnTo>
                <a:lnTo>
                  <a:pt x="332" y="366"/>
                </a:lnTo>
                <a:lnTo>
                  <a:pt x="325" y="337"/>
                </a:lnTo>
                <a:close/>
                <a:moveTo>
                  <a:pt x="262" y="368"/>
                </a:moveTo>
                <a:lnTo>
                  <a:pt x="271" y="363"/>
                </a:lnTo>
                <a:lnTo>
                  <a:pt x="288" y="366"/>
                </a:lnTo>
                <a:lnTo>
                  <a:pt x="288" y="374"/>
                </a:lnTo>
                <a:lnTo>
                  <a:pt x="274" y="413"/>
                </a:lnTo>
                <a:lnTo>
                  <a:pt x="274" y="447"/>
                </a:lnTo>
                <a:lnTo>
                  <a:pt x="268" y="451"/>
                </a:lnTo>
                <a:lnTo>
                  <a:pt x="239" y="420"/>
                </a:lnTo>
                <a:lnTo>
                  <a:pt x="240" y="409"/>
                </a:lnTo>
                <a:lnTo>
                  <a:pt x="254" y="405"/>
                </a:lnTo>
                <a:lnTo>
                  <a:pt x="262" y="368"/>
                </a:lnTo>
                <a:close/>
                <a:moveTo>
                  <a:pt x="215" y="320"/>
                </a:moveTo>
                <a:lnTo>
                  <a:pt x="225" y="320"/>
                </a:lnTo>
                <a:lnTo>
                  <a:pt x="239" y="334"/>
                </a:lnTo>
                <a:lnTo>
                  <a:pt x="270" y="337"/>
                </a:lnTo>
                <a:lnTo>
                  <a:pt x="266" y="355"/>
                </a:lnTo>
                <a:lnTo>
                  <a:pt x="248" y="374"/>
                </a:lnTo>
                <a:lnTo>
                  <a:pt x="225" y="381"/>
                </a:lnTo>
                <a:lnTo>
                  <a:pt x="219" y="388"/>
                </a:lnTo>
                <a:lnTo>
                  <a:pt x="217" y="368"/>
                </a:lnTo>
                <a:lnTo>
                  <a:pt x="222" y="334"/>
                </a:lnTo>
                <a:lnTo>
                  <a:pt x="215" y="320"/>
                </a:lnTo>
                <a:close/>
                <a:moveTo>
                  <a:pt x="325" y="289"/>
                </a:moveTo>
                <a:lnTo>
                  <a:pt x="358" y="286"/>
                </a:lnTo>
                <a:lnTo>
                  <a:pt x="369" y="292"/>
                </a:lnTo>
                <a:lnTo>
                  <a:pt x="380" y="303"/>
                </a:lnTo>
                <a:lnTo>
                  <a:pt x="380" y="334"/>
                </a:lnTo>
                <a:lnTo>
                  <a:pt x="392" y="357"/>
                </a:lnTo>
                <a:lnTo>
                  <a:pt x="369" y="355"/>
                </a:lnTo>
                <a:lnTo>
                  <a:pt x="354" y="338"/>
                </a:lnTo>
                <a:lnTo>
                  <a:pt x="356" y="327"/>
                </a:lnTo>
                <a:lnTo>
                  <a:pt x="338" y="310"/>
                </a:lnTo>
                <a:lnTo>
                  <a:pt x="325" y="289"/>
                </a:lnTo>
                <a:close/>
                <a:moveTo>
                  <a:pt x="276" y="287"/>
                </a:moveTo>
                <a:lnTo>
                  <a:pt x="310" y="312"/>
                </a:lnTo>
                <a:lnTo>
                  <a:pt x="313" y="325"/>
                </a:lnTo>
                <a:lnTo>
                  <a:pt x="298" y="317"/>
                </a:lnTo>
                <a:lnTo>
                  <a:pt x="290" y="306"/>
                </a:lnTo>
                <a:lnTo>
                  <a:pt x="274" y="313"/>
                </a:lnTo>
                <a:lnTo>
                  <a:pt x="276" y="287"/>
                </a:lnTo>
                <a:close/>
                <a:moveTo>
                  <a:pt x="239" y="293"/>
                </a:moveTo>
                <a:lnTo>
                  <a:pt x="244" y="292"/>
                </a:lnTo>
                <a:lnTo>
                  <a:pt x="249" y="300"/>
                </a:lnTo>
                <a:lnTo>
                  <a:pt x="239" y="293"/>
                </a:lnTo>
                <a:close/>
                <a:moveTo>
                  <a:pt x="219" y="293"/>
                </a:moveTo>
                <a:lnTo>
                  <a:pt x="219" y="284"/>
                </a:lnTo>
                <a:lnTo>
                  <a:pt x="223" y="284"/>
                </a:lnTo>
                <a:lnTo>
                  <a:pt x="220" y="309"/>
                </a:lnTo>
                <a:lnTo>
                  <a:pt x="219" y="293"/>
                </a:lnTo>
                <a:close/>
                <a:moveTo>
                  <a:pt x="211" y="252"/>
                </a:moveTo>
                <a:lnTo>
                  <a:pt x="211" y="242"/>
                </a:lnTo>
                <a:lnTo>
                  <a:pt x="223" y="244"/>
                </a:lnTo>
                <a:lnTo>
                  <a:pt x="222" y="258"/>
                </a:lnTo>
                <a:lnTo>
                  <a:pt x="211" y="252"/>
                </a:lnTo>
                <a:close/>
                <a:moveTo>
                  <a:pt x="214" y="173"/>
                </a:moveTo>
                <a:lnTo>
                  <a:pt x="219" y="171"/>
                </a:lnTo>
                <a:lnTo>
                  <a:pt x="220" y="186"/>
                </a:lnTo>
                <a:lnTo>
                  <a:pt x="215" y="188"/>
                </a:lnTo>
                <a:lnTo>
                  <a:pt x="214" y="173"/>
                </a:lnTo>
                <a:close/>
                <a:moveTo>
                  <a:pt x="231" y="9"/>
                </a:moveTo>
                <a:lnTo>
                  <a:pt x="234" y="13"/>
                </a:lnTo>
                <a:lnTo>
                  <a:pt x="227" y="29"/>
                </a:lnTo>
                <a:lnTo>
                  <a:pt x="227" y="55"/>
                </a:lnTo>
                <a:lnTo>
                  <a:pt x="240" y="72"/>
                </a:lnTo>
                <a:lnTo>
                  <a:pt x="240" y="81"/>
                </a:lnTo>
                <a:lnTo>
                  <a:pt x="225" y="120"/>
                </a:lnTo>
                <a:lnTo>
                  <a:pt x="205" y="131"/>
                </a:lnTo>
                <a:lnTo>
                  <a:pt x="197" y="154"/>
                </a:lnTo>
                <a:lnTo>
                  <a:pt x="191" y="157"/>
                </a:lnTo>
                <a:lnTo>
                  <a:pt x="203" y="186"/>
                </a:lnTo>
                <a:lnTo>
                  <a:pt x="202" y="199"/>
                </a:lnTo>
                <a:lnTo>
                  <a:pt x="206" y="213"/>
                </a:lnTo>
                <a:lnTo>
                  <a:pt x="219" y="225"/>
                </a:lnTo>
                <a:lnTo>
                  <a:pt x="231" y="224"/>
                </a:lnTo>
                <a:lnTo>
                  <a:pt x="228" y="211"/>
                </a:lnTo>
                <a:lnTo>
                  <a:pt x="253" y="203"/>
                </a:lnTo>
                <a:lnTo>
                  <a:pt x="264" y="211"/>
                </a:lnTo>
                <a:lnTo>
                  <a:pt x="273" y="232"/>
                </a:lnTo>
                <a:lnTo>
                  <a:pt x="278" y="227"/>
                </a:lnTo>
                <a:lnTo>
                  <a:pt x="276" y="219"/>
                </a:lnTo>
                <a:lnTo>
                  <a:pt x="304" y="228"/>
                </a:lnTo>
                <a:lnTo>
                  <a:pt x="307" y="233"/>
                </a:lnTo>
                <a:lnTo>
                  <a:pt x="291" y="241"/>
                </a:lnTo>
                <a:lnTo>
                  <a:pt x="293" y="247"/>
                </a:lnTo>
                <a:lnTo>
                  <a:pt x="305" y="252"/>
                </a:lnTo>
                <a:lnTo>
                  <a:pt x="304" y="262"/>
                </a:lnTo>
                <a:lnTo>
                  <a:pt x="315" y="269"/>
                </a:lnTo>
                <a:lnTo>
                  <a:pt x="312" y="289"/>
                </a:lnTo>
                <a:lnTo>
                  <a:pt x="304" y="278"/>
                </a:lnTo>
                <a:lnTo>
                  <a:pt x="310" y="273"/>
                </a:lnTo>
                <a:lnTo>
                  <a:pt x="295" y="273"/>
                </a:lnTo>
                <a:lnTo>
                  <a:pt x="281" y="264"/>
                </a:lnTo>
                <a:lnTo>
                  <a:pt x="273" y="247"/>
                </a:lnTo>
                <a:lnTo>
                  <a:pt x="249" y="227"/>
                </a:lnTo>
                <a:lnTo>
                  <a:pt x="240" y="225"/>
                </a:lnTo>
                <a:lnTo>
                  <a:pt x="251" y="258"/>
                </a:lnTo>
                <a:lnTo>
                  <a:pt x="215" y="225"/>
                </a:lnTo>
                <a:lnTo>
                  <a:pt x="200" y="225"/>
                </a:lnTo>
                <a:lnTo>
                  <a:pt x="188" y="237"/>
                </a:lnTo>
                <a:lnTo>
                  <a:pt x="182" y="237"/>
                </a:lnTo>
                <a:lnTo>
                  <a:pt x="165" y="227"/>
                </a:lnTo>
                <a:lnTo>
                  <a:pt x="161" y="230"/>
                </a:lnTo>
                <a:lnTo>
                  <a:pt x="156" y="213"/>
                </a:lnTo>
                <a:lnTo>
                  <a:pt x="169" y="188"/>
                </a:lnTo>
                <a:lnTo>
                  <a:pt x="156" y="185"/>
                </a:lnTo>
                <a:lnTo>
                  <a:pt x="152" y="199"/>
                </a:lnTo>
                <a:lnTo>
                  <a:pt x="141" y="185"/>
                </a:lnTo>
                <a:lnTo>
                  <a:pt x="135" y="183"/>
                </a:lnTo>
                <a:lnTo>
                  <a:pt x="131" y="169"/>
                </a:lnTo>
                <a:lnTo>
                  <a:pt x="117" y="115"/>
                </a:lnTo>
                <a:lnTo>
                  <a:pt x="126" y="115"/>
                </a:lnTo>
                <a:lnTo>
                  <a:pt x="132" y="122"/>
                </a:lnTo>
                <a:lnTo>
                  <a:pt x="143" y="120"/>
                </a:lnTo>
                <a:lnTo>
                  <a:pt x="146" y="34"/>
                </a:lnTo>
                <a:lnTo>
                  <a:pt x="154" y="7"/>
                </a:lnTo>
                <a:lnTo>
                  <a:pt x="160" y="0"/>
                </a:lnTo>
                <a:lnTo>
                  <a:pt x="185" y="4"/>
                </a:lnTo>
                <a:lnTo>
                  <a:pt x="203" y="13"/>
                </a:lnTo>
                <a:lnTo>
                  <a:pt x="219" y="12"/>
                </a:lnTo>
                <a:lnTo>
                  <a:pt x="220" y="4"/>
                </a:lnTo>
                <a:lnTo>
                  <a:pt x="227" y="4"/>
                </a:lnTo>
                <a:lnTo>
                  <a:pt x="231" y="9"/>
                </a:lnTo>
                <a:close/>
                <a:moveTo>
                  <a:pt x="144" y="247"/>
                </a:moveTo>
                <a:lnTo>
                  <a:pt x="174" y="245"/>
                </a:lnTo>
                <a:lnTo>
                  <a:pt x="195" y="259"/>
                </a:lnTo>
                <a:lnTo>
                  <a:pt x="198" y="286"/>
                </a:lnTo>
                <a:lnTo>
                  <a:pt x="195" y="296"/>
                </a:lnTo>
                <a:lnTo>
                  <a:pt x="183" y="304"/>
                </a:lnTo>
                <a:lnTo>
                  <a:pt x="173" y="293"/>
                </a:lnTo>
                <a:lnTo>
                  <a:pt x="160" y="258"/>
                </a:lnTo>
                <a:lnTo>
                  <a:pt x="144" y="247"/>
                </a:lnTo>
                <a:close/>
                <a:moveTo>
                  <a:pt x="123" y="300"/>
                </a:moveTo>
                <a:lnTo>
                  <a:pt x="139" y="312"/>
                </a:lnTo>
                <a:lnTo>
                  <a:pt x="127" y="310"/>
                </a:lnTo>
                <a:lnTo>
                  <a:pt x="123" y="300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382" name="Freeform 71"/>
          <p:cNvSpPr>
            <a:spLocks noChangeAspect="1" noEditPoints="1"/>
          </p:cNvSpPr>
          <p:nvPr/>
        </p:nvSpPr>
        <p:spPr bwMode="gray">
          <a:xfrm>
            <a:off x="7573963" y="3860800"/>
            <a:ext cx="334962" cy="207963"/>
          </a:xfrm>
          <a:custGeom>
            <a:avLst/>
            <a:gdLst>
              <a:gd name="T0" fmla="*/ 2147483647 w 690"/>
              <a:gd name="T1" fmla="*/ 2147483647 h 430"/>
              <a:gd name="T2" fmla="*/ 2147483647 w 690"/>
              <a:gd name="T3" fmla="*/ 2147483647 h 430"/>
              <a:gd name="T4" fmla="*/ 2147483647 w 690"/>
              <a:gd name="T5" fmla="*/ 2147483647 h 430"/>
              <a:gd name="T6" fmla="*/ 2147483647 w 690"/>
              <a:gd name="T7" fmla="*/ 2147483647 h 430"/>
              <a:gd name="T8" fmla="*/ 2147483647 w 690"/>
              <a:gd name="T9" fmla="*/ 2147483647 h 430"/>
              <a:gd name="T10" fmla="*/ 2147483647 w 690"/>
              <a:gd name="T11" fmla="*/ 2147483647 h 430"/>
              <a:gd name="T12" fmla="*/ 2147483647 w 690"/>
              <a:gd name="T13" fmla="*/ 2147483647 h 430"/>
              <a:gd name="T14" fmla="*/ 2147483647 w 690"/>
              <a:gd name="T15" fmla="*/ 2147483647 h 430"/>
              <a:gd name="T16" fmla="*/ 2147483647 w 690"/>
              <a:gd name="T17" fmla="*/ 2147483647 h 430"/>
              <a:gd name="T18" fmla="*/ 2147483647 w 690"/>
              <a:gd name="T19" fmla="*/ 2147483647 h 430"/>
              <a:gd name="T20" fmla="*/ 2147483647 w 690"/>
              <a:gd name="T21" fmla="*/ 2147483647 h 430"/>
              <a:gd name="T22" fmla="*/ 2147483647 w 690"/>
              <a:gd name="T23" fmla="*/ 2147483647 h 430"/>
              <a:gd name="T24" fmla="*/ 2147483647 w 690"/>
              <a:gd name="T25" fmla="*/ 2147483647 h 430"/>
              <a:gd name="T26" fmla="*/ 2147483647 w 690"/>
              <a:gd name="T27" fmla="*/ 2147483647 h 430"/>
              <a:gd name="T28" fmla="*/ 2147483647 w 690"/>
              <a:gd name="T29" fmla="*/ 2147483647 h 430"/>
              <a:gd name="T30" fmla="*/ 2147483647 w 690"/>
              <a:gd name="T31" fmla="*/ 2147483647 h 430"/>
              <a:gd name="T32" fmla="*/ 2147483647 w 690"/>
              <a:gd name="T33" fmla="*/ 2147483647 h 430"/>
              <a:gd name="T34" fmla="*/ 2147483647 w 690"/>
              <a:gd name="T35" fmla="*/ 2147483647 h 430"/>
              <a:gd name="T36" fmla="*/ 2147483647 w 690"/>
              <a:gd name="T37" fmla="*/ 2147483647 h 430"/>
              <a:gd name="T38" fmla="*/ 2147483647 w 690"/>
              <a:gd name="T39" fmla="*/ 2147483647 h 430"/>
              <a:gd name="T40" fmla="*/ 2147483647 w 690"/>
              <a:gd name="T41" fmla="*/ 2147483647 h 430"/>
              <a:gd name="T42" fmla="*/ 2147483647 w 690"/>
              <a:gd name="T43" fmla="*/ 2147483647 h 430"/>
              <a:gd name="T44" fmla="*/ 2147483647 w 690"/>
              <a:gd name="T45" fmla="*/ 2147483647 h 430"/>
              <a:gd name="T46" fmla="*/ 2147483647 w 690"/>
              <a:gd name="T47" fmla="*/ 2147483647 h 430"/>
              <a:gd name="T48" fmla="*/ 2147483647 w 690"/>
              <a:gd name="T49" fmla="*/ 2147483647 h 430"/>
              <a:gd name="T50" fmla="*/ 2147483647 w 690"/>
              <a:gd name="T51" fmla="*/ 2147483647 h 430"/>
              <a:gd name="T52" fmla="*/ 2147483647 w 690"/>
              <a:gd name="T53" fmla="*/ 2147483647 h 430"/>
              <a:gd name="T54" fmla="*/ 2147483647 w 690"/>
              <a:gd name="T55" fmla="*/ 2147483647 h 430"/>
              <a:gd name="T56" fmla="*/ 2147483647 w 690"/>
              <a:gd name="T57" fmla="*/ 2147483647 h 430"/>
              <a:gd name="T58" fmla="*/ 2147483647 w 690"/>
              <a:gd name="T59" fmla="*/ 2147483647 h 430"/>
              <a:gd name="T60" fmla="*/ 2147483647 w 690"/>
              <a:gd name="T61" fmla="*/ 2147483647 h 430"/>
              <a:gd name="T62" fmla="*/ 2147483647 w 690"/>
              <a:gd name="T63" fmla="*/ 2147483647 h 430"/>
              <a:gd name="T64" fmla="*/ 2147483647 w 690"/>
              <a:gd name="T65" fmla="*/ 2147483647 h 430"/>
              <a:gd name="T66" fmla="*/ 2147483647 w 690"/>
              <a:gd name="T67" fmla="*/ 2147483647 h 430"/>
              <a:gd name="T68" fmla="*/ 2147483647 w 690"/>
              <a:gd name="T69" fmla="*/ 2147483647 h 430"/>
              <a:gd name="T70" fmla="*/ 2147483647 w 690"/>
              <a:gd name="T71" fmla="*/ 2147483647 h 430"/>
              <a:gd name="T72" fmla="*/ 2147483647 w 690"/>
              <a:gd name="T73" fmla="*/ 2147483647 h 430"/>
              <a:gd name="T74" fmla="*/ 2147483647 w 690"/>
              <a:gd name="T75" fmla="*/ 2147483647 h 430"/>
              <a:gd name="T76" fmla="*/ 2147483647 w 690"/>
              <a:gd name="T77" fmla="*/ 2147483647 h 430"/>
              <a:gd name="T78" fmla="*/ 2147483647 w 690"/>
              <a:gd name="T79" fmla="*/ 2147483647 h 430"/>
              <a:gd name="T80" fmla="*/ 2147483647 w 690"/>
              <a:gd name="T81" fmla="*/ 2147483647 h 430"/>
              <a:gd name="T82" fmla="*/ 2147483647 w 690"/>
              <a:gd name="T83" fmla="*/ 2147483647 h 430"/>
              <a:gd name="T84" fmla="*/ 2147483647 w 690"/>
              <a:gd name="T85" fmla="*/ 2147483647 h 430"/>
              <a:gd name="T86" fmla="*/ 2147483647 w 690"/>
              <a:gd name="T87" fmla="*/ 2147483647 h 430"/>
              <a:gd name="T88" fmla="*/ 2147483647 w 690"/>
              <a:gd name="T89" fmla="*/ 2147483647 h 430"/>
              <a:gd name="T90" fmla="*/ 2147483647 w 690"/>
              <a:gd name="T91" fmla="*/ 2147483647 h 430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690"/>
              <a:gd name="T139" fmla="*/ 0 h 430"/>
              <a:gd name="T140" fmla="*/ 690 w 690"/>
              <a:gd name="T141" fmla="*/ 430 h 430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690" h="430">
                <a:moveTo>
                  <a:pt x="2" y="57"/>
                </a:moveTo>
                <a:lnTo>
                  <a:pt x="3" y="169"/>
                </a:lnTo>
                <a:lnTo>
                  <a:pt x="5" y="230"/>
                </a:lnTo>
                <a:lnTo>
                  <a:pt x="0" y="250"/>
                </a:lnTo>
                <a:lnTo>
                  <a:pt x="6" y="264"/>
                </a:lnTo>
                <a:lnTo>
                  <a:pt x="12" y="359"/>
                </a:lnTo>
                <a:lnTo>
                  <a:pt x="85" y="363"/>
                </a:lnTo>
                <a:lnTo>
                  <a:pt x="110" y="348"/>
                </a:lnTo>
                <a:lnTo>
                  <a:pt x="95" y="323"/>
                </a:lnTo>
                <a:lnTo>
                  <a:pt x="117" y="314"/>
                </a:lnTo>
                <a:lnTo>
                  <a:pt x="119" y="306"/>
                </a:lnTo>
                <a:lnTo>
                  <a:pt x="136" y="305"/>
                </a:lnTo>
                <a:lnTo>
                  <a:pt x="130" y="286"/>
                </a:lnTo>
                <a:lnTo>
                  <a:pt x="146" y="292"/>
                </a:lnTo>
                <a:lnTo>
                  <a:pt x="159" y="283"/>
                </a:lnTo>
                <a:lnTo>
                  <a:pt x="244" y="318"/>
                </a:lnTo>
                <a:lnTo>
                  <a:pt x="263" y="354"/>
                </a:lnTo>
                <a:lnTo>
                  <a:pt x="278" y="355"/>
                </a:lnTo>
                <a:lnTo>
                  <a:pt x="278" y="365"/>
                </a:lnTo>
                <a:lnTo>
                  <a:pt x="314" y="401"/>
                </a:lnTo>
                <a:lnTo>
                  <a:pt x="416" y="418"/>
                </a:lnTo>
                <a:lnTo>
                  <a:pt x="419" y="427"/>
                </a:lnTo>
                <a:lnTo>
                  <a:pt x="432" y="430"/>
                </a:lnTo>
                <a:lnTo>
                  <a:pt x="447" y="421"/>
                </a:lnTo>
                <a:lnTo>
                  <a:pt x="433" y="414"/>
                </a:lnTo>
                <a:lnTo>
                  <a:pt x="449" y="416"/>
                </a:lnTo>
                <a:lnTo>
                  <a:pt x="458" y="413"/>
                </a:lnTo>
                <a:lnTo>
                  <a:pt x="456" y="410"/>
                </a:lnTo>
                <a:lnTo>
                  <a:pt x="435" y="405"/>
                </a:lnTo>
                <a:lnTo>
                  <a:pt x="408" y="394"/>
                </a:lnTo>
                <a:lnTo>
                  <a:pt x="419" y="384"/>
                </a:lnTo>
                <a:lnTo>
                  <a:pt x="381" y="372"/>
                </a:lnTo>
                <a:lnTo>
                  <a:pt x="383" y="357"/>
                </a:lnTo>
                <a:lnTo>
                  <a:pt x="379" y="354"/>
                </a:lnTo>
                <a:lnTo>
                  <a:pt x="359" y="355"/>
                </a:lnTo>
                <a:lnTo>
                  <a:pt x="353" y="351"/>
                </a:lnTo>
                <a:lnTo>
                  <a:pt x="334" y="328"/>
                </a:lnTo>
                <a:lnTo>
                  <a:pt x="334" y="311"/>
                </a:lnTo>
                <a:lnTo>
                  <a:pt x="325" y="308"/>
                </a:lnTo>
                <a:lnTo>
                  <a:pt x="294" y="283"/>
                </a:lnTo>
                <a:lnTo>
                  <a:pt x="281" y="255"/>
                </a:lnTo>
                <a:lnTo>
                  <a:pt x="285" y="250"/>
                </a:lnTo>
                <a:lnTo>
                  <a:pt x="319" y="247"/>
                </a:lnTo>
                <a:lnTo>
                  <a:pt x="320" y="235"/>
                </a:lnTo>
                <a:lnTo>
                  <a:pt x="308" y="218"/>
                </a:lnTo>
                <a:lnTo>
                  <a:pt x="227" y="190"/>
                </a:lnTo>
                <a:lnTo>
                  <a:pt x="226" y="170"/>
                </a:lnTo>
                <a:lnTo>
                  <a:pt x="212" y="150"/>
                </a:lnTo>
                <a:lnTo>
                  <a:pt x="170" y="125"/>
                </a:lnTo>
                <a:lnTo>
                  <a:pt x="158" y="111"/>
                </a:lnTo>
                <a:lnTo>
                  <a:pt x="70" y="85"/>
                </a:lnTo>
                <a:lnTo>
                  <a:pt x="2" y="57"/>
                </a:lnTo>
                <a:close/>
                <a:moveTo>
                  <a:pt x="634" y="187"/>
                </a:moveTo>
                <a:lnTo>
                  <a:pt x="645" y="189"/>
                </a:lnTo>
                <a:lnTo>
                  <a:pt x="688" y="233"/>
                </a:lnTo>
                <a:lnTo>
                  <a:pt x="690" y="249"/>
                </a:lnTo>
                <a:lnTo>
                  <a:pt x="676" y="252"/>
                </a:lnTo>
                <a:lnTo>
                  <a:pt x="661" y="243"/>
                </a:lnTo>
                <a:lnTo>
                  <a:pt x="657" y="224"/>
                </a:lnTo>
                <a:lnTo>
                  <a:pt x="636" y="203"/>
                </a:lnTo>
                <a:lnTo>
                  <a:pt x="634" y="187"/>
                </a:lnTo>
                <a:close/>
                <a:moveTo>
                  <a:pt x="456" y="388"/>
                </a:moveTo>
                <a:lnTo>
                  <a:pt x="464" y="396"/>
                </a:lnTo>
                <a:lnTo>
                  <a:pt x="475" y="397"/>
                </a:lnTo>
                <a:lnTo>
                  <a:pt x="475" y="404"/>
                </a:lnTo>
                <a:lnTo>
                  <a:pt x="469" y="404"/>
                </a:lnTo>
                <a:lnTo>
                  <a:pt x="456" y="388"/>
                </a:lnTo>
                <a:close/>
                <a:moveTo>
                  <a:pt x="441" y="368"/>
                </a:moveTo>
                <a:lnTo>
                  <a:pt x="459" y="376"/>
                </a:lnTo>
                <a:lnTo>
                  <a:pt x="461" y="384"/>
                </a:lnTo>
                <a:lnTo>
                  <a:pt x="444" y="380"/>
                </a:lnTo>
                <a:lnTo>
                  <a:pt x="441" y="368"/>
                </a:lnTo>
                <a:close/>
                <a:moveTo>
                  <a:pt x="537" y="350"/>
                </a:moveTo>
                <a:lnTo>
                  <a:pt x="552" y="360"/>
                </a:lnTo>
                <a:lnTo>
                  <a:pt x="552" y="365"/>
                </a:lnTo>
                <a:lnTo>
                  <a:pt x="547" y="365"/>
                </a:lnTo>
                <a:lnTo>
                  <a:pt x="537" y="350"/>
                </a:lnTo>
                <a:close/>
                <a:moveTo>
                  <a:pt x="315" y="193"/>
                </a:moveTo>
                <a:lnTo>
                  <a:pt x="327" y="196"/>
                </a:lnTo>
                <a:lnTo>
                  <a:pt x="329" y="204"/>
                </a:lnTo>
                <a:lnTo>
                  <a:pt x="323" y="204"/>
                </a:lnTo>
                <a:lnTo>
                  <a:pt x="315" y="193"/>
                </a:lnTo>
                <a:close/>
                <a:moveTo>
                  <a:pt x="281" y="179"/>
                </a:moveTo>
                <a:lnTo>
                  <a:pt x="289" y="186"/>
                </a:lnTo>
                <a:lnTo>
                  <a:pt x="286" y="189"/>
                </a:lnTo>
                <a:lnTo>
                  <a:pt x="281" y="179"/>
                </a:lnTo>
                <a:close/>
                <a:moveTo>
                  <a:pt x="416" y="52"/>
                </a:moveTo>
                <a:lnTo>
                  <a:pt x="433" y="49"/>
                </a:lnTo>
                <a:lnTo>
                  <a:pt x="438" y="59"/>
                </a:lnTo>
                <a:lnTo>
                  <a:pt x="427" y="62"/>
                </a:lnTo>
                <a:lnTo>
                  <a:pt x="416" y="52"/>
                </a:lnTo>
                <a:close/>
                <a:moveTo>
                  <a:pt x="260" y="31"/>
                </a:moveTo>
                <a:lnTo>
                  <a:pt x="283" y="31"/>
                </a:lnTo>
                <a:lnTo>
                  <a:pt x="278" y="40"/>
                </a:lnTo>
                <a:lnTo>
                  <a:pt x="269" y="37"/>
                </a:lnTo>
                <a:lnTo>
                  <a:pt x="263" y="42"/>
                </a:lnTo>
                <a:lnTo>
                  <a:pt x="260" y="31"/>
                </a:lnTo>
                <a:close/>
                <a:moveTo>
                  <a:pt x="396" y="0"/>
                </a:moveTo>
                <a:lnTo>
                  <a:pt x="405" y="8"/>
                </a:lnTo>
                <a:lnTo>
                  <a:pt x="402" y="12"/>
                </a:lnTo>
                <a:lnTo>
                  <a:pt x="396" y="0"/>
                </a:lnTo>
                <a:close/>
                <a:moveTo>
                  <a:pt x="456" y="59"/>
                </a:moveTo>
                <a:lnTo>
                  <a:pt x="500" y="86"/>
                </a:lnTo>
                <a:lnTo>
                  <a:pt x="510" y="88"/>
                </a:lnTo>
                <a:lnTo>
                  <a:pt x="544" y="118"/>
                </a:lnTo>
                <a:lnTo>
                  <a:pt x="554" y="118"/>
                </a:lnTo>
                <a:lnTo>
                  <a:pt x="564" y="136"/>
                </a:lnTo>
                <a:lnTo>
                  <a:pt x="555" y="157"/>
                </a:lnTo>
                <a:lnTo>
                  <a:pt x="547" y="157"/>
                </a:lnTo>
                <a:lnTo>
                  <a:pt x="537" y="118"/>
                </a:lnTo>
                <a:lnTo>
                  <a:pt x="527" y="103"/>
                </a:lnTo>
                <a:lnTo>
                  <a:pt x="456" y="63"/>
                </a:lnTo>
                <a:lnTo>
                  <a:pt x="456" y="59"/>
                </a:lnTo>
                <a:close/>
                <a:moveTo>
                  <a:pt x="339" y="190"/>
                </a:moveTo>
                <a:lnTo>
                  <a:pt x="344" y="187"/>
                </a:lnTo>
                <a:lnTo>
                  <a:pt x="381" y="195"/>
                </a:lnTo>
                <a:lnTo>
                  <a:pt x="407" y="190"/>
                </a:lnTo>
                <a:lnTo>
                  <a:pt x="413" y="187"/>
                </a:lnTo>
                <a:lnTo>
                  <a:pt x="422" y="170"/>
                </a:lnTo>
                <a:lnTo>
                  <a:pt x="421" y="187"/>
                </a:lnTo>
                <a:lnTo>
                  <a:pt x="452" y="190"/>
                </a:lnTo>
                <a:lnTo>
                  <a:pt x="475" y="170"/>
                </a:lnTo>
                <a:lnTo>
                  <a:pt x="495" y="162"/>
                </a:lnTo>
                <a:lnTo>
                  <a:pt x="492" y="133"/>
                </a:lnTo>
                <a:lnTo>
                  <a:pt x="517" y="131"/>
                </a:lnTo>
                <a:lnTo>
                  <a:pt x="527" y="142"/>
                </a:lnTo>
                <a:lnTo>
                  <a:pt x="526" y="161"/>
                </a:lnTo>
                <a:lnTo>
                  <a:pt x="515" y="167"/>
                </a:lnTo>
                <a:lnTo>
                  <a:pt x="517" y="182"/>
                </a:lnTo>
                <a:lnTo>
                  <a:pt x="510" y="193"/>
                </a:lnTo>
                <a:lnTo>
                  <a:pt x="493" y="193"/>
                </a:lnTo>
                <a:lnTo>
                  <a:pt x="481" y="213"/>
                </a:lnTo>
                <a:lnTo>
                  <a:pt x="450" y="224"/>
                </a:lnTo>
                <a:lnTo>
                  <a:pt x="405" y="229"/>
                </a:lnTo>
                <a:lnTo>
                  <a:pt x="395" y="220"/>
                </a:lnTo>
                <a:lnTo>
                  <a:pt x="379" y="223"/>
                </a:lnTo>
                <a:lnTo>
                  <a:pt x="351" y="207"/>
                </a:lnTo>
                <a:lnTo>
                  <a:pt x="339" y="190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383" name="Freeform 72"/>
          <p:cNvSpPr>
            <a:spLocks noChangeAspect="1" noEditPoints="1"/>
          </p:cNvSpPr>
          <p:nvPr/>
        </p:nvSpPr>
        <p:spPr bwMode="gray">
          <a:xfrm>
            <a:off x="7921625" y="3976688"/>
            <a:ext cx="214313" cy="120650"/>
          </a:xfrm>
          <a:custGeom>
            <a:avLst/>
            <a:gdLst>
              <a:gd name="T0" fmla="*/ 2147483647 w 439"/>
              <a:gd name="T1" fmla="*/ 2147483647 h 246"/>
              <a:gd name="T2" fmla="*/ 2147483647 w 439"/>
              <a:gd name="T3" fmla="*/ 2147483647 h 246"/>
              <a:gd name="T4" fmla="*/ 2147483647 w 439"/>
              <a:gd name="T5" fmla="*/ 2147483647 h 246"/>
              <a:gd name="T6" fmla="*/ 2147483647 w 439"/>
              <a:gd name="T7" fmla="*/ 2147483647 h 246"/>
              <a:gd name="T8" fmla="*/ 2147483647 w 439"/>
              <a:gd name="T9" fmla="*/ 2147483647 h 246"/>
              <a:gd name="T10" fmla="*/ 2147483647 w 439"/>
              <a:gd name="T11" fmla="*/ 2147483647 h 246"/>
              <a:gd name="T12" fmla="*/ 2147483647 w 439"/>
              <a:gd name="T13" fmla="*/ 2147483647 h 246"/>
              <a:gd name="T14" fmla="*/ 2147483647 w 439"/>
              <a:gd name="T15" fmla="*/ 2147483647 h 246"/>
              <a:gd name="T16" fmla="*/ 2147483647 w 439"/>
              <a:gd name="T17" fmla="*/ 2147483647 h 246"/>
              <a:gd name="T18" fmla="*/ 2147483647 w 439"/>
              <a:gd name="T19" fmla="*/ 2147483647 h 246"/>
              <a:gd name="T20" fmla="*/ 2147483647 w 439"/>
              <a:gd name="T21" fmla="*/ 2147483647 h 246"/>
              <a:gd name="T22" fmla="*/ 2147483647 w 439"/>
              <a:gd name="T23" fmla="*/ 2147483647 h 246"/>
              <a:gd name="T24" fmla="*/ 2147483647 w 439"/>
              <a:gd name="T25" fmla="*/ 2147483647 h 246"/>
              <a:gd name="T26" fmla="*/ 2147483647 w 439"/>
              <a:gd name="T27" fmla="*/ 2147483647 h 246"/>
              <a:gd name="T28" fmla="*/ 2147483647 w 439"/>
              <a:gd name="T29" fmla="*/ 2147483647 h 246"/>
              <a:gd name="T30" fmla="*/ 2147483647 w 439"/>
              <a:gd name="T31" fmla="*/ 2147483647 h 246"/>
              <a:gd name="T32" fmla="*/ 2147483647 w 439"/>
              <a:gd name="T33" fmla="*/ 2147483647 h 246"/>
              <a:gd name="T34" fmla="*/ 2147483647 w 439"/>
              <a:gd name="T35" fmla="*/ 2147483647 h 246"/>
              <a:gd name="T36" fmla="*/ 2147483647 w 439"/>
              <a:gd name="T37" fmla="*/ 2147483647 h 246"/>
              <a:gd name="T38" fmla="*/ 2147483647 w 439"/>
              <a:gd name="T39" fmla="*/ 2147483647 h 246"/>
              <a:gd name="T40" fmla="*/ 2147483647 w 439"/>
              <a:gd name="T41" fmla="*/ 2147483647 h 246"/>
              <a:gd name="T42" fmla="*/ 2147483647 w 439"/>
              <a:gd name="T43" fmla="*/ 2147483647 h 246"/>
              <a:gd name="T44" fmla="*/ 2147483647 w 439"/>
              <a:gd name="T45" fmla="*/ 2147483647 h 246"/>
              <a:gd name="T46" fmla="*/ 2147483647 w 439"/>
              <a:gd name="T47" fmla="*/ 2147483647 h 246"/>
              <a:gd name="T48" fmla="*/ 2147483647 w 439"/>
              <a:gd name="T49" fmla="*/ 2147483647 h 246"/>
              <a:gd name="T50" fmla="*/ 2147483647 w 439"/>
              <a:gd name="T51" fmla="*/ 2147483647 h 246"/>
              <a:gd name="T52" fmla="*/ 2147483647 w 439"/>
              <a:gd name="T53" fmla="*/ 2147483647 h 246"/>
              <a:gd name="T54" fmla="*/ 2147483647 w 439"/>
              <a:gd name="T55" fmla="*/ 2147483647 h 246"/>
              <a:gd name="T56" fmla="*/ 2147483647 w 439"/>
              <a:gd name="T57" fmla="*/ 2147483647 h 246"/>
              <a:gd name="T58" fmla="*/ 2147483647 w 439"/>
              <a:gd name="T59" fmla="*/ 2147483647 h 246"/>
              <a:gd name="T60" fmla="*/ 2147483647 w 439"/>
              <a:gd name="T61" fmla="*/ 2147483647 h 246"/>
              <a:gd name="T62" fmla="*/ 2147483647 w 439"/>
              <a:gd name="T63" fmla="*/ 2147483647 h 246"/>
              <a:gd name="T64" fmla="*/ 2147483647 w 439"/>
              <a:gd name="T65" fmla="*/ 2147483647 h 246"/>
              <a:gd name="T66" fmla="*/ 0 w 439"/>
              <a:gd name="T67" fmla="*/ 0 h 246"/>
              <a:gd name="T68" fmla="*/ 2147483647 w 439"/>
              <a:gd name="T69" fmla="*/ 2147483647 h 246"/>
              <a:gd name="T70" fmla="*/ 0 w 439"/>
              <a:gd name="T71" fmla="*/ 0 h 24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439"/>
              <a:gd name="T109" fmla="*/ 0 h 246"/>
              <a:gd name="T110" fmla="*/ 439 w 439"/>
              <a:gd name="T111" fmla="*/ 246 h 24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439" h="246">
                <a:moveTo>
                  <a:pt x="156" y="243"/>
                </a:moveTo>
                <a:lnTo>
                  <a:pt x="154" y="240"/>
                </a:lnTo>
                <a:lnTo>
                  <a:pt x="161" y="237"/>
                </a:lnTo>
                <a:lnTo>
                  <a:pt x="173" y="246"/>
                </a:lnTo>
                <a:lnTo>
                  <a:pt x="156" y="243"/>
                </a:lnTo>
                <a:close/>
                <a:moveTo>
                  <a:pt x="422" y="195"/>
                </a:moveTo>
                <a:lnTo>
                  <a:pt x="427" y="189"/>
                </a:lnTo>
                <a:lnTo>
                  <a:pt x="437" y="190"/>
                </a:lnTo>
                <a:lnTo>
                  <a:pt x="439" y="194"/>
                </a:lnTo>
                <a:lnTo>
                  <a:pt x="427" y="198"/>
                </a:lnTo>
                <a:lnTo>
                  <a:pt x="422" y="195"/>
                </a:lnTo>
                <a:close/>
                <a:moveTo>
                  <a:pt x="227" y="167"/>
                </a:moveTo>
                <a:lnTo>
                  <a:pt x="258" y="178"/>
                </a:lnTo>
                <a:lnTo>
                  <a:pt x="269" y="194"/>
                </a:lnTo>
                <a:lnTo>
                  <a:pt x="266" y="197"/>
                </a:lnTo>
                <a:lnTo>
                  <a:pt x="247" y="190"/>
                </a:lnTo>
                <a:lnTo>
                  <a:pt x="227" y="167"/>
                </a:lnTo>
                <a:close/>
                <a:moveTo>
                  <a:pt x="142" y="124"/>
                </a:moveTo>
                <a:lnTo>
                  <a:pt x="178" y="127"/>
                </a:lnTo>
                <a:lnTo>
                  <a:pt x="201" y="143"/>
                </a:lnTo>
                <a:lnTo>
                  <a:pt x="201" y="150"/>
                </a:lnTo>
                <a:lnTo>
                  <a:pt x="196" y="153"/>
                </a:lnTo>
                <a:lnTo>
                  <a:pt x="161" y="150"/>
                </a:lnTo>
                <a:lnTo>
                  <a:pt x="142" y="135"/>
                </a:lnTo>
                <a:lnTo>
                  <a:pt x="142" y="124"/>
                </a:lnTo>
                <a:close/>
                <a:moveTo>
                  <a:pt x="170" y="110"/>
                </a:moveTo>
                <a:lnTo>
                  <a:pt x="178" y="109"/>
                </a:lnTo>
                <a:lnTo>
                  <a:pt x="181" y="118"/>
                </a:lnTo>
                <a:lnTo>
                  <a:pt x="170" y="110"/>
                </a:lnTo>
                <a:close/>
                <a:moveTo>
                  <a:pt x="195" y="84"/>
                </a:moveTo>
                <a:lnTo>
                  <a:pt x="196" y="80"/>
                </a:lnTo>
                <a:lnTo>
                  <a:pt x="201" y="84"/>
                </a:lnTo>
                <a:lnTo>
                  <a:pt x="208" y="101"/>
                </a:lnTo>
                <a:lnTo>
                  <a:pt x="222" y="118"/>
                </a:lnTo>
                <a:lnTo>
                  <a:pt x="222" y="124"/>
                </a:lnTo>
                <a:lnTo>
                  <a:pt x="230" y="126"/>
                </a:lnTo>
                <a:lnTo>
                  <a:pt x="233" y="139"/>
                </a:lnTo>
                <a:lnTo>
                  <a:pt x="210" y="121"/>
                </a:lnTo>
                <a:lnTo>
                  <a:pt x="195" y="84"/>
                </a:lnTo>
                <a:close/>
                <a:moveTo>
                  <a:pt x="94" y="43"/>
                </a:moveTo>
                <a:lnTo>
                  <a:pt x="148" y="72"/>
                </a:lnTo>
                <a:lnTo>
                  <a:pt x="154" y="85"/>
                </a:lnTo>
                <a:lnTo>
                  <a:pt x="108" y="59"/>
                </a:lnTo>
                <a:lnTo>
                  <a:pt x="94" y="43"/>
                </a:lnTo>
                <a:close/>
                <a:moveTo>
                  <a:pt x="68" y="93"/>
                </a:moveTo>
                <a:lnTo>
                  <a:pt x="72" y="88"/>
                </a:lnTo>
                <a:lnTo>
                  <a:pt x="72" y="93"/>
                </a:lnTo>
                <a:lnTo>
                  <a:pt x="68" y="93"/>
                </a:lnTo>
                <a:close/>
                <a:moveTo>
                  <a:pt x="37" y="90"/>
                </a:moveTo>
                <a:lnTo>
                  <a:pt x="40" y="84"/>
                </a:lnTo>
                <a:lnTo>
                  <a:pt x="40" y="93"/>
                </a:lnTo>
                <a:lnTo>
                  <a:pt x="37" y="90"/>
                </a:lnTo>
                <a:close/>
                <a:moveTo>
                  <a:pt x="35" y="73"/>
                </a:moveTo>
                <a:lnTo>
                  <a:pt x="37" y="65"/>
                </a:lnTo>
                <a:lnTo>
                  <a:pt x="47" y="64"/>
                </a:lnTo>
                <a:lnTo>
                  <a:pt x="59" y="77"/>
                </a:lnTo>
                <a:lnTo>
                  <a:pt x="63" y="87"/>
                </a:lnTo>
                <a:lnTo>
                  <a:pt x="35" y="73"/>
                </a:lnTo>
                <a:close/>
                <a:moveTo>
                  <a:pt x="29" y="59"/>
                </a:moveTo>
                <a:lnTo>
                  <a:pt x="30" y="67"/>
                </a:lnTo>
                <a:lnTo>
                  <a:pt x="27" y="68"/>
                </a:lnTo>
                <a:lnTo>
                  <a:pt x="23" y="55"/>
                </a:lnTo>
                <a:lnTo>
                  <a:pt x="29" y="59"/>
                </a:lnTo>
                <a:close/>
                <a:moveTo>
                  <a:pt x="3" y="42"/>
                </a:moveTo>
                <a:lnTo>
                  <a:pt x="13" y="51"/>
                </a:lnTo>
                <a:lnTo>
                  <a:pt x="10" y="60"/>
                </a:lnTo>
                <a:lnTo>
                  <a:pt x="3" y="42"/>
                </a:lnTo>
                <a:close/>
                <a:moveTo>
                  <a:pt x="0" y="0"/>
                </a:moveTo>
                <a:lnTo>
                  <a:pt x="21" y="9"/>
                </a:lnTo>
                <a:lnTo>
                  <a:pt x="47" y="31"/>
                </a:lnTo>
                <a:lnTo>
                  <a:pt x="20" y="25"/>
                </a:lnTo>
                <a:lnTo>
                  <a:pt x="0" y="0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384" name="Freeform 73"/>
          <p:cNvSpPr>
            <a:spLocks noChangeAspect="1" noEditPoints="1"/>
          </p:cNvSpPr>
          <p:nvPr/>
        </p:nvSpPr>
        <p:spPr bwMode="gray">
          <a:xfrm>
            <a:off x="8143875" y="4160838"/>
            <a:ext cx="61913" cy="115887"/>
          </a:xfrm>
          <a:custGeom>
            <a:avLst/>
            <a:gdLst>
              <a:gd name="T0" fmla="*/ 0 w 128"/>
              <a:gd name="T1" fmla="*/ 0 h 234"/>
              <a:gd name="T2" fmla="*/ 2147483647 w 128"/>
              <a:gd name="T3" fmla="*/ 2147483647 h 234"/>
              <a:gd name="T4" fmla="*/ 2147483647 w 128"/>
              <a:gd name="T5" fmla="*/ 2147483647 h 234"/>
              <a:gd name="T6" fmla="*/ 2147483647 w 128"/>
              <a:gd name="T7" fmla="*/ 2147483647 h 234"/>
              <a:gd name="T8" fmla="*/ 2147483647 w 128"/>
              <a:gd name="T9" fmla="*/ 2147483647 h 234"/>
              <a:gd name="T10" fmla="*/ 0 w 128"/>
              <a:gd name="T11" fmla="*/ 0 h 234"/>
              <a:gd name="T12" fmla="*/ 2147483647 w 128"/>
              <a:gd name="T13" fmla="*/ 2147483647 h 234"/>
              <a:gd name="T14" fmla="*/ 2147483647 w 128"/>
              <a:gd name="T15" fmla="*/ 2147483647 h 234"/>
              <a:gd name="T16" fmla="*/ 2147483647 w 128"/>
              <a:gd name="T17" fmla="*/ 2147483647 h 234"/>
              <a:gd name="T18" fmla="*/ 2147483647 w 128"/>
              <a:gd name="T19" fmla="*/ 2147483647 h 234"/>
              <a:gd name="T20" fmla="*/ 2147483647 w 128"/>
              <a:gd name="T21" fmla="*/ 2147483647 h 234"/>
              <a:gd name="T22" fmla="*/ 2147483647 w 128"/>
              <a:gd name="T23" fmla="*/ 2147483647 h 234"/>
              <a:gd name="T24" fmla="*/ 2147483647 w 128"/>
              <a:gd name="T25" fmla="*/ 2147483647 h 234"/>
              <a:gd name="T26" fmla="*/ 2147483647 w 128"/>
              <a:gd name="T27" fmla="*/ 2147483647 h 234"/>
              <a:gd name="T28" fmla="*/ 2147483647 w 128"/>
              <a:gd name="T29" fmla="*/ 2147483647 h 234"/>
              <a:gd name="T30" fmla="*/ 2147483647 w 128"/>
              <a:gd name="T31" fmla="*/ 2147483647 h 234"/>
              <a:gd name="T32" fmla="*/ 2147483647 w 128"/>
              <a:gd name="T33" fmla="*/ 2147483647 h 234"/>
              <a:gd name="T34" fmla="*/ 2147483647 w 128"/>
              <a:gd name="T35" fmla="*/ 2147483647 h 234"/>
              <a:gd name="T36" fmla="*/ 2147483647 w 128"/>
              <a:gd name="T37" fmla="*/ 2147483647 h 234"/>
              <a:gd name="T38" fmla="*/ 2147483647 w 128"/>
              <a:gd name="T39" fmla="*/ 2147483647 h 234"/>
              <a:gd name="T40" fmla="*/ 2147483647 w 128"/>
              <a:gd name="T41" fmla="*/ 2147483647 h 234"/>
              <a:gd name="T42" fmla="*/ 2147483647 w 128"/>
              <a:gd name="T43" fmla="*/ 2147483647 h 234"/>
              <a:gd name="T44" fmla="*/ 2147483647 w 128"/>
              <a:gd name="T45" fmla="*/ 2147483647 h 234"/>
              <a:gd name="T46" fmla="*/ 2147483647 w 128"/>
              <a:gd name="T47" fmla="*/ 2147483647 h 234"/>
              <a:gd name="T48" fmla="*/ 2147483647 w 128"/>
              <a:gd name="T49" fmla="*/ 2147483647 h 234"/>
              <a:gd name="T50" fmla="*/ 2147483647 w 128"/>
              <a:gd name="T51" fmla="*/ 2147483647 h 234"/>
              <a:gd name="T52" fmla="*/ 2147483647 w 128"/>
              <a:gd name="T53" fmla="*/ 2147483647 h 234"/>
              <a:gd name="T54" fmla="*/ 2147483647 w 128"/>
              <a:gd name="T55" fmla="*/ 2147483647 h 234"/>
              <a:gd name="T56" fmla="*/ 2147483647 w 128"/>
              <a:gd name="T57" fmla="*/ 2147483647 h 234"/>
              <a:gd name="T58" fmla="*/ 2147483647 w 128"/>
              <a:gd name="T59" fmla="*/ 2147483647 h 234"/>
              <a:gd name="T60" fmla="*/ 2147483647 w 128"/>
              <a:gd name="T61" fmla="*/ 2147483647 h 234"/>
              <a:gd name="T62" fmla="*/ 2147483647 w 128"/>
              <a:gd name="T63" fmla="*/ 2147483647 h 234"/>
              <a:gd name="T64" fmla="*/ 2147483647 w 128"/>
              <a:gd name="T65" fmla="*/ 2147483647 h 234"/>
              <a:gd name="T66" fmla="*/ 2147483647 w 128"/>
              <a:gd name="T67" fmla="*/ 2147483647 h 234"/>
              <a:gd name="T68" fmla="*/ 2147483647 w 128"/>
              <a:gd name="T69" fmla="*/ 2147483647 h 234"/>
              <a:gd name="T70" fmla="*/ 2147483647 w 128"/>
              <a:gd name="T71" fmla="*/ 2147483647 h 234"/>
              <a:gd name="T72" fmla="*/ 2147483647 w 128"/>
              <a:gd name="T73" fmla="*/ 2147483647 h 234"/>
              <a:gd name="T74" fmla="*/ 2147483647 w 128"/>
              <a:gd name="T75" fmla="*/ 2147483647 h 234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128"/>
              <a:gd name="T115" fmla="*/ 0 h 234"/>
              <a:gd name="T116" fmla="*/ 128 w 128"/>
              <a:gd name="T117" fmla="*/ 234 h 234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128" h="234">
                <a:moveTo>
                  <a:pt x="0" y="0"/>
                </a:moveTo>
                <a:lnTo>
                  <a:pt x="8" y="22"/>
                </a:lnTo>
                <a:lnTo>
                  <a:pt x="22" y="14"/>
                </a:lnTo>
                <a:lnTo>
                  <a:pt x="25" y="38"/>
                </a:lnTo>
                <a:lnTo>
                  <a:pt x="9" y="42"/>
                </a:lnTo>
                <a:lnTo>
                  <a:pt x="0" y="0"/>
                </a:lnTo>
                <a:close/>
                <a:moveTo>
                  <a:pt x="121" y="223"/>
                </a:moveTo>
                <a:lnTo>
                  <a:pt x="128" y="228"/>
                </a:lnTo>
                <a:lnTo>
                  <a:pt x="127" y="234"/>
                </a:lnTo>
                <a:lnTo>
                  <a:pt x="119" y="228"/>
                </a:lnTo>
                <a:lnTo>
                  <a:pt x="121" y="223"/>
                </a:lnTo>
                <a:close/>
                <a:moveTo>
                  <a:pt x="110" y="187"/>
                </a:moveTo>
                <a:lnTo>
                  <a:pt x="114" y="187"/>
                </a:lnTo>
                <a:lnTo>
                  <a:pt x="118" y="203"/>
                </a:lnTo>
                <a:lnTo>
                  <a:pt x="111" y="197"/>
                </a:lnTo>
                <a:lnTo>
                  <a:pt x="110" y="187"/>
                </a:lnTo>
                <a:lnTo>
                  <a:pt x="111" y="197"/>
                </a:lnTo>
                <a:lnTo>
                  <a:pt x="110" y="187"/>
                </a:lnTo>
                <a:close/>
                <a:moveTo>
                  <a:pt x="84" y="135"/>
                </a:moveTo>
                <a:lnTo>
                  <a:pt x="90" y="144"/>
                </a:lnTo>
                <a:lnTo>
                  <a:pt x="77" y="146"/>
                </a:lnTo>
                <a:lnTo>
                  <a:pt x="76" y="140"/>
                </a:lnTo>
                <a:lnTo>
                  <a:pt x="84" y="135"/>
                </a:lnTo>
                <a:close/>
                <a:moveTo>
                  <a:pt x="71" y="65"/>
                </a:moveTo>
                <a:lnTo>
                  <a:pt x="77" y="77"/>
                </a:lnTo>
                <a:lnTo>
                  <a:pt x="68" y="77"/>
                </a:lnTo>
                <a:lnTo>
                  <a:pt x="62" y="72"/>
                </a:lnTo>
                <a:lnTo>
                  <a:pt x="71" y="65"/>
                </a:lnTo>
                <a:close/>
                <a:moveTo>
                  <a:pt x="73" y="36"/>
                </a:moveTo>
                <a:lnTo>
                  <a:pt x="76" y="56"/>
                </a:lnTo>
                <a:lnTo>
                  <a:pt x="73" y="36"/>
                </a:lnTo>
                <a:close/>
                <a:moveTo>
                  <a:pt x="26" y="55"/>
                </a:moveTo>
                <a:lnTo>
                  <a:pt x="50" y="76"/>
                </a:lnTo>
                <a:lnTo>
                  <a:pt x="52" y="84"/>
                </a:lnTo>
                <a:lnTo>
                  <a:pt x="39" y="84"/>
                </a:lnTo>
                <a:lnTo>
                  <a:pt x="35" y="64"/>
                </a:lnTo>
                <a:lnTo>
                  <a:pt x="28" y="62"/>
                </a:lnTo>
                <a:lnTo>
                  <a:pt x="26" y="55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385" name="Freeform 74"/>
          <p:cNvSpPr>
            <a:spLocks noChangeAspect="1" noEditPoints="1"/>
          </p:cNvSpPr>
          <p:nvPr/>
        </p:nvSpPr>
        <p:spPr bwMode="gray">
          <a:xfrm>
            <a:off x="8088313" y="4289425"/>
            <a:ext cx="88900" cy="55563"/>
          </a:xfrm>
          <a:custGeom>
            <a:avLst/>
            <a:gdLst>
              <a:gd name="T0" fmla="*/ 2147483647 w 185"/>
              <a:gd name="T1" fmla="*/ 2147483647 h 110"/>
              <a:gd name="T2" fmla="*/ 2147483647 w 185"/>
              <a:gd name="T3" fmla="*/ 2147483647 h 110"/>
              <a:gd name="T4" fmla="*/ 2147483647 w 185"/>
              <a:gd name="T5" fmla="*/ 2147483647 h 110"/>
              <a:gd name="T6" fmla="*/ 0 w 185"/>
              <a:gd name="T7" fmla="*/ 0 h 110"/>
              <a:gd name="T8" fmla="*/ 2147483647 w 185"/>
              <a:gd name="T9" fmla="*/ 2147483647 h 110"/>
              <a:gd name="T10" fmla="*/ 2147483647 w 185"/>
              <a:gd name="T11" fmla="*/ 2147483647 h 110"/>
              <a:gd name="T12" fmla="*/ 2147483647 w 185"/>
              <a:gd name="T13" fmla="*/ 2147483647 h 110"/>
              <a:gd name="T14" fmla="*/ 2147483647 w 185"/>
              <a:gd name="T15" fmla="*/ 2147483647 h 110"/>
              <a:gd name="T16" fmla="*/ 2147483647 w 185"/>
              <a:gd name="T17" fmla="*/ 2147483647 h 110"/>
              <a:gd name="T18" fmla="*/ 2147483647 w 185"/>
              <a:gd name="T19" fmla="*/ 2147483647 h 110"/>
              <a:gd name="T20" fmla="*/ 2147483647 w 185"/>
              <a:gd name="T21" fmla="*/ 2147483647 h 110"/>
              <a:gd name="T22" fmla="*/ 2147483647 w 185"/>
              <a:gd name="T23" fmla="*/ 2147483647 h 110"/>
              <a:gd name="T24" fmla="*/ 2147483647 w 185"/>
              <a:gd name="T25" fmla="*/ 2147483647 h 110"/>
              <a:gd name="T26" fmla="*/ 2147483647 w 185"/>
              <a:gd name="T27" fmla="*/ 2147483647 h 110"/>
              <a:gd name="T28" fmla="*/ 2147483647 w 185"/>
              <a:gd name="T29" fmla="*/ 2147483647 h 110"/>
              <a:gd name="T30" fmla="*/ 2147483647 w 185"/>
              <a:gd name="T31" fmla="*/ 2147483647 h 110"/>
              <a:gd name="T32" fmla="*/ 2147483647 w 185"/>
              <a:gd name="T33" fmla="*/ 2147483647 h 110"/>
              <a:gd name="T34" fmla="*/ 2147483647 w 185"/>
              <a:gd name="T35" fmla="*/ 2147483647 h 110"/>
              <a:gd name="T36" fmla="*/ 2147483647 w 185"/>
              <a:gd name="T37" fmla="*/ 2147483647 h 110"/>
              <a:gd name="T38" fmla="*/ 2147483647 w 185"/>
              <a:gd name="T39" fmla="*/ 2147483647 h 110"/>
              <a:gd name="T40" fmla="*/ 2147483647 w 185"/>
              <a:gd name="T41" fmla="*/ 2147483647 h 110"/>
              <a:gd name="T42" fmla="*/ 2147483647 w 185"/>
              <a:gd name="T43" fmla="*/ 2147483647 h 110"/>
              <a:gd name="T44" fmla="*/ 2147483647 w 185"/>
              <a:gd name="T45" fmla="*/ 2147483647 h 110"/>
              <a:gd name="T46" fmla="*/ 2147483647 w 185"/>
              <a:gd name="T47" fmla="*/ 2147483647 h 110"/>
              <a:gd name="T48" fmla="*/ 2147483647 w 185"/>
              <a:gd name="T49" fmla="*/ 2147483647 h 110"/>
              <a:gd name="T50" fmla="*/ 2147483647 w 185"/>
              <a:gd name="T51" fmla="*/ 2147483647 h 110"/>
              <a:gd name="T52" fmla="*/ 2147483647 w 185"/>
              <a:gd name="T53" fmla="*/ 2147483647 h 110"/>
              <a:gd name="T54" fmla="*/ 2147483647 w 185"/>
              <a:gd name="T55" fmla="*/ 2147483647 h 110"/>
              <a:gd name="T56" fmla="*/ 2147483647 w 185"/>
              <a:gd name="T57" fmla="*/ 2147483647 h 110"/>
              <a:gd name="T58" fmla="*/ 2147483647 w 185"/>
              <a:gd name="T59" fmla="*/ 2147483647 h 110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185"/>
              <a:gd name="T91" fmla="*/ 0 h 110"/>
              <a:gd name="T92" fmla="*/ 185 w 185"/>
              <a:gd name="T93" fmla="*/ 110 h 110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185" h="110">
                <a:moveTo>
                  <a:pt x="51" y="57"/>
                </a:moveTo>
                <a:lnTo>
                  <a:pt x="33" y="49"/>
                </a:lnTo>
                <a:lnTo>
                  <a:pt x="5" y="14"/>
                </a:lnTo>
                <a:lnTo>
                  <a:pt x="0" y="0"/>
                </a:lnTo>
                <a:lnTo>
                  <a:pt x="17" y="1"/>
                </a:lnTo>
                <a:lnTo>
                  <a:pt x="34" y="12"/>
                </a:lnTo>
                <a:lnTo>
                  <a:pt x="38" y="20"/>
                </a:lnTo>
                <a:lnTo>
                  <a:pt x="50" y="23"/>
                </a:lnTo>
                <a:lnTo>
                  <a:pt x="64" y="48"/>
                </a:lnTo>
                <a:lnTo>
                  <a:pt x="85" y="68"/>
                </a:lnTo>
                <a:lnTo>
                  <a:pt x="104" y="71"/>
                </a:lnTo>
                <a:lnTo>
                  <a:pt x="121" y="90"/>
                </a:lnTo>
                <a:lnTo>
                  <a:pt x="132" y="94"/>
                </a:lnTo>
                <a:lnTo>
                  <a:pt x="135" y="102"/>
                </a:lnTo>
                <a:lnTo>
                  <a:pt x="127" y="110"/>
                </a:lnTo>
                <a:lnTo>
                  <a:pt x="118" y="99"/>
                </a:lnTo>
                <a:lnTo>
                  <a:pt x="99" y="94"/>
                </a:lnTo>
                <a:lnTo>
                  <a:pt x="95" y="86"/>
                </a:lnTo>
                <a:lnTo>
                  <a:pt x="56" y="68"/>
                </a:lnTo>
                <a:lnTo>
                  <a:pt x="51" y="57"/>
                </a:lnTo>
                <a:close/>
                <a:moveTo>
                  <a:pt x="175" y="59"/>
                </a:moveTo>
                <a:lnTo>
                  <a:pt x="185" y="59"/>
                </a:lnTo>
                <a:lnTo>
                  <a:pt x="185" y="69"/>
                </a:lnTo>
                <a:lnTo>
                  <a:pt x="180" y="68"/>
                </a:lnTo>
                <a:lnTo>
                  <a:pt x="175" y="59"/>
                </a:lnTo>
                <a:close/>
                <a:moveTo>
                  <a:pt x="143" y="27"/>
                </a:moveTo>
                <a:lnTo>
                  <a:pt x="149" y="29"/>
                </a:lnTo>
                <a:lnTo>
                  <a:pt x="155" y="46"/>
                </a:lnTo>
                <a:lnTo>
                  <a:pt x="143" y="40"/>
                </a:lnTo>
                <a:lnTo>
                  <a:pt x="143" y="27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386" name="Freeform 75"/>
          <p:cNvSpPr>
            <a:spLocks noChangeAspect="1" noEditPoints="1"/>
          </p:cNvSpPr>
          <p:nvPr/>
        </p:nvSpPr>
        <p:spPr bwMode="gray">
          <a:xfrm>
            <a:off x="8383588" y="4194175"/>
            <a:ext cx="60325" cy="49213"/>
          </a:xfrm>
          <a:custGeom>
            <a:avLst/>
            <a:gdLst>
              <a:gd name="T0" fmla="*/ 2147483647 w 124"/>
              <a:gd name="T1" fmla="*/ 2147483647 h 101"/>
              <a:gd name="T2" fmla="*/ 2147483647 w 124"/>
              <a:gd name="T3" fmla="*/ 2147483647 h 101"/>
              <a:gd name="T4" fmla="*/ 2147483647 w 124"/>
              <a:gd name="T5" fmla="*/ 2147483647 h 101"/>
              <a:gd name="T6" fmla="*/ 2147483647 w 124"/>
              <a:gd name="T7" fmla="*/ 2147483647 h 101"/>
              <a:gd name="T8" fmla="*/ 2147483647 w 124"/>
              <a:gd name="T9" fmla="*/ 2147483647 h 101"/>
              <a:gd name="T10" fmla="*/ 0 w 124"/>
              <a:gd name="T11" fmla="*/ 2147483647 h 101"/>
              <a:gd name="T12" fmla="*/ 2147483647 w 124"/>
              <a:gd name="T13" fmla="*/ 2147483647 h 101"/>
              <a:gd name="T14" fmla="*/ 2147483647 w 124"/>
              <a:gd name="T15" fmla="*/ 2147483647 h 101"/>
              <a:gd name="T16" fmla="*/ 2147483647 w 124"/>
              <a:gd name="T17" fmla="*/ 2147483647 h 101"/>
              <a:gd name="T18" fmla="*/ 2147483647 w 124"/>
              <a:gd name="T19" fmla="*/ 2147483647 h 101"/>
              <a:gd name="T20" fmla="*/ 2147483647 w 124"/>
              <a:gd name="T21" fmla="*/ 2147483647 h 101"/>
              <a:gd name="T22" fmla="*/ 2147483647 w 124"/>
              <a:gd name="T23" fmla="*/ 2147483647 h 101"/>
              <a:gd name="T24" fmla="*/ 2147483647 w 124"/>
              <a:gd name="T25" fmla="*/ 0 h 101"/>
              <a:gd name="T26" fmla="*/ 2147483647 w 124"/>
              <a:gd name="T27" fmla="*/ 2147483647 h 101"/>
              <a:gd name="T28" fmla="*/ 2147483647 w 124"/>
              <a:gd name="T29" fmla="*/ 2147483647 h 101"/>
              <a:gd name="T30" fmla="*/ 2147483647 w 124"/>
              <a:gd name="T31" fmla="*/ 2147483647 h 101"/>
              <a:gd name="T32" fmla="*/ 2147483647 w 124"/>
              <a:gd name="T33" fmla="*/ 2147483647 h 101"/>
              <a:gd name="T34" fmla="*/ 2147483647 w 124"/>
              <a:gd name="T35" fmla="*/ 2147483647 h 101"/>
              <a:gd name="T36" fmla="*/ 2147483647 w 124"/>
              <a:gd name="T37" fmla="*/ 2147483647 h 101"/>
              <a:gd name="T38" fmla="*/ 2147483647 w 124"/>
              <a:gd name="T39" fmla="*/ 2147483647 h 101"/>
              <a:gd name="T40" fmla="*/ 2147483647 w 124"/>
              <a:gd name="T41" fmla="*/ 2147483647 h 101"/>
              <a:gd name="T42" fmla="*/ 2147483647 w 124"/>
              <a:gd name="T43" fmla="*/ 2147483647 h 101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124"/>
              <a:gd name="T67" fmla="*/ 0 h 101"/>
              <a:gd name="T68" fmla="*/ 124 w 124"/>
              <a:gd name="T69" fmla="*/ 101 h 101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124" h="101">
                <a:moveTo>
                  <a:pt x="31" y="59"/>
                </a:moveTo>
                <a:lnTo>
                  <a:pt x="40" y="58"/>
                </a:lnTo>
                <a:lnTo>
                  <a:pt x="53" y="67"/>
                </a:lnTo>
                <a:lnTo>
                  <a:pt x="59" y="93"/>
                </a:lnTo>
                <a:lnTo>
                  <a:pt x="34" y="101"/>
                </a:lnTo>
                <a:lnTo>
                  <a:pt x="0" y="90"/>
                </a:lnTo>
                <a:lnTo>
                  <a:pt x="3" y="72"/>
                </a:lnTo>
                <a:lnTo>
                  <a:pt x="14" y="64"/>
                </a:lnTo>
                <a:lnTo>
                  <a:pt x="31" y="59"/>
                </a:lnTo>
                <a:close/>
                <a:moveTo>
                  <a:pt x="74" y="14"/>
                </a:moveTo>
                <a:lnTo>
                  <a:pt x="79" y="17"/>
                </a:lnTo>
                <a:lnTo>
                  <a:pt x="107" y="4"/>
                </a:lnTo>
                <a:lnTo>
                  <a:pt x="124" y="0"/>
                </a:lnTo>
                <a:lnTo>
                  <a:pt x="117" y="14"/>
                </a:lnTo>
                <a:lnTo>
                  <a:pt x="119" y="30"/>
                </a:lnTo>
                <a:lnTo>
                  <a:pt x="93" y="30"/>
                </a:lnTo>
                <a:lnTo>
                  <a:pt x="90" y="24"/>
                </a:lnTo>
                <a:lnTo>
                  <a:pt x="82" y="36"/>
                </a:lnTo>
                <a:lnTo>
                  <a:pt x="70" y="39"/>
                </a:lnTo>
                <a:lnTo>
                  <a:pt x="56" y="30"/>
                </a:lnTo>
                <a:lnTo>
                  <a:pt x="56" y="24"/>
                </a:lnTo>
                <a:lnTo>
                  <a:pt x="74" y="14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387" name="Freeform 76"/>
          <p:cNvSpPr>
            <a:spLocks noChangeAspect="1" noEditPoints="1"/>
          </p:cNvSpPr>
          <p:nvPr/>
        </p:nvSpPr>
        <p:spPr bwMode="gray">
          <a:xfrm>
            <a:off x="8132763" y="4649788"/>
            <a:ext cx="279400" cy="504825"/>
          </a:xfrm>
          <a:custGeom>
            <a:avLst/>
            <a:gdLst>
              <a:gd name="T0" fmla="*/ 0 w 575"/>
              <a:gd name="T1" fmla="*/ 2147483647 h 1037"/>
              <a:gd name="T2" fmla="*/ 2147483647 w 575"/>
              <a:gd name="T3" fmla="*/ 0 h 1037"/>
              <a:gd name="T4" fmla="*/ 2147483647 w 575"/>
              <a:gd name="T5" fmla="*/ 2147483647 h 1037"/>
              <a:gd name="T6" fmla="*/ 2147483647 w 575"/>
              <a:gd name="T7" fmla="*/ 2147483647 h 1037"/>
              <a:gd name="T8" fmla="*/ 2147483647 w 575"/>
              <a:gd name="T9" fmla="*/ 2147483647 h 1037"/>
              <a:gd name="T10" fmla="*/ 2147483647 w 575"/>
              <a:gd name="T11" fmla="*/ 2147483647 h 1037"/>
              <a:gd name="T12" fmla="*/ 2147483647 w 575"/>
              <a:gd name="T13" fmla="*/ 2147483647 h 1037"/>
              <a:gd name="T14" fmla="*/ 2147483647 w 575"/>
              <a:gd name="T15" fmla="*/ 2147483647 h 1037"/>
              <a:gd name="T16" fmla="*/ 2147483647 w 575"/>
              <a:gd name="T17" fmla="*/ 2147483647 h 1037"/>
              <a:gd name="T18" fmla="*/ 2147483647 w 575"/>
              <a:gd name="T19" fmla="*/ 2147483647 h 1037"/>
              <a:gd name="T20" fmla="*/ 2147483647 w 575"/>
              <a:gd name="T21" fmla="*/ 2147483647 h 1037"/>
              <a:gd name="T22" fmla="*/ 2147483647 w 575"/>
              <a:gd name="T23" fmla="*/ 2147483647 h 1037"/>
              <a:gd name="T24" fmla="*/ 2147483647 w 575"/>
              <a:gd name="T25" fmla="*/ 2147483647 h 1037"/>
              <a:gd name="T26" fmla="*/ 2147483647 w 575"/>
              <a:gd name="T27" fmla="*/ 2147483647 h 1037"/>
              <a:gd name="T28" fmla="*/ 2147483647 w 575"/>
              <a:gd name="T29" fmla="*/ 2147483647 h 1037"/>
              <a:gd name="T30" fmla="*/ 2147483647 w 575"/>
              <a:gd name="T31" fmla="*/ 2147483647 h 1037"/>
              <a:gd name="T32" fmla="*/ 2147483647 w 575"/>
              <a:gd name="T33" fmla="*/ 2147483647 h 1037"/>
              <a:gd name="T34" fmla="*/ 2147483647 w 575"/>
              <a:gd name="T35" fmla="*/ 2147483647 h 1037"/>
              <a:gd name="T36" fmla="*/ 2147483647 w 575"/>
              <a:gd name="T37" fmla="*/ 2147483647 h 1037"/>
              <a:gd name="T38" fmla="*/ 2147483647 w 575"/>
              <a:gd name="T39" fmla="*/ 2147483647 h 1037"/>
              <a:gd name="T40" fmla="*/ 2147483647 w 575"/>
              <a:gd name="T41" fmla="*/ 2147483647 h 1037"/>
              <a:gd name="T42" fmla="*/ 2147483647 w 575"/>
              <a:gd name="T43" fmla="*/ 2147483647 h 1037"/>
              <a:gd name="T44" fmla="*/ 2147483647 w 575"/>
              <a:gd name="T45" fmla="*/ 2147483647 h 1037"/>
              <a:gd name="T46" fmla="*/ 2147483647 w 575"/>
              <a:gd name="T47" fmla="*/ 2147483647 h 1037"/>
              <a:gd name="T48" fmla="*/ 2147483647 w 575"/>
              <a:gd name="T49" fmla="*/ 2147483647 h 1037"/>
              <a:gd name="T50" fmla="*/ 2147483647 w 575"/>
              <a:gd name="T51" fmla="*/ 2147483647 h 1037"/>
              <a:gd name="T52" fmla="*/ 2147483647 w 575"/>
              <a:gd name="T53" fmla="*/ 2147483647 h 1037"/>
              <a:gd name="T54" fmla="*/ 2147483647 w 575"/>
              <a:gd name="T55" fmla="*/ 2147483647 h 1037"/>
              <a:gd name="T56" fmla="*/ 2147483647 w 575"/>
              <a:gd name="T57" fmla="*/ 2147483647 h 1037"/>
              <a:gd name="T58" fmla="*/ 2147483647 w 575"/>
              <a:gd name="T59" fmla="*/ 2147483647 h 1037"/>
              <a:gd name="T60" fmla="*/ 2147483647 w 575"/>
              <a:gd name="T61" fmla="*/ 2147483647 h 1037"/>
              <a:gd name="T62" fmla="*/ 2147483647 w 575"/>
              <a:gd name="T63" fmla="*/ 2147483647 h 1037"/>
              <a:gd name="T64" fmla="*/ 2147483647 w 575"/>
              <a:gd name="T65" fmla="*/ 2147483647 h 1037"/>
              <a:gd name="T66" fmla="*/ 2147483647 w 575"/>
              <a:gd name="T67" fmla="*/ 2147483647 h 1037"/>
              <a:gd name="T68" fmla="*/ 2147483647 w 575"/>
              <a:gd name="T69" fmla="*/ 2147483647 h 1037"/>
              <a:gd name="T70" fmla="*/ 2147483647 w 575"/>
              <a:gd name="T71" fmla="*/ 2147483647 h 1037"/>
              <a:gd name="T72" fmla="*/ 2147483647 w 575"/>
              <a:gd name="T73" fmla="*/ 2147483647 h 1037"/>
              <a:gd name="T74" fmla="*/ 2147483647 w 575"/>
              <a:gd name="T75" fmla="*/ 2147483647 h 1037"/>
              <a:gd name="T76" fmla="*/ 2147483647 w 575"/>
              <a:gd name="T77" fmla="*/ 2147483647 h 1037"/>
              <a:gd name="T78" fmla="*/ 2147483647 w 575"/>
              <a:gd name="T79" fmla="*/ 2147483647 h 1037"/>
              <a:gd name="T80" fmla="*/ 2147483647 w 575"/>
              <a:gd name="T81" fmla="*/ 2147483647 h 1037"/>
              <a:gd name="T82" fmla="*/ 2147483647 w 575"/>
              <a:gd name="T83" fmla="*/ 2147483647 h 1037"/>
              <a:gd name="T84" fmla="*/ 2147483647 w 575"/>
              <a:gd name="T85" fmla="*/ 2147483647 h 1037"/>
              <a:gd name="T86" fmla="*/ 2147483647 w 575"/>
              <a:gd name="T87" fmla="*/ 2147483647 h 1037"/>
              <a:gd name="T88" fmla="*/ 2147483647 w 575"/>
              <a:gd name="T89" fmla="*/ 2147483647 h 1037"/>
              <a:gd name="T90" fmla="*/ 2147483647 w 575"/>
              <a:gd name="T91" fmla="*/ 2147483647 h 1037"/>
              <a:gd name="T92" fmla="*/ 2147483647 w 575"/>
              <a:gd name="T93" fmla="*/ 2147483647 h 1037"/>
              <a:gd name="T94" fmla="*/ 2147483647 w 575"/>
              <a:gd name="T95" fmla="*/ 2147483647 h 1037"/>
              <a:gd name="T96" fmla="*/ 2147483647 w 575"/>
              <a:gd name="T97" fmla="*/ 2147483647 h 1037"/>
              <a:gd name="T98" fmla="*/ 2147483647 w 575"/>
              <a:gd name="T99" fmla="*/ 2147483647 h 1037"/>
              <a:gd name="T100" fmla="*/ 2147483647 w 575"/>
              <a:gd name="T101" fmla="*/ 2147483647 h 1037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575"/>
              <a:gd name="T154" fmla="*/ 0 h 1037"/>
              <a:gd name="T155" fmla="*/ 575 w 575"/>
              <a:gd name="T156" fmla="*/ 1037 h 1037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575" h="1037">
                <a:moveTo>
                  <a:pt x="12" y="1014"/>
                </a:moveTo>
                <a:lnTo>
                  <a:pt x="15" y="1034"/>
                </a:lnTo>
                <a:lnTo>
                  <a:pt x="0" y="1037"/>
                </a:lnTo>
                <a:lnTo>
                  <a:pt x="1" y="1026"/>
                </a:lnTo>
                <a:lnTo>
                  <a:pt x="12" y="1014"/>
                </a:lnTo>
                <a:close/>
                <a:moveTo>
                  <a:pt x="318" y="0"/>
                </a:moveTo>
                <a:lnTo>
                  <a:pt x="323" y="0"/>
                </a:lnTo>
                <a:lnTo>
                  <a:pt x="332" y="30"/>
                </a:lnTo>
                <a:lnTo>
                  <a:pt x="340" y="24"/>
                </a:lnTo>
                <a:lnTo>
                  <a:pt x="340" y="30"/>
                </a:lnTo>
                <a:lnTo>
                  <a:pt x="366" y="34"/>
                </a:lnTo>
                <a:lnTo>
                  <a:pt x="374" y="41"/>
                </a:lnTo>
                <a:lnTo>
                  <a:pt x="368" y="42"/>
                </a:lnTo>
                <a:lnTo>
                  <a:pt x="383" y="50"/>
                </a:lnTo>
                <a:lnTo>
                  <a:pt x="396" y="80"/>
                </a:lnTo>
                <a:lnTo>
                  <a:pt x="383" y="75"/>
                </a:lnTo>
                <a:lnTo>
                  <a:pt x="385" y="81"/>
                </a:lnTo>
                <a:lnTo>
                  <a:pt x="410" y="114"/>
                </a:lnTo>
                <a:lnTo>
                  <a:pt x="403" y="139"/>
                </a:lnTo>
                <a:lnTo>
                  <a:pt x="427" y="143"/>
                </a:lnTo>
                <a:lnTo>
                  <a:pt x="430" y="156"/>
                </a:lnTo>
                <a:lnTo>
                  <a:pt x="436" y="158"/>
                </a:lnTo>
                <a:lnTo>
                  <a:pt x="437" y="130"/>
                </a:lnTo>
                <a:lnTo>
                  <a:pt x="431" y="118"/>
                </a:lnTo>
                <a:lnTo>
                  <a:pt x="436" y="118"/>
                </a:lnTo>
                <a:lnTo>
                  <a:pt x="450" y="127"/>
                </a:lnTo>
                <a:lnTo>
                  <a:pt x="461" y="180"/>
                </a:lnTo>
                <a:lnTo>
                  <a:pt x="513" y="202"/>
                </a:lnTo>
                <a:lnTo>
                  <a:pt x="521" y="203"/>
                </a:lnTo>
                <a:lnTo>
                  <a:pt x="557" y="175"/>
                </a:lnTo>
                <a:lnTo>
                  <a:pt x="575" y="183"/>
                </a:lnTo>
                <a:lnTo>
                  <a:pt x="567" y="236"/>
                </a:lnTo>
                <a:lnTo>
                  <a:pt x="554" y="244"/>
                </a:lnTo>
                <a:lnTo>
                  <a:pt x="554" y="270"/>
                </a:lnTo>
                <a:lnTo>
                  <a:pt x="549" y="276"/>
                </a:lnTo>
                <a:lnTo>
                  <a:pt x="547" y="266"/>
                </a:lnTo>
                <a:lnTo>
                  <a:pt x="537" y="265"/>
                </a:lnTo>
                <a:lnTo>
                  <a:pt x="515" y="271"/>
                </a:lnTo>
                <a:lnTo>
                  <a:pt x="501" y="290"/>
                </a:lnTo>
                <a:lnTo>
                  <a:pt x="510" y="304"/>
                </a:lnTo>
                <a:lnTo>
                  <a:pt x="510" y="310"/>
                </a:lnTo>
                <a:lnTo>
                  <a:pt x="493" y="346"/>
                </a:lnTo>
                <a:lnTo>
                  <a:pt x="456" y="403"/>
                </a:lnTo>
                <a:lnTo>
                  <a:pt x="440" y="413"/>
                </a:lnTo>
                <a:lnTo>
                  <a:pt x="433" y="415"/>
                </a:lnTo>
                <a:lnTo>
                  <a:pt x="423" y="405"/>
                </a:lnTo>
                <a:lnTo>
                  <a:pt x="406" y="405"/>
                </a:lnTo>
                <a:lnTo>
                  <a:pt x="403" y="398"/>
                </a:lnTo>
                <a:lnTo>
                  <a:pt x="403" y="390"/>
                </a:lnTo>
                <a:lnTo>
                  <a:pt x="423" y="361"/>
                </a:lnTo>
                <a:lnTo>
                  <a:pt x="428" y="342"/>
                </a:lnTo>
                <a:lnTo>
                  <a:pt x="425" y="329"/>
                </a:lnTo>
                <a:lnTo>
                  <a:pt x="413" y="315"/>
                </a:lnTo>
                <a:lnTo>
                  <a:pt x="393" y="308"/>
                </a:lnTo>
                <a:lnTo>
                  <a:pt x="360" y="283"/>
                </a:lnTo>
                <a:lnTo>
                  <a:pt x="360" y="273"/>
                </a:lnTo>
                <a:lnTo>
                  <a:pt x="369" y="265"/>
                </a:lnTo>
                <a:lnTo>
                  <a:pt x="396" y="249"/>
                </a:lnTo>
                <a:lnTo>
                  <a:pt x="403" y="211"/>
                </a:lnTo>
                <a:lnTo>
                  <a:pt x="410" y="208"/>
                </a:lnTo>
                <a:lnTo>
                  <a:pt x="410" y="164"/>
                </a:lnTo>
                <a:lnTo>
                  <a:pt x="397" y="154"/>
                </a:lnTo>
                <a:lnTo>
                  <a:pt x="405" y="143"/>
                </a:lnTo>
                <a:lnTo>
                  <a:pt x="393" y="144"/>
                </a:lnTo>
                <a:lnTo>
                  <a:pt x="385" y="127"/>
                </a:lnTo>
                <a:lnTo>
                  <a:pt x="379" y="115"/>
                </a:lnTo>
                <a:lnTo>
                  <a:pt x="385" y="124"/>
                </a:lnTo>
                <a:lnTo>
                  <a:pt x="390" y="112"/>
                </a:lnTo>
                <a:lnTo>
                  <a:pt x="383" y="109"/>
                </a:lnTo>
                <a:lnTo>
                  <a:pt x="385" y="97"/>
                </a:lnTo>
                <a:lnTo>
                  <a:pt x="373" y="97"/>
                </a:lnTo>
                <a:lnTo>
                  <a:pt x="374" y="109"/>
                </a:lnTo>
                <a:lnTo>
                  <a:pt x="348" y="72"/>
                </a:lnTo>
                <a:lnTo>
                  <a:pt x="342" y="61"/>
                </a:lnTo>
                <a:lnTo>
                  <a:pt x="349" y="50"/>
                </a:lnTo>
                <a:lnTo>
                  <a:pt x="339" y="58"/>
                </a:lnTo>
                <a:lnTo>
                  <a:pt x="334" y="50"/>
                </a:lnTo>
                <a:lnTo>
                  <a:pt x="329" y="30"/>
                </a:lnTo>
                <a:lnTo>
                  <a:pt x="312" y="2"/>
                </a:lnTo>
                <a:lnTo>
                  <a:pt x="318" y="0"/>
                </a:lnTo>
                <a:close/>
                <a:moveTo>
                  <a:pt x="284" y="383"/>
                </a:moveTo>
                <a:lnTo>
                  <a:pt x="286" y="373"/>
                </a:lnTo>
                <a:lnTo>
                  <a:pt x="308" y="355"/>
                </a:lnTo>
                <a:lnTo>
                  <a:pt x="309" y="366"/>
                </a:lnTo>
                <a:lnTo>
                  <a:pt x="323" y="373"/>
                </a:lnTo>
                <a:lnTo>
                  <a:pt x="326" y="392"/>
                </a:lnTo>
                <a:lnTo>
                  <a:pt x="334" y="401"/>
                </a:lnTo>
                <a:lnTo>
                  <a:pt x="362" y="380"/>
                </a:lnTo>
                <a:lnTo>
                  <a:pt x="368" y="380"/>
                </a:lnTo>
                <a:lnTo>
                  <a:pt x="362" y="384"/>
                </a:lnTo>
                <a:lnTo>
                  <a:pt x="362" y="400"/>
                </a:lnTo>
                <a:lnTo>
                  <a:pt x="371" y="395"/>
                </a:lnTo>
                <a:lnTo>
                  <a:pt x="373" y="383"/>
                </a:lnTo>
                <a:lnTo>
                  <a:pt x="382" y="388"/>
                </a:lnTo>
                <a:lnTo>
                  <a:pt x="374" y="398"/>
                </a:lnTo>
                <a:lnTo>
                  <a:pt x="379" y="403"/>
                </a:lnTo>
                <a:lnTo>
                  <a:pt x="376" y="412"/>
                </a:lnTo>
                <a:lnTo>
                  <a:pt x="379" y="434"/>
                </a:lnTo>
                <a:lnTo>
                  <a:pt x="340" y="496"/>
                </a:lnTo>
                <a:lnTo>
                  <a:pt x="317" y="514"/>
                </a:lnTo>
                <a:lnTo>
                  <a:pt x="314" y="545"/>
                </a:lnTo>
                <a:lnTo>
                  <a:pt x="326" y="553"/>
                </a:lnTo>
                <a:lnTo>
                  <a:pt x="329" y="562"/>
                </a:lnTo>
                <a:lnTo>
                  <a:pt x="300" y="553"/>
                </a:lnTo>
                <a:lnTo>
                  <a:pt x="295" y="562"/>
                </a:lnTo>
                <a:lnTo>
                  <a:pt x="288" y="559"/>
                </a:lnTo>
                <a:lnTo>
                  <a:pt x="266" y="576"/>
                </a:lnTo>
                <a:lnTo>
                  <a:pt x="255" y="570"/>
                </a:lnTo>
                <a:lnTo>
                  <a:pt x="241" y="637"/>
                </a:lnTo>
                <a:lnTo>
                  <a:pt x="221" y="683"/>
                </a:lnTo>
                <a:lnTo>
                  <a:pt x="218" y="698"/>
                </a:lnTo>
                <a:lnTo>
                  <a:pt x="205" y="703"/>
                </a:lnTo>
                <a:lnTo>
                  <a:pt x="182" y="721"/>
                </a:lnTo>
                <a:lnTo>
                  <a:pt x="170" y="735"/>
                </a:lnTo>
                <a:lnTo>
                  <a:pt x="140" y="743"/>
                </a:lnTo>
                <a:lnTo>
                  <a:pt x="134" y="734"/>
                </a:lnTo>
                <a:lnTo>
                  <a:pt x="111" y="737"/>
                </a:lnTo>
                <a:lnTo>
                  <a:pt x="110" y="726"/>
                </a:lnTo>
                <a:lnTo>
                  <a:pt x="86" y="723"/>
                </a:lnTo>
                <a:lnTo>
                  <a:pt x="78" y="709"/>
                </a:lnTo>
                <a:lnTo>
                  <a:pt x="57" y="715"/>
                </a:lnTo>
                <a:lnTo>
                  <a:pt x="35" y="709"/>
                </a:lnTo>
                <a:lnTo>
                  <a:pt x="44" y="692"/>
                </a:lnTo>
                <a:lnTo>
                  <a:pt x="32" y="703"/>
                </a:lnTo>
                <a:lnTo>
                  <a:pt x="35" y="691"/>
                </a:lnTo>
                <a:lnTo>
                  <a:pt x="27" y="696"/>
                </a:lnTo>
                <a:lnTo>
                  <a:pt x="26" y="691"/>
                </a:lnTo>
                <a:lnTo>
                  <a:pt x="44" y="680"/>
                </a:lnTo>
                <a:lnTo>
                  <a:pt x="40" y="675"/>
                </a:lnTo>
                <a:lnTo>
                  <a:pt x="48" y="667"/>
                </a:lnTo>
                <a:lnTo>
                  <a:pt x="37" y="661"/>
                </a:lnTo>
                <a:lnTo>
                  <a:pt x="46" y="657"/>
                </a:lnTo>
                <a:lnTo>
                  <a:pt x="43" y="652"/>
                </a:lnTo>
                <a:lnTo>
                  <a:pt x="57" y="652"/>
                </a:lnTo>
                <a:lnTo>
                  <a:pt x="51" y="646"/>
                </a:lnTo>
                <a:lnTo>
                  <a:pt x="54" y="630"/>
                </a:lnTo>
                <a:lnTo>
                  <a:pt x="63" y="624"/>
                </a:lnTo>
                <a:lnTo>
                  <a:pt x="69" y="633"/>
                </a:lnTo>
                <a:lnTo>
                  <a:pt x="71" y="620"/>
                </a:lnTo>
                <a:lnTo>
                  <a:pt x="88" y="603"/>
                </a:lnTo>
                <a:lnTo>
                  <a:pt x="102" y="573"/>
                </a:lnTo>
                <a:lnTo>
                  <a:pt x="144" y="559"/>
                </a:lnTo>
                <a:lnTo>
                  <a:pt x="229" y="493"/>
                </a:lnTo>
                <a:lnTo>
                  <a:pt x="241" y="476"/>
                </a:lnTo>
                <a:lnTo>
                  <a:pt x="252" y="432"/>
                </a:lnTo>
                <a:lnTo>
                  <a:pt x="276" y="415"/>
                </a:lnTo>
                <a:lnTo>
                  <a:pt x="284" y="383"/>
                </a:lnTo>
                <a:close/>
                <a:moveTo>
                  <a:pt x="91" y="746"/>
                </a:moveTo>
                <a:lnTo>
                  <a:pt x="99" y="755"/>
                </a:lnTo>
                <a:lnTo>
                  <a:pt x="93" y="760"/>
                </a:lnTo>
                <a:lnTo>
                  <a:pt x="102" y="769"/>
                </a:lnTo>
                <a:lnTo>
                  <a:pt x="73" y="782"/>
                </a:lnTo>
                <a:lnTo>
                  <a:pt x="83" y="745"/>
                </a:lnTo>
                <a:lnTo>
                  <a:pt x="91" y="746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388" name="Freeform 77"/>
          <p:cNvSpPr>
            <a:spLocks noChangeAspect="1" noEditPoints="1"/>
          </p:cNvSpPr>
          <p:nvPr/>
        </p:nvSpPr>
        <p:spPr bwMode="gray">
          <a:xfrm>
            <a:off x="6508750" y="3667125"/>
            <a:ext cx="1069975" cy="406400"/>
          </a:xfrm>
          <a:custGeom>
            <a:avLst/>
            <a:gdLst>
              <a:gd name="T0" fmla="*/ 2147483647 w 2198"/>
              <a:gd name="T1" fmla="*/ 2147483647 h 836"/>
              <a:gd name="T2" fmla="*/ 2147483647 w 2198"/>
              <a:gd name="T3" fmla="*/ 2147483647 h 836"/>
              <a:gd name="T4" fmla="*/ 2147483647 w 2198"/>
              <a:gd name="T5" fmla="*/ 2147483647 h 836"/>
              <a:gd name="T6" fmla="*/ 2147483647 w 2198"/>
              <a:gd name="T7" fmla="*/ 2147483647 h 836"/>
              <a:gd name="T8" fmla="*/ 2147483647 w 2198"/>
              <a:gd name="T9" fmla="*/ 2147483647 h 836"/>
              <a:gd name="T10" fmla="*/ 2147483647 w 2198"/>
              <a:gd name="T11" fmla="*/ 2147483647 h 836"/>
              <a:gd name="T12" fmla="*/ 2147483647 w 2198"/>
              <a:gd name="T13" fmla="*/ 2147483647 h 836"/>
              <a:gd name="T14" fmla="*/ 2147483647 w 2198"/>
              <a:gd name="T15" fmla="*/ 2147483647 h 836"/>
              <a:gd name="T16" fmla="*/ 2147483647 w 2198"/>
              <a:gd name="T17" fmla="*/ 2147483647 h 836"/>
              <a:gd name="T18" fmla="*/ 2147483647 w 2198"/>
              <a:gd name="T19" fmla="*/ 2147483647 h 836"/>
              <a:gd name="T20" fmla="*/ 2147483647 w 2198"/>
              <a:gd name="T21" fmla="*/ 2147483647 h 836"/>
              <a:gd name="T22" fmla="*/ 2147483647 w 2198"/>
              <a:gd name="T23" fmla="*/ 2147483647 h 836"/>
              <a:gd name="T24" fmla="*/ 2147483647 w 2198"/>
              <a:gd name="T25" fmla="*/ 2147483647 h 836"/>
              <a:gd name="T26" fmla="*/ 2147483647 w 2198"/>
              <a:gd name="T27" fmla="*/ 2147483647 h 836"/>
              <a:gd name="T28" fmla="*/ 2147483647 w 2198"/>
              <a:gd name="T29" fmla="*/ 2147483647 h 836"/>
              <a:gd name="T30" fmla="*/ 2147483647 w 2198"/>
              <a:gd name="T31" fmla="*/ 2147483647 h 836"/>
              <a:gd name="T32" fmla="*/ 2147483647 w 2198"/>
              <a:gd name="T33" fmla="*/ 2147483647 h 836"/>
              <a:gd name="T34" fmla="*/ 2147483647 w 2198"/>
              <a:gd name="T35" fmla="*/ 2147483647 h 836"/>
              <a:gd name="T36" fmla="*/ 2147483647 w 2198"/>
              <a:gd name="T37" fmla="*/ 2147483647 h 836"/>
              <a:gd name="T38" fmla="*/ 2147483647 w 2198"/>
              <a:gd name="T39" fmla="*/ 2147483647 h 836"/>
              <a:gd name="T40" fmla="*/ 2147483647 w 2198"/>
              <a:gd name="T41" fmla="*/ 2147483647 h 836"/>
              <a:gd name="T42" fmla="*/ 2147483647 w 2198"/>
              <a:gd name="T43" fmla="*/ 2147483647 h 836"/>
              <a:gd name="T44" fmla="*/ 2147483647 w 2198"/>
              <a:gd name="T45" fmla="*/ 2147483647 h 836"/>
              <a:gd name="T46" fmla="*/ 2147483647 w 2198"/>
              <a:gd name="T47" fmla="*/ 2147483647 h 836"/>
              <a:gd name="T48" fmla="*/ 2147483647 w 2198"/>
              <a:gd name="T49" fmla="*/ 2147483647 h 836"/>
              <a:gd name="T50" fmla="*/ 2147483647 w 2198"/>
              <a:gd name="T51" fmla="*/ 2147483647 h 836"/>
              <a:gd name="T52" fmla="*/ 2147483647 w 2198"/>
              <a:gd name="T53" fmla="*/ 2147483647 h 836"/>
              <a:gd name="T54" fmla="*/ 2147483647 w 2198"/>
              <a:gd name="T55" fmla="*/ 2147483647 h 836"/>
              <a:gd name="T56" fmla="*/ 2147483647 w 2198"/>
              <a:gd name="T57" fmla="*/ 2147483647 h 836"/>
              <a:gd name="T58" fmla="*/ 2147483647 w 2198"/>
              <a:gd name="T59" fmla="*/ 2147483647 h 836"/>
              <a:gd name="T60" fmla="*/ 2147483647 w 2198"/>
              <a:gd name="T61" fmla="*/ 2147483647 h 836"/>
              <a:gd name="T62" fmla="*/ 2147483647 w 2198"/>
              <a:gd name="T63" fmla="*/ 2147483647 h 836"/>
              <a:gd name="T64" fmla="*/ 2147483647 w 2198"/>
              <a:gd name="T65" fmla="*/ 2147483647 h 836"/>
              <a:gd name="T66" fmla="*/ 2147483647 w 2198"/>
              <a:gd name="T67" fmla="*/ 2147483647 h 836"/>
              <a:gd name="T68" fmla="*/ 2147483647 w 2198"/>
              <a:gd name="T69" fmla="*/ 2147483647 h 836"/>
              <a:gd name="T70" fmla="*/ 2147483647 w 2198"/>
              <a:gd name="T71" fmla="*/ 2147483647 h 836"/>
              <a:gd name="T72" fmla="*/ 2147483647 w 2198"/>
              <a:gd name="T73" fmla="*/ 2147483647 h 836"/>
              <a:gd name="T74" fmla="*/ 2147483647 w 2198"/>
              <a:gd name="T75" fmla="*/ 2147483647 h 836"/>
              <a:gd name="T76" fmla="*/ 2147483647 w 2198"/>
              <a:gd name="T77" fmla="*/ 2147483647 h 836"/>
              <a:gd name="T78" fmla="*/ 2147483647 w 2198"/>
              <a:gd name="T79" fmla="*/ 2147483647 h 836"/>
              <a:gd name="T80" fmla="*/ 2147483647 w 2198"/>
              <a:gd name="T81" fmla="*/ 2147483647 h 836"/>
              <a:gd name="T82" fmla="*/ 2147483647 w 2198"/>
              <a:gd name="T83" fmla="*/ 2147483647 h 836"/>
              <a:gd name="T84" fmla="*/ 2147483647 w 2198"/>
              <a:gd name="T85" fmla="*/ 2147483647 h 836"/>
              <a:gd name="T86" fmla="*/ 2147483647 w 2198"/>
              <a:gd name="T87" fmla="*/ 2147483647 h 836"/>
              <a:gd name="T88" fmla="*/ 2147483647 w 2198"/>
              <a:gd name="T89" fmla="*/ 2147483647 h 836"/>
              <a:gd name="T90" fmla="*/ 2147483647 w 2198"/>
              <a:gd name="T91" fmla="*/ 2147483647 h 836"/>
              <a:gd name="T92" fmla="*/ 2147483647 w 2198"/>
              <a:gd name="T93" fmla="*/ 2147483647 h 836"/>
              <a:gd name="T94" fmla="*/ 2147483647 w 2198"/>
              <a:gd name="T95" fmla="*/ 2147483647 h 836"/>
              <a:gd name="T96" fmla="*/ 2147483647 w 2198"/>
              <a:gd name="T97" fmla="*/ 2147483647 h 836"/>
              <a:gd name="T98" fmla="*/ 2147483647 w 2198"/>
              <a:gd name="T99" fmla="*/ 2147483647 h 836"/>
              <a:gd name="T100" fmla="*/ 2147483647 w 2198"/>
              <a:gd name="T101" fmla="*/ 2147483647 h 836"/>
              <a:gd name="T102" fmla="*/ 2147483647 w 2198"/>
              <a:gd name="T103" fmla="*/ 2147483647 h 836"/>
              <a:gd name="T104" fmla="*/ 2147483647 w 2198"/>
              <a:gd name="T105" fmla="*/ 2147483647 h 836"/>
              <a:gd name="T106" fmla="*/ 2147483647 w 2198"/>
              <a:gd name="T107" fmla="*/ 2147483647 h 836"/>
              <a:gd name="T108" fmla="*/ 2147483647 w 2198"/>
              <a:gd name="T109" fmla="*/ 2147483647 h 836"/>
              <a:gd name="T110" fmla="*/ 2147483647 w 2198"/>
              <a:gd name="T111" fmla="*/ 2147483647 h 836"/>
              <a:gd name="T112" fmla="*/ 2147483647 w 2198"/>
              <a:gd name="T113" fmla="*/ 2147483647 h 836"/>
              <a:gd name="T114" fmla="*/ 2147483647 w 2198"/>
              <a:gd name="T115" fmla="*/ 2147483647 h 836"/>
              <a:gd name="T116" fmla="*/ 2147483647 w 2198"/>
              <a:gd name="T117" fmla="*/ 2147483647 h 836"/>
              <a:gd name="T118" fmla="*/ 2147483647 w 2198"/>
              <a:gd name="T119" fmla="*/ 2147483647 h 836"/>
              <a:gd name="T120" fmla="*/ 2147483647 w 2198"/>
              <a:gd name="T121" fmla="*/ 2147483647 h 836"/>
              <a:gd name="T122" fmla="*/ 2147483647 w 2198"/>
              <a:gd name="T123" fmla="*/ 2147483647 h 8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2198"/>
              <a:gd name="T187" fmla="*/ 0 h 836"/>
              <a:gd name="T188" fmla="*/ 2198 w 2198"/>
              <a:gd name="T189" fmla="*/ 836 h 8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2198" h="836">
                <a:moveTo>
                  <a:pt x="882" y="652"/>
                </a:moveTo>
                <a:lnTo>
                  <a:pt x="935" y="649"/>
                </a:lnTo>
                <a:lnTo>
                  <a:pt x="939" y="657"/>
                </a:lnTo>
                <a:lnTo>
                  <a:pt x="914" y="666"/>
                </a:lnTo>
                <a:lnTo>
                  <a:pt x="889" y="662"/>
                </a:lnTo>
                <a:lnTo>
                  <a:pt x="882" y="652"/>
                </a:lnTo>
                <a:close/>
                <a:moveTo>
                  <a:pt x="506" y="279"/>
                </a:moveTo>
                <a:lnTo>
                  <a:pt x="511" y="288"/>
                </a:lnTo>
                <a:lnTo>
                  <a:pt x="504" y="293"/>
                </a:lnTo>
                <a:lnTo>
                  <a:pt x="495" y="279"/>
                </a:lnTo>
                <a:lnTo>
                  <a:pt x="506" y="279"/>
                </a:lnTo>
                <a:close/>
                <a:moveTo>
                  <a:pt x="391" y="257"/>
                </a:moveTo>
                <a:lnTo>
                  <a:pt x="408" y="259"/>
                </a:lnTo>
                <a:lnTo>
                  <a:pt x="412" y="271"/>
                </a:lnTo>
                <a:lnTo>
                  <a:pt x="391" y="257"/>
                </a:lnTo>
                <a:close/>
                <a:moveTo>
                  <a:pt x="496" y="356"/>
                </a:moveTo>
                <a:lnTo>
                  <a:pt x="501" y="349"/>
                </a:lnTo>
                <a:lnTo>
                  <a:pt x="504" y="350"/>
                </a:lnTo>
                <a:lnTo>
                  <a:pt x="508" y="356"/>
                </a:lnTo>
                <a:lnTo>
                  <a:pt x="506" y="361"/>
                </a:lnTo>
                <a:lnTo>
                  <a:pt x="498" y="359"/>
                </a:lnTo>
                <a:lnTo>
                  <a:pt x="496" y="356"/>
                </a:lnTo>
                <a:close/>
                <a:moveTo>
                  <a:pt x="374" y="252"/>
                </a:moveTo>
                <a:lnTo>
                  <a:pt x="367" y="249"/>
                </a:lnTo>
                <a:lnTo>
                  <a:pt x="362" y="239"/>
                </a:lnTo>
                <a:lnTo>
                  <a:pt x="374" y="235"/>
                </a:lnTo>
                <a:lnTo>
                  <a:pt x="379" y="240"/>
                </a:lnTo>
                <a:lnTo>
                  <a:pt x="374" y="252"/>
                </a:lnTo>
                <a:close/>
                <a:moveTo>
                  <a:pt x="1493" y="474"/>
                </a:moveTo>
                <a:lnTo>
                  <a:pt x="1497" y="480"/>
                </a:lnTo>
                <a:lnTo>
                  <a:pt x="1524" y="472"/>
                </a:lnTo>
                <a:lnTo>
                  <a:pt x="1544" y="486"/>
                </a:lnTo>
                <a:lnTo>
                  <a:pt x="1547" y="497"/>
                </a:lnTo>
                <a:lnTo>
                  <a:pt x="1544" y="503"/>
                </a:lnTo>
                <a:lnTo>
                  <a:pt x="1527" y="509"/>
                </a:lnTo>
                <a:lnTo>
                  <a:pt x="1516" y="508"/>
                </a:lnTo>
                <a:lnTo>
                  <a:pt x="1501" y="497"/>
                </a:lnTo>
                <a:lnTo>
                  <a:pt x="1493" y="474"/>
                </a:lnTo>
                <a:close/>
                <a:moveTo>
                  <a:pt x="1487" y="426"/>
                </a:moveTo>
                <a:lnTo>
                  <a:pt x="1488" y="423"/>
                </a:lnTo>
                <a:lnTo>
                  <a:pt x="1492" y="446"/>
                </a:lnTo>
                <a:lnTo>
                  <a:pt x="1487" y="426"/>
                </a:lnTo>
                <a:close/>
                <a:moveTo>
                  <a:pt x="1463" y="417"/>
                </a:moveTo>
                <a:lnTo>
                  <a:pt x="1504" y="415"/>
                </a:lnTo>
                <a:lnTo>
                  <a:pt x="1470" y="423"/>
                </a:lnTo>
                <a:lnTo>
                  <a:pt x="1463" y="417"/>
                </a:lnTo>
                <a:close/>
                <a:moveTo>
                  <a:pt x="1417" y="410"/>
                </a:moveTo>
                <a:lnTo>
                  <a:pt x="1456" y="417"/>
                </a:lnTo>
                <a:lnTo>
                  <a:pt x="1426" y="427"/>
                </a:lnTo>
                <a:lnTo>
                  <a:pt x="1420" y="426"/>
                </a:lnTo>
                <a:lnTo>
                  <a:pt x="1417" y="410"/>
                </a:lnTo>
                <a:close/>
                <a:moveTo>
                  <a:pt x="1361" y="396"/>
                </a:moveTo>
                <a:lnTo>
                  <a:pt x="1369" y="392"/>
                </a:lnTo>
                <a:lnTo>
                  <a:pt x="1377" y="393"/>
                </a:lnTo>
                <a:lnTo>
                  <a:pt x="1374" y="404"/>
                </a:lnTo>
                <a:lnTo>
                  <a:pt x="1366" y="401"/>
                </a:lnTo>
                <a:lnTo>
                  <a:pt x="1365" y="407"/>
                </a:lnTo>
                <a:lnTo>
                  <a:pt x="1361" y="396"/>
                </a:lnTo>
                <a:close/>
                <a:moveTo>
                  <a:pt x="1355" y="386"/>
                </a:moveTo>
                <a:lnTo>
                  <a:pt x="1360" y="386"/>
                </a:lnTo>
                <a:lnTo>
                  <a:pt x="1360" y="393"/>
                </a:lnTo>
                <a:lnTo>
                  <a:pt x="1353" y="404"/>
                </a:lnTo>
                <a:lnTo>
                  <a:pt x="1346" y="404"/>
                </a:lnTo>
                <a:lnTo>
                  <a:pt x="1346" y="393"/>
                </a:lnTo>
                <a:lnTo>
                  <a:pt x="1355" y="386"/>
                </a:lnTo>
                <a:close/>
                <a:moveTo>
                  <a:pt x="1584" y="508"/>
                </a:moveTo>
                <a:lnTo>
                  <a:pt x="1584" y="500"/>
                </a:lnTo>
                <a:lnTo>
                  <a:pt x="1597" y="494"/>
                </a:lnTo>
                <a:lnTo>
                  <a:pt x="1593" y="505"/>
                </a:lnTo>
                <a:lnTo>
                  <a:pt x="1584" y="508"/>
                </a:lnTo>
                <a:close/>
                <a:moveTo>
                  <a:pt x="1555" y="400"/>
                </a:moveTo>
                <a:lnTo>
                  <a:pt x="1573" y="398"/>
                </a:lnTo>
                <a:lnTo>
                  <a:pt x="1590" y="407"/>
                </a:lnTo>
                <a:lnTo>
                  <a:pt x="1589" y="412"/>
                </a:lnTo>
                <a:lnTo>
                  <a:pt x="1561" y="413"/>
                </a:lnTo>
                <a:lnTo>
                  <a:pt x="1556" y="410"/>
                </a:lnTo>
                <a:lnTo>
                  <a:pt x="1555" y="400"/>
                </a:lnTo>
                <a:close/>
                <a:moveTo>
                  <a:pt x="1553" y="350"/>
                </a:moveTo>
                <a:lnTo>
                  <a:pt x="1559" y="350"/>
                </a:lnTo>
                <a:lnTo>
                  <a:pt x="1575" y="369"/>
                </a:lnTo>
                <a:lnTo>
                  <a:pt x="1573" y="373"/>
                </a:lnTo>
                <a:lnTo>
                  <a:pt x="1559" y="371"/>
                </a:lnTo>
                <a:lnTo>
                  <a:pt x="1553" y="350"/>
                </a:lnTo>
                <a:close/>
                <a:moveTo>
                  <a:pt x="1580" y="232"/>
                </a:moveTo>
                <a:lnTo>
                  <a:pt x="1583" y="237"/>
                </a:lnTo>
                <a:lnTo>
                  <a:pt x="1576" y="249"/>
                </a:lnTo>
                <a:lnTo>
                  <a:pt x="1583" y="260"/>
                </a:lnTo>
                <a:lnTo>
                  <a:pt x="1583" y="276"/>
                </a:lnTo>
                <a:lnTo>
                  <a:pt x="1566" y="293"/>
                </a:lnTo>
                <a:lnTo>
                  <a:pt x="1573" y="294"/>
                </a:lnTo>
                <a:lnTo>
                  <a:pt x="1601" y="265"/>
                </a:lnTo>
                <a:lnTo>
                  <a:pt x="1610" y="265"/>
                </a:lnTo>
                <a:lnTo>
                  <a:pt x="1615" y="273"/>
                </a:lnTo>
                <a:lnTo>
                  <a:pt x="1615" y="283"/>
                </a:lnTo>
                <a:lnTo>
                  <a:pt x="1597" y="300"/>
                </a:lnTo>
                <a:lnTo>
                  <a:pt x="1612" y="308"/>
                </a:lnTo>
                <a:lnTo>
                  <a:pt x="1620" y="322"/>
                </a:lnTo>
                <a:lnTo>
                  <a:pt x="1584" y="311"/>
                </a:lnTo>
                <a:lnTo>
                  <a:pt x="1580" y="317"/>
                </a:lnTo>
                <a:lnTo>
                  <a:pt x="1580" y="345"/>
                </a:lnTo>
                <a:lnTo>
                  <a:pt x="1600" y="373"/>
                </a:lnTo>
                <a:lnTo>
                  <a:pt x="1595" y="375"/>
                </a:lnTo>
                <a:lnTo>
                  <a:pt x="1572" y="345"/>
                </a:lnTo>
                <a:lnTo>
                  <a:pt x="1564" y="299"/>
                </a:lnTo>
                <a:lnTo>
                  <a:pt x="1553" y="282"/>
                </a:lnTo>
                <a:lnTo>
                  <a:pt x="1561" y="252"/>
                </a:lnTo>
                <a:lnTo>
                  <a:pt x="1580" y="232"/>
                </a:lnTo>
                <a:close/>
                <a:moveTo>
                  <a:pt x="1609" y="212"/>
                </a:moveTo>
                <a:lnTo>
                  <a:pt x="1612" y="229"/>
                </a:lnTo>
                <a:lnTo>
                  <a:pt x="1607" y="239"/>
                </a:lnTo>
                <a:lnTo>
                  <a:pt x="1598" y="239"/>
                </a:lnTo>
                <a:lnTo>
                  <a:pt x="1595" y="222"/>
                </a:lnTo>
                <a:lnTo>
                  <a:pt x="1609" y="212"/>
                </a:lnTo>
                <a:close/>
                <a:moveTo>
                  <a:pt x="1610" y="664"/>
                </a:moveTo>
                <a:lnTo>
                  <a:pt x="1614" y="662"/>
                </a:lnTo>
                <a:lnTo>
                  <a:pt x="1614" y="666"/>
                </a:lnTo>
                <a:lnTo>
                  <a:pt x="1610" y="664"/>
                </a:lnTo>
                <a:close/>
                <a:moveTo>
                  <a:pt x="1658" y="696"/>
                </a:moveTo>
                <a:lnTo>
                  <a:pt x="1668" y="695"/>
                </a:lnTo>
                <a:lnTo>
                  <a:pt x="1668" y="698"/>
                </a:lnTo>
                <a:lnTo>
                  <a:pt x="1665" y="703"/>
                </a:lnTo>
                <a:lnTo>
                  <a:pt x="1658" y="696"/>
                </a:lnTo>
                <a:close/>
                <a:moveTo>
                  <a:pt x="1729" y="691"/>
                </a:moveTo>
                <a:lnTo>
                  <a:pt x="1733" y="689"/>
                </a:lnTo>
                <a:lnTo>
                  <a:pt x="1731" y="679"/>
                </a:lnTo>
                <a:lnTo>
                  <a:pt x="1745" y="662"/>
                </a:lnTo>
                <a:lnTo>
                  <a:pt x="1754" y="664"/>
                </a:lnTo>
                <a:lnTo>
                  <a:pt x="1753" y="683"/>
                </a:lnTo>
                <a:lnTo>
                  <a:pt x="1739" y="703"/>
                </a:lnTo>
                <a:lnTo>
                  <a:pt x="1729" y="691"/>
                </a:lnTo>
                <a:close/>
                <a:moveTo>
                  <a:pt x="1867" y="619"/>
                </a:moveTo>
                <a:lnTo>
                  <a:pt x="1881" y="635"/>
                </a:lnTo>
                <a:lnTo>
                  <a:pt x="1878" y="650"/>
                </a:lnTo>
                <a:lnTo>
                  <a:pt x="1872" y="652"/>
                </a:lnTo>
                <a:lnTo>
                  <a:pt x="1864" y="638"/>
                </a:lnTo>
                <a:lnTo>
                  <a:pt x="1866" y="635"/>
                </a:lnTo>
                <a:lnTo>
                  <a:pt x="1869" y="641"/>
                </a:lnTo>
                <a:lnTo>
                  <a:pt x="1867" y="619"/>
                </a:lnTo>
                <a:close/>
                <a:moveTo>
                  <a:pt x="1873" y="599"/>
                </a:moveTo>
                <a:lnTo>
                  <a:pt x="1883" y="582"/>
                </a:lnTo>
                <a:lnTo>
                  <a:pt x="1890" y="585"/>
                </a:lnTo>
                <a:lnTo>
                  <a:pt x="1895" y="596"/>
                </a:lnTo>
                <a:lnTo>
                  <a:pt x="1892" y="627"/>
                </a:lnTo>
                <a:lnTo>
                  <a:pt x="1878" y="618"/>
                </a:lnTo>
                <a:lnTo>
                  <a:pt x="1880" y="601"/>
                </a:lnTo>
                <a:lnTo>
                  <a:pt x="1873" y="599"/>
                </a:lnTo>
                <a:close/>
                <a:moveTo>
                  <a:pt x="1818" y="581"/>
                </a:moveTo>
                <a:lnTo>
                  <a:pt x="1822" y="579"/>
                </a:lnTo>
                <a:lnTo>
                  <a:pt x="1813" y="594"/>
                </a:lnTo>
                <a:lnTo>
                  <a:pt x="1818" y="581"/>
                </a:lnTo>
                <a:close/>
                <a:moveTo>
                  <a:pt x="1581" y="494"/>
                </a:moveTo>
                <a:lnTo>
                  <a:pt x="1578" y="483"/>
                </a:lnTo>
                <a:lnTo>
                  <a:pt x="1593" y="464"/>
                </a:lnTo>
                <a:lnTo>
                  <a:pt x="1637" y="467"/>
                </a:lnTo>
                <a:lnTo>
                  <a:pt x="1654" y="463"/>
                </a:lnTo>
                <a:lnTo>
                  <a:pt x="1669" y="472"/>
                </a:lnTo>
                <a:lnTo>
                  <a:pt x="1699" y="474"/>
                </a:lnTo>
                <a:lnTo>
                  <a:pt x="1707" y="491"/>
                </a:lnTo>
                <a:lnTo>
                  <a:pt x="1714" y="492"/>
                </a:lnTo>
                <a:lnTo>
                  <a:pt x="1716" y="505"/>
                </a:lnTo>
                <a:lnTo>
                  <a:pt x="1711" y="513"/>
                </a:lnTo>
                <a:lnTo>
                  <a:pt x="1661" y="488"/>
                </a:lnTo>
                <a:lnTo>
                  <a:pt x="1640" y="491"/>
                </a:lnTo>
                <a:lnTo>
                  <a:pt x="1624" y="484"/>
                </a:lnTo>
                <a:lnTo>
                  <a:pt x="1607" y="492"/>
                </a:lnTo>
                <a:lnTo>
                  <a:pt x="1590" y="480"/>
                </a:lnTo>
                <a:lnTo>
                  <a:pt x="1581" y="494"/>
                </a:lnTo>
                <a:close/>
                <a:moveTo>
                  <a:pt x="1665" y="418"/>
                </a:moveTo>
                <a:lnTo>
                  <a:pt x="1688" y="412"/>
                </a:lnTo>
                <a:lnTo>
                  <a:pt x="1694" y="426"/>
                </a:lnTo>
                <a:lnTo>
                  <a:pt x="1677" y="429"/>
                </a:lnTo>
                <a:lnTo>
                  <a:pt x="1665" y="418"/>
                </a:lnTo>
                <a:close/>
                <a:moveTo>
                  <a:pt x="1694" y="339"/>
                </a:moveTo>
                <a:lnTo>
                  <a:pt x="1707" y="336"/>
                </a:lnTo>
                <a:lnTo>
                  <a:pt x="1733" y="349"/>
                </a:lnTo>
                <a:lnTo>
                  <a:pt x="1714" y="354"/>
                </a:lnTo>
                <a:lnTo>
                  <a:pt x="1695" y="347"/>
                </a:lnTo>
                <a:lnTo>
                  <a:pt x="1691" y="344"/>
                </a:lnTo>
                <a:lnTo>
                  <a:pt x="1694" y="339"/>
                </a:lnTo>
                <a:close/>
                <a:moveTo>
                  <a:pt x="1934" y="409"/>
                </a:moveTo>
                <a:lnTo>
                  <a:pt x="1986" y="412"/>
                </a:lnTo>
                <a:lnTo>
                  <a:pt x="1991" y="420"/>
                </a:lnTo>
                <a:lnTo>
                  <a:pt x="1965" y="418"/>
                </a:lnTo>
                <a:lnTo>
                  <a:pt x="1934" y="409"/>
                </a:lnTo>
                <a:close/>
                <a:moveTo>
                  <a:pt x="1927" y="367"/>
                </a:moveTo>
                <a:lnTo>
                  <a:pt x="1946" y="367"/>
                </a:lnTo>
                <a:lnTo>
                  <a:pt x="1966" y="386"/>
                </a:lnTo>
                <a:lnTo>
                  <a:pt x="1954" y="387"/>
                </a:lnTo>
                <a:lnTo>
                  <a:pt x="1927" y="367"/>
                </a:lnTo>
                <a:close/>
                <a:moveTo>
                  <a:pt x="2188" y="452"/>
                </a:moveTo>
                <a:lnTo>
                  <a:pt x="2189" y="564"/>
                </a:lnTo>
                <a:lnTo>
                  <a:pt x="2191" y="625"/>
                </a:lnTo>
                <a:lnTo>
                  <a:pt x="2186" y="645"/>
                </a:lnTo>
                <a:lnTo>
                  <a:pt x="2192" y="659"/>
                </a:lnTo>
                <a:lnTo>
                  <a:pt x="2198" y="754"/>
                </a:lnTo>
                <a:lnTo>
                  <a:pt x="2181" y="745"/>
                </a:lnTo>
                <a:lnTo>
                  <a:pt x="2137" y="704"/>
                </a:lnTo>
                <a:lnTo>
                  <a:pt x="2118" y="709"/>
                </a:lnTo>
                <a:lnTo>
                  <a:pt x="2101" y="706"/>
                </a:lnTo>
                <a:lnTo>
                  <a:pt x="2095" y="713"/>
                </a:lnTo>
                <a:lnTo>
                  <a:pt x="2091" y="708"/>
                </a:lnTo>
                <a:lnTo>
                  <a:pt x="2088" y="718"/>
                </a:lnTo>
                <a:lnTo>
                  <a:pt x="2078" y="715"/>
                </a:lnTo>
                <a:lnTo>
                  <a:pt x="2037" y="720"/>
                </a:lnTo>
                <a:lnTo>
                  <a:pt x="2047" y="691"/>
                </a:lnTo>
                <a:lnTo>
                  <a:pt x="2061" y="675"/>
                </a:lnTo>
                <a:lnTo>
                  <a:pt x="2079" y="672"/>
                </a:lnTo>
                <a:lnTo>
                  <a:pt x="2093" y="681"/>
                </a:lnTo>
                <a:lnTo>
                  <a:pt x="2093" y="674"/>
                </a:lnTo>
                <a:lnTo>
                  <a:pt x="2084" y="667"/>
                </a:lnTo>
                <a:lnTo>
                  <a:pt x="2091" y="662"/>
                </a:lnTo>
                <a:lnTo>
                  <a:pt x="2073" y="653"/>
                </a:lnTo>
                <a:lnTo>
                  <a:pt x="2078" y="650"/>
                </a:lnTo>
                <a:lnTo>
                  <a:pt x="2081" y="636"/>
                </a:lnTo>
                <a:lnTo>
                  <a:pt x="2068" y="619"/>
                </a:lnTo>
                <a:lnTo>
                  <a:pt x="2064" y="599"/>
                </a:lnTo>
                <a:lnTo>
                  <a:pt x="2053" y="582"/>
                </a:lnTo>
                <a:lnTo>
                  <a:pt x="2042" y="581"/>
                </a:lnTo>
                <a:lnTo>
                  <a:pt x="2033" y="571"/>
                </a:lnTo>
                <a:lnTo>
                  <a:pt x="1983" y="552"/>
                </a:lnTo>
                <a:lnTo>
                  <a:pt x="1912" y="539"/>
                </a:lnTo>
                <a:lnTo>
                  <a:pt x="1900" y="530"/>
                </a:lnTo>
                <a:lnTo>
                  <a:pt x="1893" y="517"/>
                </a:lnTo>
                <a:lnTo>
                  <a:pt x="1878" y="517"/>
                </a:lnTo>
                <a:lnTo>
                  <a:pt x="1878" y="522"/>
                </a:lnTo>
                <a:lnTo>
                  <a:pt x="1852" y="501"/>
                </a:lnTo>
                <a:lnTo>
                  <a:pt x="1855" y="469"/>
                </a:lnTo>
                <a:lnTo>
                  <a:pt x="1836" y="515"/>
                </a:lnTo>
                <a:lnTo>
                  <a:pt x="1830" y="522"/>
                </a:lnTo>
                <a:lnTo>
                  <a:pt x="1810" y="522"/>
                </a:lnTo>
                <a:lnTo>
                  <a:pt x="1805" y="488"/>
                </a:lnTo>
                <a:lnTo>
                  <a:pt x="1801" y="488"/>
                </a:lnTo>
                <a:lnTo>
                  <a:pt x="1785" y="471"/>
                </a:lnTo>
                <a:lnTo>
                  <a:pt x="1767" y="469"/>
                </a:lnTo>
                <a:lnTo>
                  <a:pt x="1768" y="461"/>
                </a:lnTo>
                <a:lnTo>
                  <a:pt x="1776" y="457"/>
                </a:lnTo>
                <a:lnTo>
                  <a:pt x="1798" y="458"/>
                </a:lnTo>
                <a:lnTo>
                  <a:pt x="1824" y="447"/>
                </a:lnTo>
                <a:lnTo>
                  <a:pt x="1842" y="450"/>
                </a:lnTo>
                <a:lnTo>
                  <a:pt x="1850" y="447"/>
                </a:lnTo>
                <a:lnTo>
                  <a:pt x="1856" y="429"/>
                </a:lnTo>
                <a:lnTo>
                  <a:pt x="1812" y="440"/>
                </a:lnTo>
                <a:lnTo>
                  <a:pt x="1784" y="440"/>
                </a:lnTo>
                <a:lnTo>
                  <a:pt x="1771" y="433"/>
                </a:lnTo>
                <a:lnTo>
                  <a:pt x="1758" y="407"/>
                </a:lnTo>
                <a:lnTo>
                  <a:pt x="1736" y="400"/>
                </a:lnTo>
                <a:lnTo>
                  <a:pt x="1734" y="407"/>
                </a:lnTo>
                <a:lnTo>
                  <a:pt x="1719" y="400"/>
                </a:lnTo>
                <a:lnTo>
                  <a:pt x="1733" y="373"/>
                </a:lnTo>
                <a:lnTo>
                  <a:pt x="1759" y="367"/>
                </a:lnTo>
                <a:lnTo>
                  <a:pt x="1775" y="353"/>
                </a:lnTo>
                <a:lnTo>
                  <a:pt x="1785" y="350"/>
                </a:lnTo>
                <a:lnTo>
                  <a:pt x="1809" y="353"/>
                </a:lnTo>
                <a:lnTo>
                  <a:pt x="1832" y="369"/>
                </a:lnTo>
                <a:lnTo>
                  <a:pt x="1861" y="369"/>
                </a:lnTo>
                <a:lnTo>
                  <a:pt x="1869" y="392"/>
                </a:lnTo>
                <a:lnTo>
                  <a:pt x="1866" y="427"/>
                </a:lnTo>
                <a:lnTo>
                  <a:pt x="1869" y="446"/>
                </a:lnTo>
                <a:lnTo>
                  <a:pt x="1881" y="463"/>
                </a:lnTo>
                <a:lnTo>
                  <a:pt x="1883" y="450"/>
                </a:lnTo>
                <a:lnTo>
                  <a:pt x="1892" y="452"/>
                </a:lnTo>
                <a:lnTo>
                  <a:pt x="1901" y="480"/>
                </a:lnTo>
                <a:lnTo>
                  <a:pt x="1917" y="488"/>
                </a:lnTo>
                <a:lnTo>
                  <a:pt x="1934" y="488"/>
                </a:lnTo>
                <a:lnTo>
                  <a:pt x="1939" y="477"/>
                </a:lnTo>
                <a:lnTo>
                  <a:pt x="1968" y="450"/>
                </a:lnTo>
                <a:lnTo>
                  <a:pt x="1973" y="437"/>
                </a:lnTo>
                <a:lnTo>
                  <a:pt x="2002" y="432"/>
                </a:lnTo>
                <a:lnTo>
                  <a:pt x="2010" y="427"/>
                </a:lnTo>
                <a:lnTo>
                  <a:pt x="2011" y="415"/>
                </a:lnTo>
                <a:lnTo>
                  <a:pt x="2039" y="398"/>
                </a:lnTo>
                <a:lnTo>
                  <a:pt x="2122" y="438"/>
                </a:lnTo>
                <a:lnTo>
                  <a:pt x="2159" y="440"/>
                </a:lnTo>
                <a:lnTo>
                  <a:pt x="2176" y="452"/>
                </a:lnTo>
                <a:lnTo>
                  <a:pt x="2188" y="452"/>
                </a:lnTo>
                <a:close/>
                <a:moveTo>
                  <a:pt x="1353" y="518"/>
                </a:moveTo>
                <a:lnTo>
                  <a:pt x="1361" y="518"/>
                </a:lnTo>
                <a:lnTo>
                  <a:pt x="1361" y="526"/>
                </a:lnTo>
                <a:lnTo>
                  <a:pt x="1355" y="525"/>
                </a:lnTo>
                <a:lnTo>
                  <a:pt x="1353" y="518"/>
                </a:lnTo>
                <a:close/>
                <a:moveTo>
                  <a:pt x="1343" y="562"/>
                </a:moveTo>
                <a:lnTo>
                  <a:pt x="1351" y="534"/>
                </a:lnTo>
                <a:lnTo>
                  <a:pt x="1361" y="552"/>
                </a:lnTo>
                <a:lnTo>
                  <a:pt x="1353" y="560"/>
                </a:lnTo>
                <a:lnTo>
                  <a:pt x="1360" y="579"/>
                </a:lnTo>
                <a:lnTo>
                  <a:pt x="1343" y="593"/>
                </a:lnTo>
                <a:lnTo>
                  <a:pt x="1336" y="582"/>
                </a:lnTo>
                <a:lnTo>
                  <a:pt x="1343" y="562"/>
                </a:lnTo>
                <a:close/>
                <a:moveTo>
                  <a:pt x="1323" y="551"/>
                </a:moveTo>
                <a:lnTo>
                  <a:pt x="1338" y="547"/>
                </a:lnTo>
                <a:lnTo>
                  <a:pt x="1336" y="581"/>
                </a:lnTo>
                <a:lnTo>
                  <a:pt x="1321" y="577"/>
                </a:lnTo>
                <a:lnTo>
                  <a:pt x="1323" y="551"/>
                </a:lnTo>
                <a:close/>
                <a:moveTo>
                  <a:pt x="1298" y="573"/>
                </a:moveTo>
                <a:lnTo>
                  <a:pt x="1307" y="569"/>
                </a:lnTo>
                <a:lnTo>
                  <a:pt x="1310" y="581"/>
                </a:lnTo>
                <a:lnTo>
                  <a:pt x="1306" y="582"/>
                </a:lnTo>
                <a:lnTo>
                  <a:pt x="1298" y="573"/>
                </a:lnTo>
                <a:close/>
                <a:moveTo>
                  <a:pt x="1265" y="273"/>
                </a:moveTo>
                <a:lnTo>
                  <a:pt x="1280" y="274"/>
                </a:lnTo>
                <a:lnTo>
                  <a:pt x="1287" y="283"/>
                </a:lnTo>
                <a:lnTo>
                  <a:pt x="1326" y="285"/>
                </a:lnTo>
                <a:lnTo>
                  <a:pt x="1346" y="293"/>
                </a:lnTo>
                <a:lnTo>
                  <a:pt x="1363" y="288"/>
                </a:lnTo>
                <a:lnTo>
                  <a:pt x="1394" y="293"/>
                </a:lnTo>
                <a:lnTo>
                  <a:pt x="1405" y="290"/>
                </a:lnTo>
                <a:lnTo>
                  <a:pt x="1446" y="254"/>
                </a:lnTo>
                <a:lnTo>
                  <a:pt x="1453" y="257"/>
                </a:lnTo>
                <a:lnTo>
                  <a:pt x="1453" y="271"/>
                </a:lnTo>
                <a:lnTo>
                  <a:pt x="1428" y="305"/>
                </a:lnTo>
                <a:lnTo>
                  <a:pt x="1411" y="317"/>
                </a:lnTo>
                <a:lnTo>
                  <a:pt x="1369" y="320"/>
                </a:lnTo>
                <a:lnTo>
                  <a:pt x="1348" y="311"/>
                </a:lnTo>
                <a:lnTo>
                  <a:pt x="1302" y="315"/>
                </a:lnTo>
                <a:lnTo>
                  <a:pt x="1276" y="310"/>
                </a:lnTo>
                <a:lnTo>
                  <a:pt x="1265" y="315"/>
                </a:lnTo>
                <a:lnTo>
                  <a:pt x="1236" y="313"/>
                </a:lnTo>
                <a:lnTo>
                  <a:pt x="1230" y="322"/>
                </a:lnTo>
                <a:lnTo>
                  <a:pt x="1221" y="344"/>
                </a:lnTo>
                <a:lnTo>
                  <a:pt x="1221" y="367"/>
                </a:lnTo>
                <a:lnTo>
                  <a:pt x="1236" y="378"/>
                </a:lnTo>
                <a:lnTo>
                  <a:pt x="1248" y="398"/>
                </a:lnTo>
                <a:lnTo>
                  <a:pt x="1267" y="396"/>
                </a:lnTo>
                <a:lnTo>
                  <a:pt x="1282" y="378"/>
                </a:lnTo>
                <a:lnTo>
                  <a:pt x="1290" y="373"/>
                </a:lnTo>
                <a:lnTo>
                  <a:pt x="1309" y="378"/>
                </a:lnTo>
                <a:lnTo>
                  <a:pt x="1312" y="371"/>
                </a:lnTo>
                <a:lnTo>
                  <a:pt x="1344" y="369"/>
                </a:lnTo>
                <a:lnTo>
                  <a:pt x="1346" y="362"/>
                </a:lnTo>
                <a:lnTo>
                  <a:pt x="1360" y="359"/>
                </a:lnTo>
                <a:lnTo>
                  <a:pt x="1368" y="359"/>
                </a:lnTo>
                <a:lnTo>
                  <a:pt x="1374" y="366"/>
                </a:lnTo>
                <a:lnTo>
                  <a:pt x="1374" y="375"/>
                </a:lnTo>
                <a:lnTo>
                  <a:pt x="1368" y="381"/>
                </a:lnTo>
                <a:lnTo>
                  <a:pt x="1357" y="375"/>
                </a:lnTo>
                <a:lnTo>
                  <a:pt x="1346" y="378"/>
                </a:lnTo>
                <a:lnTo>
                  <a:pt x="1323" y="404"/>
                </a:lnTo>
                <a:lnTo>
                  <a:pt x="1293" y="418"/>
                </a:lnTo>
                <a:lnTo>
                  <a:pt x="1278" y="417"/>
                </a:lnTo>
                <a:lnTo>
                  <a:pt x="1280" y="426"/>
                </a:lnTo>
                <a:lnTo>
                  <a:pt x="1292" y="432"/>
                </a:lnTo>
                <a:lnTo>
                  <a:pt x="1327" y="481"/>
                </a:lnTo>
                <a:lnTo>
                  <a:pt x="1319" y="488"/>
                </a:lnTo>
                <a:lnTo>
                  <a:pt x="1319" y="500"/>
                </a:lnTo>
                <a:lnTo>
                  <a:pt x="1335" y="513"/>
                </a:lnTo>
                <a:lnTo>
                  <a:pt x="1335" y="520"/>
                </a:lnTo>
                <a:lnTo>
                  <a:pt x="1344" y="523"/>
                </a:lnTo>
                <a:lnTo>
                  <a:pt x="1344" y="534"/>
                </a:lnTo>
                <a:lnTo>
                  <a:pt x="1315" y="540"/>
                </a:lnTo>
                <a:lnTo>
                  <a:pt x="1302" y="557"/>
                </a:lnTo>
                <a:lnTo>
                  <a:pt x="1290" y="556"/>
                </a:lnTo>
                <a:lnTo>
                  <a:pt x="1285" y="534"/>
                </a:lnTo>
                <a:lnTo>
                  <a:pt x="1289" y="523"/>
                </a:lnTo>
                <a:lnTo>
                  <a:pt x="1265" y="501"/>
                </a:lnTo>
                <a:lnTo>
                  <a:pt x="1258" y="489"/>
                </a:lnTo>
                <a:lnTo>
                  <a:pt x="1265" y="475"/>
                </a:lnTo>
                <a:lnTo>
                  <a:pt x="1264" y="458"/>
                </a:lnTo>
                <a:lnTo>
                  <a:pt x="1261" y="454"/>
                </a:lnTo>
                <a:lnTo>
                  <a:pt x="1252" y="454"/>
                </a:lnTo>
                <a:lnTo>
                  <a:pt x="1231" y="467"/>
                </a:lnTo>
                <a:lnTo>
                  <a:pt x="1228" y="477"/>
                </a:lnTo>
                <a:lnTo>
                  <a:pt x="1233" y="489"/>
                </a:lnTo>
                <a:lnTo>
                  <a:pt x="1236" y="551"/>
                </a:lnTo>
                <a:lnTo>
                  <a:pt x="1231" y="562"/>
                </a:lnTo>
                <a:lnTo>
                  <a:pt x="1235" y="588"/>
                </a:lnTo>
                <a:lnTo>
                  <a:pt x="1199" y="593"/>
                </a:lnTo>
                <a:lnTo>
                  <a:pt x="1193" y="590"/>
                </a:lnTo>
                <a:lnTo>
                  <a:pt x="1187" y="576"/>
                </a:lnTo>
                <a:lnTo>
                  <a:pt x="1199" y="520"/>
                </a:lnTo>
                <a:lnTo>
                  <a:pt x="1193" y="492"/>
                </a:lnTo>
                <a:lnTo>
                  <a:pt x="1171" y="494"/>
                </a:lnTo>
                <a:lnTo>
                  <a:pt x="1165" y="483"/>
                </a:lnTo>
                <a:lnTo>
                  <a:pt x="1163" y="455"/>
                </a:lnTo>
                <a:lnTo>
                  <a:pt x="1185" y="418"/>
                </a:lnTo>
                <a:lnTo>
                  <a:pt x="1185" y="393"/>
                </a:lnTo>
                <a:lnTo>
                  <a:pt x="1204" y="361"/>
                </a:lnTo>
                <a:lnTo>
                  <a:pt x="1207" y="342"/>
                </a:lnTo>
                <a:lnTo>
                  <a:pt x="1202" y="336"/>
                </a:lnTo>
                <a:lnTo>
                  <a:pt x="1210" y="327"/>
                </a:lnTo>
                <a:lnTo>
                  <a:pt x="1216" y="302"/>
                </a:lnTo>
                <a:lnTo>
                  <a:pt x="1226" y="293"/>
                </a:lnTo>
                <a:lnTo>
                  <a:pt x="1241" y="296"/>
                </a:lnTo>
                <a:lnTo>
                  <a:pt x="1252" y="276"/>
                </a:lnTo>
                <a:lnTo>
                  <a:pt x="1265" y="273"/>
                </a:lnTo>
                <a:close/>
                <a:moveTo>
                  <a:pt x="1041" y="484"/>
                </a:moveTo>
                <a:lnTo>
                  <a:pt x="1046" y="511"/>
                </a:lnTo>
                <a:lnTo>
                  <a:pt x="1038" y="518"/>
                </a:lnTo>
                <a:lnTo>
                  <a:pt x="1035" y="494"/>
                </a:lnTo>
                <a:lnTo>
                  <a:pt x="1041" y="484"/>
                </a:lnTo>
                <a:close/>
                <a:moveTo>
                  <a:pt x="1104" y="142"/>
                </a:moveTo>
                <a:lnTo>
                  <a:pt x="1095" y="147"/>
                </a:lnTo>
                <a:lnTo>
                  <a:pt x="1112" y="158"/>
                </a:lnTo>
                <a:lnTo>
                  <a:pt x="1112" y="164"/>
                </a:lnTo>
                <a:lnTo>
                  <a:pt x="1087" y="171"/>
                </a:lnTo>
                <a:lnTo>
                  <a:pt x="1103" y="197"/>
                </a:lnTo>
                <a:lnTo>
                  <a:pt x="1123" y="229"/>
                </a:lnTo>
                <a:lnTo>
                  <a:pt x="1119" y="248"/>
                </a:lnTo>
                <a:lnTo>
                  <a:pt x="1167" y="293"/>
                </a:lnTo>
                <a:lnTo>
                  <a:pt x="1143" y="296"/>
                </a:lnTo>
                <a:lnTo>
                  <a:pt x="1129" y="293"/>
                </a:lnTo>
                <a:lnTo>
                  <a:pt x="1123" y="285"/>
                </a:lnTo>
                <a:lnTo>
                  <a:pt x="1123" y="296"/>
                </a:lnTo>
                <a:lnTo>
                  <a:pt x="1114" y="302"/>
                </a:lnTo>
                <a:lnTo>
                  <a:pt x="1104" y="317"/>
                </a:lnTo>
                <a:lnTo>
                  <a:pt x="1099" y="356"/>
                </a:lnTo>
                <a:lnTo>
                  <a:pt x="1082" y="387"/>
                </a:lnTo>
                <a:lnTo>
                  <a:pt x="1070" y="392"/>
                </a:lnTo>
                <a:lnTo>
                  <a:pt x="1044" y="415"/>
                </a:lnTo>
                <a:lnTo>
                  <a:pt x="1050" y="418"/>
                </a:lnTo>
                <a:lnTo>
                  <a:pt x="1052" y="432"/>
                </a:lnTo>
                <a:lnTo>
                  <a:pt x="1061" y="437"/>
                </a:lnTo>
                <a:lnTo>
                  <a:pt x="1057" y="452"/>
                </a:lnTo>
                <a:lnTo>
                  <a:pt x="1050" y="452"/>
                </a:lnTo>
                <a:lnTo>
                  <a:pt x="1032" y="497"/>
                </a:lnTo>
                <a:lnTo>
                  <a:pt x="979" y="523"/>
                </a:lnTo>
                <a:lnTo>
                  <a:pt x="972" y="525"/>
                </a:lnTo>
                <a:lnTo>
                  <a:pt x="965" y="497"/>
                </a:lnTo>
                <a:lnTo>
                  <a:pt x="958" y="492"/>
                </a:lnTo>
                <a:lnTo>
                  <a:pt x="952" y="488"/>
                </a:lnTo>
                <a:lnTo>
                  <a:pt x="927" y="491"/>
                </a:lnTo>
                <a:lnTo>
                  <a:pt x="922" y="480"/>
                </a:lnTo>
                <a:lnTo>
                  <a:pt x="908" y="480"/>
                </a:lnTo>
                <a:lnTo>
                  <a:pt x="894" y="472"/>
                </a:lnTo>
                <a:lnTo>
                  <a:pt x="893" y="480"/>
                </a:lnTo>
                <a:lnTo>
                  <a:pt x="874" y="488"/>
                </a:lnTo>
                <a:lnTo>
                  <a:pt x="868" y="489"/>
                </a:lnTo>
                <a:lnTo>
                  <a:pt x="842" y="492"/>
                </a:lnTo>
                <a:lnTo>
                  <a:pt x="833" y="461"/>
                </a:lnTo>
                <a:lnTo>
                  <a:pt x="826" y="469"/>
                </a:lnTo>
                <a:lnTo>
                  <a:pt x="818" y="466"/>
                </a:lnTo>
                <a:lnTo>
                  <a:pt x="806" y="472"/>
                </a:lnTo>
                <a:lnTo>
                  <a:pt x="786" y="472"/>
                </a:lnTo>
                <a:lnTo>
                  <a:pt x="777" y="466"/>
                </a:lnTo>
                <a:lnTo>
                  <a:pt x="767" y="469"/>
                </a:lnTo>
                <a:lnTo>
                  <a:pt x="753" y="418"/>
                </a:lnTo>
                <a:lnTo>
                  <a:pt x="755" y="404"/>
                </a:lnTo>
                <a:lnTo>
                  <a:pt x="752" y="387"/>
                </a:lnTo>
                <a:lnTo>
                  <a:pt x="738" y="366"/>
                </a:lnTo>
                <a:lnTo>
                  <a:pt x="718" y="354"/>
                </a:lnTo>
                <a:lnTo>
                  <a:pt x="716" y="345"/>
                </a:lnTo>
                <a:lnTo>
                  <a:pt x="715" y="327"/>
                </a:lnTo>
                <a:lnTo>
                  <a:pt x="706" y="311"/>
                </a:lnTo>
                <a:lnTo>
                  <a:pt x="706" y="285"/>
                </a:lnTo>
                <a:lnTo>
                  <a:pt x="716" y="260"/>
                </a:lnTo>
                <a:lnTo>
                  <a:pt x="735" y="239"/>
                </a:lnTo>
                <a:lnTo>
                  <a:pt x="736" y="251"/>
                </a:lnTo>
                <a:lnTo>
                  <a:pt x="755" y="285"/>
                </a:lnTo>
                <a:lnTo>
                  <a:pt x="767" y="288"/>
                </a:lnTo>
                <a:lnTo>
                  <a:pt x="778" y="291"/>
                </a:lnTo>
                <a:lnTo>
                  <a:pt x="797" y="286"/>
                </a:lnTo>
                <a:lnTo>
                  <a:pt x="806" y="291"/>
                </a:lnTo>
                <a:lnTo>
                  <a:pt x="829" y="290"/>
                </a:lnTo>
                <a:lnTo>
                  <a:pt x="860" y="263"/>
                </a:lnTo>
                <a:lnTo>
                  <a:pt x="884" y="265"/>
                </a:lnTo>
                <a:lnTo>
                  <a:pt x="889" y="271"/>
                </a:lnTo>
                <a:lnTo>
                  <a:pt x="910" y="277"/>
                </a:lnTo>
                <a:lnTo>
                  <a:pt x="945" y="269"/>
                </a:lnTo>
                <a:lnTo>
                  <a:pt x="962" y="260"/>
                </a:lnTo>
                <a:lnTo>
                  <a:pt x="972" y="246"/>
                </a:lnTo>
                <a:lnTo>
                  <a:pt x="984" y="209"/>
                </a:lnTo>
                <a:lnTo>
                  <a:pt x="1006" y="183"/>
                </a:lnTo>
                <a:lnTo>
                  <a:pt x="1023" y="134"/>
                </a:lnTo>
                <a:lnTo>
                  <a:pt x="1080" y="134"/>
                </a:lnTo>
                <a:lnTo>
                  <a:pt x="1104" y="142"/>
                </a:lnTo>
                <a:close/>
                <a:moveTo>
                  <a:pt x="650" y="450"/>
                </a:moveTo>
                <a:lnTo>
                  <a:pt x="662" y="449"/>
                </a:lnTo>
                <a:lnTo>
                  <a:pt x="676" y="458"/>
                </a:lnTo>
                <a:lnTo>
                  <a:pt x="670" y="477"/>
                </a:lnTo>
                <a:lnTo>
                  <a:pt x="648" y="474"/>
                </a:lnTo>
                <a:lnTo>
                  <a:pt x="645" y="463"/>
                </a:lnTo>
                <a:lnTo>
                  <a:pt x="650" y="450"/>
                </a:lnTo>
                <a:close/>
                <a:moveTo>
                  <a:pt x="534" y="420"/>
                </a:moveTo>
                <a:lnTo>
                  <a:pt x="545" y="404"/>
                </a:lnTo>
                <a:lnTo>
                  <a:pt x="555" y="404"/>
                </a:lnTo>
                <a:lnTo>
                  <a:pt x="560" y="412"/>
                </a:lnTo>
                <a:lnTo>
                  <a:pt x="563" y="401"/>
                </a:lnTo>
                <a:lnTo>
                  <a:pt x="569" y="401"/>
                </a:lnTo>
                <a:lnTo>
                  <a:pt x="586" y="444"/>
                </a:lnTo>
                <a:lnTo>
                  <a:pt x="605" y="449"/>
                </a:lnTo>
                <a:lnTo>
                  <a:pt x="605" y="472"/>
                </a:lnTo>
                <a:lnTo>
                  <a:pt x="599" y="474"/>
                </a:lnTo>
                <a:lnTo>
                  <a:pt x="577" y="463"/>
                </a:lnTo>
                <a:lnTo>
                  <a:pt x="562" y="432"/>
                </a:lnTo>
                <a:lnTo>
                  <a:pt x="534" y="420"/>
                </a:lnTo>
                <a:close/>
                <a:moveTo>
                  <a:pt x="6" y="0"/>
                </a:moveTo>
                <a:lnTo>
                  <a:pt x="0" y="3"/>
                </a:lnTo>
                <a:lnTo>
                  <a:pt x="3" y="20"/>
                </a:lnTo>
                <a:lnTo>
                  <a:pt x="8" y="16"/>
                </a:lnTo>
                <a:lnTo>
                  <a:pt x="6" y="0"/>
                </a:lnTo>
                <a:close/>
                <a:moveTo>
                  <a:pt x="998" y="645"/>
                </a:moveTo>
                <a:lnTo>
                  <a:pt x="1007" y="644"/>
                </a:lnTo>
                <a:lnTo>
                  <a:pt x="1010" y="650"/>
                </a:lnTo>
                <a:lnTo>
                  <a:pt x="1001" y="655"/>
                </a:lnTo>
                <a:lnTo>
                  <a:pt x="998" y="645"/>
                </a:lnTo>
                <a:close/>
                <a:moveTo>
                  <a:pt x="986" y="704"/>
                </a:moveTo>
                <a:lnTo>
                  <a:pt x="1001" y="704"/>
                </a:lnTo>
                <a:lnTo>
                  <a:pt x="1015" y="715"/>
                </a:lnTo>
                <a:lnTo>
                  <a:pt x="1015" y="721"/>
                </a:lnTo>
                <a:lnTo>
                  <a:pt x="1001" y="729"/>
                </a:lnTo>
                <a:lnTo>
                  <a:pt x="996" y="738"/>
                </a:lnTo>
                <a:lnTo>
                  <a:pt x="981" y="720"/>
                </a:lnTo>
                <a:lnTo>
                  <a:pt x="964" y="715"/>
                </a:lnTo>
                <a:lnTo>
                  <a:pt x="965" y="703"/>
                </a:lnTo>
                <a:lnTo>
                  <a:pt x="986" y="704"/>
                </a:lnTo>
                <a:close/>
                <a:moveTo>
                  <a:pt x="1035" y="721"/>
                </a:moveTo>
                <a:lnTo>
                  <a:pt x="1046" y="711"/>
                </a:lnTo>
                <a:lnTo>
                  <a:pt x="1061" y="715"/>
                </a:lnTo>
                <a:lnTo>
                  <a:pt x="1060" y="743"/>
                </a:lnTo>
                <a:lnTo>
                  <a:pt x="1027" y="741"/>
                </a:lnTo>
                <a:lnTo>
                  <a:pt x="1035" y="721"/>
                </a:lnTo>
                <a:close/>
                <a:moveTo>
                  <a:pt x="1080" y="720"/>
                </a:moveTo>
                <a:lnTo>
                  <a:pt x="1104" y="721"/>
                </a:lnTo>
                <a:lnTo>
                  <a:pt x="1117" y="733"/>
                </a:lnTo>
                <a:lnTo>
                  <a:pt x="1133" y="729"/>
                </a:lnTo>
                <a:lnTo>
                  <a:pt x="1116" y="715"/>
                </a:lnTo>
                <a:lnTo>
                  <a:pt x="1114" y="708"/>
                </a:lnTo>
                <a:lnTo>
                  <a:pt x="1121" y="704"/>
                </a:lnTo>
                <a:lnTo>
                  <a:pt x="1134" y="716"/>
                </a:lnTo>
                <a:lnTo>
                  <a:pt x="1148" y="713"/>
                </a:lnTo>
                <a:lnTo>
                  <a:pt x="1154" y="724"/>
                </a:lnTo>
                <a:lnTo>
                  <a:pt x="1163" y="713"/>
                </a:lnTo>
                <a:lnTo>
                  <a:pt x="1177" y="733"/>
                </a:lnTo>
                <a:lnTo>
                  <a:pt x="1165" y="732"/>
                </a:lnTo>
                <a:lnTo>
                  <a:pt x="1163" y="738"/>
                </a:lnTo>
                <a:lnTo>
                  <a:pt x="1153" y="740"/>
                </a:lnTo>
                <a:lnTo>
                  <a:pt x="1143" y="733"/>
                </a:lnTo>
                <a:lnTo>
                  <a:pt x="1108" y="746"/>
                </a:lnTo>
                <a:lnTo>
                  <a:pt x="1078" y="750"/>
                </a:lnTo>
                <a:lnTo>
                  <a:pt x="1070" y="746"/>
                </a:lnTo>
                <a:lnTo>
                  <a:pt x="1067" y="729"/>
                </a:lnTo>
                <a:lnTo>
                  <a:pt x="1080" y="720"/>
                </a:lnTo>
                <a:close/>
                <a:moveTo>
                  <a:pt x="1214" y="760"/>
                </a:moveTo>
                <a:lnTo>
                  <a:pt x="1241" y="780"/>
                </a:lnTo>
                <a:lnTo>
                  <a:pt x="1253" y="799"/>
                </a:lnTo>
                <a:lnTo>
                  <a:pt x="1239" y="808"/>
                </a:lnTo>
                <a:lnTo>
                  <a:pt x="1228" y="806"/>
                </a:lnTo>
                <a:lnTo>
                  <a:pt x="1199" y="783"/>
                </a:lnTo>
                <a:lnTo>
                  <a:pt x="1179" y="782"/>
                </a:lnTo>
                <a:lnTo>
                  <a:pt x="1171" y="769"/>
                </a:lnTo>
                <a:lnTo>
                  <a:pt x="1214" y="760"/>
                </a:lnTo>
                <a:close/>
                <a:moveTo>
                  <a:pt x="1214" y="721"/>
                </a:moveTo>
                <a:lnTo>
                  <a:pt x="1244" y="711"/>
                </a:lnTo>
                <a:lnTo>
                  <a:pt x="1267" y="716"/>
                </a:lnTo>
                <a:lnTo>
                  <a:pt x="1282" y="728"/>
                </a:lnTo>
                <a:lnTo>
                  <a:pt x="1309" y="721"/>
                </a:lnTo>
                <a:lnTo>
                  <a:pt x="1326" y="728"/>
                </a:lnTo>
                <a:lnTo>
                  <a:pt x="1348" y="715"/>
                </a:lnTo>
                <a:lnTo>
                  <a:pt x="1346" y="703"/>
                </a:lnTo>
                <a:lnTo>
                  <a:pt x="1353" y="716"/>
                </a:lnTo>
                <a:lnTo>
                  <a:pt x="1332" y="733"/>
                </a:lnTo>
                <a:lnTo>
                  <a:pt x="1265" y="745"/>
                </a:lnTo>
                <a:lnTo>
                  <a:pt x="1241" y="738"/>
                </a:lnTo>
                <a:lnTo>
                  <a:pt x="1211" y="738"/>
                </a:lnTo>
                <a:lnTo>
                  <a:pt x="1207" y="723"/>
                </a:lnTo>
                <a:lnTo>
                  <a:pt x="1214" y="721"/>
                </a:lnTo>
                <a:close/>
                <a:moveTo>
                  <a:pt x="1368" y="724"/>
                </a:moveTo>
                <a:lnTo>
                  <a:pt x="1374" y="711"/>
                </a:lnTo>
                <a:lnTo>
                  <a:pt x="1378" y="716"/>
                </a:lnTo>
                <a:lnTo>
                  <a:pt x="1386" y="709"/>
                </a:lnTo>
                <a:lnTo>
                  <a:pt x="1391" y="713"/>
                </a:lnTo>
                <a:lnTo>
                  <a:pt x="1382" y="724"/>
                </a:lnTo>
                <a:lnTo>
                  <a:pt x="1377" y="728"/>
                </a:lnTo>
                <a:lnTo>
                  <a:pt x="1368" y="724"/>
                </a:lnTo>
                <a:close/>
                <a:moveTo>
                  <a:pt x="1399" y="723"/>
                </a:moveTo>
                <a:lnTo>
                  <a:pt x="1399" y="718"/>
                </a:lnTo>
                <a:lnTo>
                  <a:pt x="1411" y="711"/>
                </a:lnTo>
                <a:lnTo>
                  <a:pt x="1405" y="726"/>
                </a:lnTo>
                <a:lnTo>
                  <a:pt x="1399" y="723"/>
                </a:lnTo>
                <a:close/>
                <a:moveTo>
                  <a:pt x="1420" y="709"/>
                </a:moveTo>
                <a:lnTo>
                  <a:pt x="1446" y="708"/>
                </a:lnTo>
                <a:lnTo>
                  <a:pt x="1450" y="713"/>
                </a:lnTo>
                <a:lnTo>
                  <a:pt x="1439" y="721"/>
                </a:lnTo>
                <a:lnTo>
                  <a:pt x="1425" y="721"/>
                </a:lnTo>
                <a:lnTo>
                  <a:pt x="1419" y="720"/>
                </a:lnTo>
                <a:lnTo>
                  <a:pt x="1420" y="709"/>
                </a:lnTo>
                <a:close/>
                <a:moveTo>
                  <a:pt x="1348" y="834"/>
                </a:moveTo>
                <a:lnTo>
                  <a:pt x="1348" y="830"/>
                </a:lnTo>
                <a:lnTo>
                  <a:pt x="1372" y="816"/>
                </a:lnTo>
                <a:lnTo>
                  <a:pt x="1363" y="831"/>
                </a:lnTo>
                <a:lnTo>
                  <a:pt x="1357" y="836"/>
                </a:lnTo>
                <a:lnTo>
                  <a:pt x="1348" y="834"/>
                </a:lnTo>
                <a:close/>
                <a:moveTo>
                  <a:pt x="1450" y="767"/>
                </a:moveTo>
                <a:lnTo>
                  <a:pt x="1446" y="779"/>
                </a:lnTo>
                <a:lnTo>
                  <a:pt x="1431" y="796"/>
                </a:lnTo>
                <a:lnTo>
                  <a:pt x="1397" y="809"/>
                </a:lnTo>
                <a:lnTo>
                  <a:pt x="1382" y="809"/>
                </a:lnTo>
                <a:lnTo>
                  <a:pt x="1378" y="806"/>
                </a:lnTo>
                <a:lnTo>
                  <a:pt x="1383" y="799"/>
                </a:lnTo>
                <a:lnTo>
                  <a:pt x="1385" y="775"/>
                </a:lnTo>
                <a:lnTo>
                  <a:pt x="1391" y="771"/>
                </a:lnTo>
                <a:lnTo>
                  <a:pt x="1434" y="750"/>
                </a:lnTo>
                <a:lnTo>
                  <a:pt x="1450" y="732"/>
                </a:lnTo>
                <a:lnTo>
                  <a:pt x="1538" y="718"/>
                </a:lnTo>
                <a:lnTo>
                  <a:pt x="1546" y="720"/>
                </a:lnTo>
                <a:lnTo>
                  <a:pt x="1543" y="733"/>
                </a:lnTo>
                <a:lnTo>
                  <a:pt x="1468" y="760"/>
                </a:lnTo>
                <a:lnTo>
                  <a:pt x="1454" y="769"/>
                </a:lnTo>
                <a:lnTo>
                  <a:pt x="1450" y="767"/>
                </a:lnTo>
                <a:close/>
                <a:moveTo>
                  <a:pt x="1487" y="703"/>
                </a:moveTo>
                <a:lnTo>
                  <a:pt x="1482" y="698"/>
                </a:lnTo>
                <a:lnTo>
                  <a:pt x="1488" y="687"/>
                </a:lnTo>
                <a:lnTo>
                  <a:pt x="1502" y="687"/>
                </a:lnTo>
                <a:lnTo>
                  <a:pt x="1519" y="679"/>
                </a:lnTo>
                <a:lnTo>
                  <a:pt x="1529" y="689"/>
                </a:lnTo>
                <a:lnTo>
                  <a:pt x="1514" y="700"/>
                </a:lnTo>
                <a:lnTo>
                  <a:pt x="1487" y="703"/>
                </a:lnTo>
                <a:close/>
                <a:moveTo>
                  <a:pt x="76" y="76"/>
                </a:moveTo>
                <a:lnTo>
                  <a:pt x="99" y="76"/>
                </a:lnTo>
                <a:lnTo>
                  <a:pt x="110" y="88"/>
                </a:lnTo>
                <a:lnTo>
                  <a:pt x="127" y="92"/>
                </a:lnTo>
                <a:lnTo>
                  <a:pt x="184" y="96"/>
                </a:lnTo>
                <a:lnTo>
                  <a:pt x="198" y="107"/>
                </a:lnTo>
                <a:lnTo>
                  <a:pt x="218" y="142"/>
                </a:lnTo>
                <a:lnTo>
                  <a:pt x="238" y="163"/>
                </a:lnTo>
                <a:lnTo>
                  <a:pt x="269" y="175"/>
                </a:lnTo>
                <a:lnTo>
                  <a:pt x="293" y="198"/>
                </a:lnTo>
                <a:lnTo>
                  <a:pt x="296" y="206"/>
                </a:lnTo>
                <a:lnTo>
                  <a:pt x="306" y="210"/>
                </a:lnTo>
                <a:lnTo>
                  <a:pt x="323" y="232"/>
                </a:lnTo>
                <a:lnTo>
                  <a:pt x="334" y="237"/>
                </a:lnTo>
                <a:lnTo>
                  <a:pt x="337" y="231"/>
                </a:lnTo>
                <a:lnTo>
                  <a:pt x="344" y="231"/>
                </a:lnTo>
                <a:lnTo>
                  <a:pt x="359" y="252"/>
                </a:lnTo>
                <a:lnTo>
                  <a:pt x="388" y="266"/>
                </a:lnTo>
                <a:lnTo>
                  <a:pt x="396" y="277"/>
                </a:lnTo>
                <a:lnTo>
                  <a:pt x="399" y="282"/>
                </a:lnTo>
                <a:lnTo>
                  <a:pt x="401" y="271"/>
                </a:lnTo>
                <a:lnTo>
                  <a:pt x="415" y="285"/>
                </a:lnTo>
                <a:lnTo>
                  <a:pt x="437" y="286"/>
                </a:lnTo>
                <a:lnTo>
                  <a:pt x="437" y="293"/>
                </a:lnTo>
                <a:lnTo>
                  <a:pt x="432" y="296"/>
                </a:lnTo>
                <a:lnTo>
                  <a:pt x="435" y="313"/>
                </a:lnTo>
                <a:lnTo>
                  <a:pt x="454" y="310"/>
                </a:lnTo>
                <a:lnTo>
                  <a:pt x="464" y="319"/>
                </a:lnTo>
                <a:lnTo>
                  <a:pt x="467" y="330"/>
                </a:lnTo>
                <a:lnTo>
                  <a:pt x="457" y="342"/>
                </a:lnTo>
                <a:lnTo>
                  <a:pt x="466" y="345"/>
                </a:lnTo>
                <a:lnTo>
                  <a:pt x="454" y="364"/>
                </a:lnTo>
                <a:lnTo>
                  <a:pt x="457" y="371"/>
                </a:lnTo>
                <a:lnTo>
                  <a:pt x="474" y="379"/>
                </a:lnTo>
                <a:lnTo>
                  <a:pt x="484" y="383"/>
                </a:lnTo>
                <a:lnTo>
                  <a:pt x="496" y="383"/>
                </a:lnTo>
                <a:lnTo>
                  <a:pt x="504" y="420"/>
                </a:lnTo>
                <a:lnTo>
                  <a:pt x="521" y="429"/>
                </a:lnTo>
                <a:lnTo>
                  <a:pt x="517" y="440"/>
                </a:lnTo>
                <a:lnTo>
                  <a:pt x="523" y="441"/>
                </a:lnTo>
                <a:lnTo>
                  <a:pt x="555" y="446"/>
                </a:lnTo>
                <a:lnTo>
                  <a:pt x="572" y="469"/>
                </a:lnTo>
                <a:lnTo>
                  <a:pt x="574" y="477"/>
                </a:lnTo>
                <a:lnTo>
                  <a:pt x="568" y="505"/>
                </a:lnTo>
                <a:lnTo>
                  <a:pt x="571" y="511"/>
                </a:lnTo>
                <a:lnTo>
                  <a:pt x="562" y="598"/>
                </a:lnTo>
                <a:lnTo>
                  <a:pt x="542" y="585"/>
                </a:lnTo>
                <a:lnTo>
                  <a:pt x="537" y="596"/>
                </a:lnTo>
                <a:lnTo>
                  <a:pt x="532" y="598"/>
                </a:lnTo>
                <a:lnTo>
                  <a:pt x="515" y="585"/>
                </a:lnTo>
                <a:lnTo>
                  <a:pt x="509" y="588"/>
                </a:lnTo>
                <a:lnTo>
                  <a:pt x="515" y="599"/>
                </a:lnTo>
                <a:lnTo>
                  <a:pt x="511" y="602"/>
                </a:lnTo>
                <a:lnTo>
                  <a:pt x="470" y="560"/>
                </a:lnTo>
                <a:lnTo>
                  <a:pt x="412" y="522"/>
                </a:lnTo>
                <a:lnTo>
                  <a:pt x="398" y="498"/>
                </a:lnTo>
                <a:lnTo>
                  <a:pt x="342" y="440"/>
                </a:lnTo>
                <a:lnTo>
                  <a:pt x="337" y="420"/>
                </a:lnTo>
                <a:lnTo>
                  <a:pt x="322" y="387"/>
                </a:lnTo>
                <a:lnTo>
                  <a:pt x="308" y="362"/>
                </a:lnTo>
                <a:lnTo>
                  <a:pt x="293" y="347"/>
                </a:lnTo>
                <a:lnTo>
                  <a:pt x="285" y="332"/>
                </a:lnTo>
                <a:lnTo>
                  <a:pt x="260" y="320"/>
                </a:lnTo>
                <a:lnTo>
                  <a:pt x="242" y="256"/>
                </a:lnTo>
                <a:lnTo>
                  <a:pt x="227" y="240"/>
                </a:lnTo>
                <a:lnTo>
                  <a:pt x="193" y="227"/>
                </a:lnTo>
                <a:lnTo>
                  <a:pt x="184" y="201"/>
                </a:lnTo>
                <a:lnTo>
                  <a:pt x="180" y="198"/>
                </a:lnTo>
                <a:lnTo>
                  <a:pt x="163" y="175"/>
                </a:lnTo>
                <a:lnTo>
                  <a:pt x="147" y="163"/>
                </a:lnTo>
                <a:lnTo>
                  <a:pt x="139" y="163"/>
                </a:lnTo>
                <a:lnTo>
                  <a:pt x="90" y="115"/>
                </a:lnTo>
                <a:lnTo>
                  <a:pt x="78" y="93"/>
                </a:lnTo>
                <a:lnTo>
                  <a:pt x="76" y="76"/>
                </a:lnTo>
                <a:close/>
                <a:moveTo>
                  <a:pt x="851" y="713"/>
                </a:moveTo>
                <a:lnTo>
                  <a:pt x="833" y="718"/>
                </a:lnTo>
                <a:lnTo>
                  <a:pt x="811" y="708"/>
                </a:lnTo>
                <a:lnTo>
                  <a:pt x="792" y="709"/>
                </a:lnTo>
                <a:lnTo>
                  <a:pt x="741" y="687"/>
                </a:lnTo>
                <a:lnTo>
                  <a:pt x="698" y="684"/>
                </a:lnTo>
                <a:lnTo>
                  <a:pt x="686" y="691"/>
                </a:lnTo>
                <a:lnTo>
                  <a:pt x="645" y="679"/>
                </a:lnTo>
                <a:lnTo>
                  <a:pt x="616" y="678"/>
                </a:lnTo>
                <a:lnTo>
                  <a:pt x="589" y="666"/>
                </a:lnTo>
                <a:lnTo>
                  <a:pt x="596" y="653"/>
                </a:lnTo>
                <a:lnTo>
                  <a:pt x="542" y="644"/>
                </a:lnTo>
                <a:lnTo>
                  <a:pt x="538" y="633"/>
                </a:lnTo>
                <a:lnTo>
                  <a:pt x="543" y="638"/>
                </a:lnTo>
                <a:lnTo>
                  <a:pt x="554" y="636"/>
                </a:lnTo>
                <a:lnTo>
                  <a:pt x="571" y="608"/>
                </a:lnTo>
                <a:lnTo>
                  <a:pt x="582" y="605"/>
                </a:lnTo>
                <a:lnTo>
                  <a:pt x="611" y="610"/>
                </a:lnTo>
                <a:lnTo>
                  <a:pt x="631" y="605"/>
                </a:lnTo>
                <a:lnTo>
                  <a:pt x="640" y="616"/>
                </a:lnTo>
                <a:lnTo>
                  <a:pt x="676" y="621"/>
                </a:lnTo>
                <a:lnTo>
                  <a:pt x="693" y="644"/>
                </a:lnTo>
                <a:lnTo>
                  <a:pt x="701" y="645"/>
                </a:lnTo>
                <a:lnTo>
                  <a:pt x="733" y="645"/>
                </a:lnTo>
                <a:lnTo>
                  <a:pt x="772" y="652"/>
                </a:lnTo>
                <a:lnTo>
                  <a:pt x="777" y="649"/>
                </a:lnTo>
                <a:lnTo>
                  <a:pt x="786" y="630"/>
                </a:lnTo>
                <a:lnTo>
                  <a:pt x="800" y="627"/>
                </a:lnTo>
                <a:lnTo>
                  <a:pt x="809" y="638"/>
                </a:lnTo>
                <a:lnTo>
                  <a:pt x="825" y="635"/>
                </a:lnTo>
                <a:lnTo>
                  <a:pt x="850" y="647"/>
                </a:lnTo>
                <a:lnTo>
                  <a:pt x="871" y="650"/>
                </a:lnTo>
                <a:lnTo>
                  <a:pt x="884" y="667"/>
                </a:lnTo>
                <a:lnTo>
                  <a:pt x="885" y="681"/>
                </a:lnTo>
                <a:lnTo>
                  <a:pt x="894" y="684"/>
                </a:lnTo>
                <a:lnTo>
                  <a:pt x="942" y="684"/>
                </a:lnTo>
                <a:lnTo>
                  <a:pt x="956" y="691"/>
                </a:lnTo>
                <a:lnTo>
                  <a:pt x="955" y="720"/>
                </a:lnTo>
                <a:lnTo>
                  <a:pt x="962" y="738"/>
                </a:lnTo>
                <a:lnTo>
                  <a:pt x="953" y="729"/>
                </a:lnTo>
                <a:lnTo>
                  <a:pt x="901" y="715"/>
                </a:lnTo>
                <a:lnTo>
                  <a:pt x="879" y="720"/>
                </a:lnTo>
                <a:lnTo>
                  <a:pt x="851" y="713"/>
                </a:lnTo>
                <a:close/>
                <a:moveTo>
                  <a:pt x="99" y="205"/>
                </a:moveTo>
                <a:lnTo>
                  <a:pt x="104" y="200"/>
                </a:lnTo>
                <a:lnTo>
                  <a:pt x="129" y="217"/>
                </a:lnTo>
                <a:lnTo>
                  <a:pt x="132" y="225"/>
                </a:lnTo>
                <a:lnTo>
                  <a:pt x="99" y="205"/>
                </a:lnTo>
                <a:close/>
                <a:moveTo>
                  <a:pt x="167" y="269"/>
                </a:moveTo>
                <a:lnTo>
                  <a:pt x="176" y="263"/>
                </a:lnTo>
                <a:lnTo>
                  <a:pt x="200" y="286"/>
                </a:lnTo>
                <a:lnTo>
                  <a:pt x="200" y="305"/>
                </a:lnTo>
                <a:lnTo>
                  <a:pt x="195" y="305"/>
                </a:lnTo>
                <a:lnTo>
                  <a:pt x="167" y="269"/>
                </a:lnTo>
                <a:close/>
                <a:moveTo>
                  <a:pt x="237" y="376"/>
                </a:moveTo>
                <a:lnTo>
                  <a:pt x="249" y="378"/>
                </a:lnTo>
                <a:lnTo>
                  <a:pt x="263" y="412"/>
                </a:lnTo>
                <a:lnTo>
                  <a:pt x="251" y="412"/>
                </a:lnTo>
                <a:lnTo>
                  <a:pt x="240" y="401"/>
                </a:lnTo>
                <a:lnTo>
                  <a:pt x="234" y="384"/>
                </a:lnTo>
                <a:lnTo>
                  <a:pt x="237" y="376"/>
                </a:lnTo>
                <a:close/>
                <a:moveTo>
                  <a:pt x="478" y="268"/>
                </a:moveTo>
                <a:lnTo>
                  <a:pt x="472" y="263"/>
                </a:lnTo>
                <a:lnTo>
                  <a:pt x="464" y="266"/>
                </a:lnTo>
                <a:lnTo>
                  <a:pt x="464" y="273"/>
                </a:lnTo>
                <a:lnTo>
                  <a:pt x="478" y="268"/>
                </a:lnTo>
                <a:close/>
              </a:path>
            </a:pathLst>
          </a:custGeom>
          <a:solidFill>
            <a:srgbClr val="DFAA75"/>
          </a:solidFill>
          <a:ln w="6350" cap="flat" cmpd="sng">
            <a:solidFill>
              <a:srgbClr val="82673C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389" name="Freeform 78"/>
          <p:cNvSpPr>
            <a:spLocks noChangeAspect="1" noEditPoints="1"/>
          </p:cNvSpPr>
          <p:nvPr/>
        </p:nvSpPr>
        <p:spPr bwMode="gray">
          <a:xfrm>
            <a:off x="6946900" y="4070350"/>
            <a:ext cx="908050" cy="841375"/>
          </a:xfrm>
          <a:custGeom>
            <a:avLst/>
            <a:gdLst>
              <a:gd name="T0" fmla="*/ 2147483647 w 1865"/>
              <a:gd name="T1" fmla="*/ 2147483647 h 1730"/>
              <a:gd name="T2" fmla="*/ 2147483647 w 1865"/>
              <a:gd name="T3" fmla="*/ 2147483647 h 1730"/>
              <a:gd name="T4" fmla="*/ 2147483647 w 1865"/>
              <a:gd name="T5" fmla="*/ 2147483647 h 1730"/>
              <a:gd name="T6" fmla="*/ 2147483647 w 1865"/>
              <a:gd name="T7" fmla="*/ 2147483647 h 1730"/>
              <a:gd name="T8" fmla="*/ 2147483647 w 1865"/>
              <a:gd name="T9" fmla="*/ 2147483647 h 1730"/>
              <a:gd name="T10" fmla="*/ 2147483647 w 1865"/>
              <a:gd name="T11" fmla="*/ 2147483647 h 1730"/>
              <a:gd name="T12" fmla="*/ 2147483647 w 1865"/>
              <a:gd name="T13" fmla="*/ 2147483647 h 1730"/>
              <a:gd name="T14" fmla="*/ 2147483647 w 1865"/>
              <a:gd name="T15" fmla="*/ 2147483647 h 1730"/>
              <a:gd name="T16" fmla="*/ 2147483647 w 1865"/>
              <a:gd name="T17" fmla="*/ 2147483647 h 1730"/>
              <a:gd name="T18" fmla="*/ 2147483647 w 1865"/>
              <a:gd name="T19" fmla="*/ 2147483647 h 1730"/>
              <a:gd name="T20" fmla="*/ 2147483647 w 1865"/>
              <a:gd name="T21" fmla="*/ 2147483647 h 1730"/>
              <a:gd name="T22" fmla="*/ 2147483647 w 1865"/>
              <a:gd name="T23" fmla="*/ 2147483647 h 1730"/>
              <a:gd name="T24" fmla="*/ 2147483647 w 1865"/>
              <a:gd name="T25" fmla="*/ 2147483647 h 1730"/>
              <a:gd name="T26" fmla="*/ 2147483647 w 1865"/>
              <a:gd name="T27" fmla="*/ 2147483647 h 1730"/>
              <a:gd name="T28" fmla="*/ 2147483647 w 1865"/>
              <a:gd name="T29" fmla="*/ 2147483647 h 1730"/>
              <a:gd name="T30" fmla="*/ 2147483647 w 1865"/>
              <a:gd name="T31" fmla="*/ 2147483647 h 1730"/>
              <a:gd name="T32" fmla="*/ 2147483647 w 1865"/>
              <a:gd name="T33" fmla="*/ 2147483647 h 1730"/>
              <a:gd name="T34" fmla="*/ 2147483647 w 1865"/>
              <a:gd name="T35" fmla="*/ 2147483647 h 1730"/>
              <a:gd name="T36" fmla="*/ 2147483647 w 1865"/>
              <a:gd name="T37" fmla="*/ 2147483647 h 1730"/>
              <a:gd name="T38" fmla="*/ 2147483647 w 1865"/>
              <a:gd name="T39" fmla="*/ 2147483647 h 1730"/>
              <a:gd name="T40" fmla="*/ 2147483647 w 1865"/>
              <a:gd name="T41" fmla="*/ 2147483647 h 1730"/>
              <a:gd name="T42" fmla="*/ 2147483647 w 1865"/>
              <a:gd name="T43" fmla="*/ 2147483647 h 1730"/>
              <a:gd name="T44" fmla="*/ 2147483647 w 1865"/>
              <a:gd name="T45" fmla="*/ 2147483647 h 1730"/>
              <a:gd name="T46" fmla="*/ 2147483647 w 1865"/>
              <a:gd name="T47" fmla="*/ 2147483647 h 1730"/>
              <a:gd name="T48" fmla="*/ 2147483647 w 1865"/>
              <a:gd name="T49" fmla="*/ 2147483647 h 1730"/>
              <a:gd name="T50" fmla="*/ 2147483647 w 1865"/>
              <a:gd name="T51" fmla="*/ 2147483647 h 1730"/>
              <a:gd name="T52" fmla="*/ 2147483647 w 1865"/>
              <a:gd name="T53" fmla="*/ 2147483647 h 1730"/>
              <a:gd name="T54" fmla="*/ 2147483647 w 1865"/>
              <a:gd name="T55" fmla="*/ 2147483647 h 1730"/>
              <a:gd name="T56" fmla="*/ 2147483647 w 1865"/>
              <a:gd name="T57" fmla="*/ 2147483647 h 1730"/>
              <a:gd name="T58" fmla="*/ 2147483647 w 1865"/>
              <a:gd name="T59" fmla="*/ 2147483647 h 1730"/>
              <a:gd name="T60" fmla="*/ 2147483647 w 1865"/>
              <a:gd name="T61" fmla="*/ 2147483647 h 1730"/>
              <a:gd name="T62" fmla="*/ 2147483647 w 1865"/>
              <a:gd name="T63" fmla="*/ 2147483647 h 1730"/>
              <a:gd name="T64" fmla="*/ 2147483647 w 1865"/>
              <a:gd name="T65" fmla="*/ 2147483647 h 1730"/>
              <a:gd name="T66" fmla="*/ 2147483647 w 1865"/>
              <a:gd name="T67" fmla="*/ 2147483647 h 1730"/>
              <a:gd name="T68" fmla="*/ 2147483647 w 1865"/>
              <a:gd name="T69" fmla="*/ 2147483647 h 1730"/>
              <a:gd name="T70" fmla="*/ 2147483647 w 1865"/>
              <a:gd name="T71" fmla="*/ 2147483647 h 1730"/>
              <a:gd name="T72" fmla="*/ 2147483647 w 1865"/>
              <a:gd name="T73" fmla="*/ 2147483647 h 1730"/>
              <a:gd name="T74" fmla="*/ 2147483647 w 1865"/>
              <a:gd name="T75" fmla="*/ 2147483647 h 1730"/>
              <a:gd name="T76" fmla="*/ 2147483647 w 1865"/>
              <a:gd name="T77" fmla="*/ 2147483647 h 1730"/>
              <a:gd name="T78" fmla="*/ 2147483647 w 1865"/>
              <a:gd name="T79" fmla="*/ 2147483647 h 1730"/>
              <a:gd name="T80" fmla="*/ 2147483647 w 1865"/>
              <a:gd name="T81" fmla="*/ 2147483647 h 1730"/>
              <a:gd name="T82" fmla="*/ 2147483647 w 1865"/>
              <a:gd name="T83" fmla="*/ 2147483647 h 1730"/>
              <a:gd name="T84" fmla="*/ 2147483647 w 1865"/>
              <a:gd name="T85" fmla="*/ 2147483647 h 1730"/>
              <a:gd name="T86" fmla="*/ 2147483647 w 1865"/>
              <a:gd name="T87" fmla="*/ 2147483647 h 1730"/>
              <a:gd name="T88" fmla="*/ 0 w 1865"/>
              <a:gd name="T89" fmla="*/ 2147483647 h 1730"/>
              <a:gd name="T90" fmla="*/ 2147483647 w 1865"/>
              <a:gd name="T91" fmla="*/ 2147483647 h 1730"/>
              <a:gd name="T92" fmla="*/ 2147483647 w 1865"/>
              <a:gd name="T93" fmla="*/ 2147483647 h 1730"/>
              <a:gd name="T94" fmla="*/ 2147483647 w 1865"/>
              <a:gd name="T95" fmla="*/ 2147483647 h 1730"/>
              <a:gd name="T96" fmla="*/ 2147483647 w 1865"/>
              <a:gd name="T97" fmla="*/ 2147483647 h 1730"/>
              <a:gd name="T98" fmla="*/ 2147483647 w 1865"/>
              <a:gd name="T99" fmla="*/ 2147483647 h 1730"/>
              <a:gd name="T100" fmla="*/ 2147483647 w 1865"/>
              <a:gd name="T101" fmla="*/ 2147483647 h 1730"/>
              <a:gd name="T102" fmla="*/ 2147483647 w 1865"/>
              <a:gd name="T103" fmla="*/ 2147483647 h 1730"/>
              <a:gd name="T104" fmla="*/ 2147483647 w 1865"/>
              <a:gd name="T105" fmla="*/ 2147483647 h 1730"/>
              <a:gd name="T106" fmla="*/ 2147483647 w 1865"/>
              <a:gd name="T107" fmla="*/ 2147483647 h 1730"/>
              <a:gd name="T108" fmla="*/ 2147483647 w 1865"/>
              <a:gd name="T109" fmla="*/ 2147483647 h 1730"/>
              <a:gd name="T110" fmla="*/ 2147483647 w 1865"/>
              <a:gd name="T111" fmla="*/ 2147483647 h 1730"/>
              <a:gd name="T112" fmla="*/ 2147483647 w 1865"/>
              <a:gd name="T113" fmla="*/ 2147483647 h 1730"/>
              <a:gd name="T114" fmla="*/ 2147483647 w 1865"/>
              <a:gd name="T115" fmla="*/ 2147483647 h 1730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865"/>
              <a:gd name="T175" fmla="*/ 0 h 1730"/>
              <a:gd name="T176" fmla="*/ 1865 w 1865"/>
              <a:gd name="T177" fmla="*/ 1730 h 1730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865" h="1730">
                <a:moveTo>
                  <a:pt x="89" y="1139"/>
                </a:moveTo>
                <a:lnTo>
                  <a:pt x="90" y="1177"/>
                </a:lnTo>
                <a:lnTo>
                  <a:pt x="109" y="1181"/>
                </a:lnTo>
                <a:lnTo>
                  <a:pt x="138" y="1209"/>
                </a:lnTo>
                <a:lnTo>
                  <a:pt x="160" y="1220"/>
                </a:lnTo>
                <a:lnTo>
                  <a:pt x="200" y="1220"/>
                </a:lnTo>
                <a:lnTo>
                  <a:pt x="206" y="1226"/>
                </a:lnTo>
                <a:lnTo>
                  <a:pt x="219" y="1224"/>
                </a:lnTo>
                <a:lnTo>
                  <a:pt x="220" y="1215"/>
                </a:lnTo>
                <a:lnTo>
                  <a:pt x="236" y="1217"/>
                </a:lnTo>
                <a:lnTo>
                  <a:pt x="265" y="1190"/>
                </a:lnTo>
                <a:lnTo>
                  <a:pt x="288" y="1187"/>
                </a:lnTo>
                <a:lnTo>
                  <a:pt x="299" y="1170"/>
                </a:lnTo>
                <a:lnTo>
                  <a:pt x="316" y="1158"/>
                </a:lnTo>
                <a:lnTo>
                  <a:pt x="409" y="1153"/>
                </a:lnTo>
                <a:lnTo>
                  <a:pt x="417" y="1161"/>
                </a:lnTo>
                <a:lnTo>
                  <a:pt x="485" y="1153"/>
                </a:lnTo>
                <a:lnTo>
                  <a:pt x="505" y="1110"/>
                </a:lnTo>
                <a:lnTo>
                  <a:pt x="596" y="1067"/>
                </a:lnTo>
                <a:lnTo>
                  <a:pt x="638" y="1070"/>
                </a:lnTo>
                <a:lnTo>
                  <a:pt x="690" y="1060"/>
                </a:lnTo>
                <a:lnTo>
                  <a:pt x="740" y="1033"/>
                </a:lnTo>
                <a:lnTo>
                  <a:pt x="819" y="1029"/>
                </a:lnTo>
                <a:lnTo>
                  <a:pt x="856" y="1034"/>
                </a:lnTo>
                <a:lnTo>
                  <a:pt x="885" y="1059"/>
                </a:lnTo>
                <a:lnTo>
                  <a:pt x="898" y="1053"/>
                </a:lnTo>
                <a:lnTo>
                  <a:pt x="933" y="1068"/>
                </a:lnTo>
                <a:lnTo>
                  <a:pt x="932" y="1062"/>
                </a:lnTo>
                <a:lnTo>
                  <a:pt x="955" y="1082"/>
                </a:lnTo>
                <a:lnTo>
                  <a:pt x="972" y="1085"/>
                </a:lnTo>
                <a:lnTo>
                  <a:pt x="966" y="1105"/>
                </a:lnTo>
                <a:lnTo>
                  <a:pt x="979" y="1119"/>
                </a:lnTo>
                <a:lnTo>
                  <a:pt x="995" y="1121"/>
                </a:lnTo>
                <a:lnTo>
                  <a:pt x="1025" y="1180"/>
                </a:lnTo>
                <a:lnTo>
                  <a:pt x="1026" y="1200"/>
                </a:lnTo>
                <a:lnTo>
                  <a:pt x="1013" y="1190"/>
                </a:lnTo>
                <a:lnTo>
                  <a:pt x="1013" y="1198"/>
                </a:lnTo>
                <a:lnTo>
                  <a:pt x="1052" y="1223"/>
                </a:lnTo>
                <a:lnTo>
                  <a:pt x="1052" y="1207"/>
                </a:lnTo>
                <a:lnTo>
                  <a:pt x="1047" y="1209"/>
                </a:lnTo>
                <a:lnTo>
                  <a:pt x="1051" y="1198"/>
                </a:lnTo>
                <a:lnTo>
                  <a:pt x="1068" y="1181"/>
                </a:lnTo>
                <a:lnTo>
                  <a:pt x="1072" y="1169"/>
                </a:lnTo>
                <a:lnTo>
                  <a:pt x="1096" y="1152"/>
                </a:lnTo>
                <a:lnTo>
                  <a:pt x="1108" y="1150"/>
                </a:lnTo>
                <a:lnTo>
                  <a:pt x="1123" y="1119"/>
                </a:lnTo>
                <a:lnTo>
                  <a:pt x="1133" y="1107"/>
                </a:lnTo>
                <a:lnTo>
                  <a:pt x="1136" y="1084"/>
                </a:lnTo>
                <a:lnTo>
                  <a:pt x="1147" y="1119"/>
                </a:lnTo>
                <a:lnTo>
                  <a:pt x="1142" y="1118"/>
                </a:lnTo>
                <a:lnTo>
                  <a:pt x="1142" y="1139"/>
                </a:lnTo>
                <a:lnTo>
                  <a:pt x="1122" y="1173"/>
                </a:lnTo>
                <a:lnTo>
                  <a:pt x="1120" y="1212"/>
                </a:lnTo>
                <a:lnTo>
                  <a:pt x="1097" y="1217"/>
                </a:lnTo>
                <a:lnTo>
                  <a:pt x="1094" y="1232"/>
                </a:lnTo>
                <a:lnTo>
                  <a:pt x="1100" y="1238"/>
                </a:lnTo>
                <a:lnTo>
                  <a:pt x="1136" y="1229"/>
                </a:lnTo>
                <a:lnTo>
                  <a:pt x="1140" y="1197"/>
                </a:lnTo>
                <a:lnTo>
                  <a:pt x="1150" y="1177"/>
                </a:lnTo>
                <a:lnTo>
                  <a:pt x="1169" y="1207"/>
                </a:lnTo>
                <a:lnTo>
                  <a:pt x="1167" y="1234"/>
                </a:lnTo>
                <a:lnTo>
                  <a:pt x="1154" y="1257"/>
                </a:lnTo>
                <a:lnTo>
                  <a:pt x="1169" y="1258"/>
                </a:lnTo>
                <a:lnTo>
                  <a:pt x="1208" y="1245"/>
                </a:lnTo>
                <a:lnTo>
                  <a:pt x="1202" y="1260"/>
                </a:lnTo>
                <a:lnTo>
                  <a:pt x="1221" y="1287"/>
                </a:lnTo>
                <a:lnTo>
                  <a:pt x="1230" y="1311"/>
                </a:lnTo>
                <a:lnTo>
                  <a:pt x="1227" y="1334"/>
                </a:lnTo>
                <a:lnTo>
                  <a:pt x="1236" y="1359"/>
                </a:lnTo>
                <a:lnTo>
                  <a:pt x="1258" y="1387"/>
                </a:lnTo>
                <a:lnTo>
                  <a:pt x="1286" y="1395"/>
                </a:lnTo>
                <a:lnTo>
                  <a:pt x="1308" y="1413"/>
                </a:lnTo>
                <a:lnTo>
                  <a:pt x="1323" y="1407"/>
                </a:lnTo>
                <a:lnTo>
                  <a:pt x="1352" y="1413"/>
                </a:lnTo>
                <a:lnTo>
                  <a:pt x="1396" y="1441"/>
                </a:lnTo>
                <a:lnTo>
                  <a:pt x="1422" y="1429"/>
                </a:lnTo>
                <a:lnTo>
                  <a:pt x="1438" y="1410"/>
                </a:lnTo>
                <a:lnTo>
                  <a:pt x="1455" y="1405"/>
                </a:lnTo>
                <a:lnTo>
                  <a:pt x="1442" y="1395"/>
                </a:lnTo>
                <a:lnTo>
                  <a:pt x="1464" y="1385"/>
                </a:lnTo>
                <a:lnTo>
                  <a:pt x="1472" y="1388"/>
                </a:lnTo>
                <a:lnTo>
                  <a:pt x="1472" y="1398"/>
                </a:lnTo>
                <a:lnTo>
                  <a:pt x="1470" y="1409"/>
                </a:lnTo>
                <a:lnTo>
                  <a:pt x="1461" y="1409"/>
                </a:lnTo>
                <a:lnTo>
                  <a:pt x="1464" y="1413"/>
                </a:lnTo>
                <a:lnTo>
                  <a:pt x="1472" y="1418"/>
                </a:lnTo>
                <a:lnTo>
                  <a:pt x="1490" y="1405"/>
                </a:lnTo>
                <a:lnTo>
                  <a:pt x="1496" y="1410"/>
                </a:lnTo>
                <a:lnTo>
                  <a:pt x="1494" y="1426"/>
                </a:lnTo>
                <a:lnTo>
                  <a:pt x="1524" y="1443"/>
                </a:lnTo>
                <a:lnTo>
                  <a:pt x="1536" y="1458"/>
                </a:lnTo>
                <a:lnTo>
                  <a:pt x="1544" y="1436"/>
                </a:lnTo>
                <a:lnTo>
                  <a:pt x="1532" y="1444"/>
                </a:lnTo>
                <a:lnTo>
                  <a:pt x="1530" y="1434"/>
                </a:lnTo>
                <a:lnTo>
                  <a:pt x="1553" y="1432"/>
                </a:lnTo>
                <a:lnTo>
                  <a:pt x="1595" y="1395"/>
                </a:lnTo>
                <a:lnTo>
                  <a:pt x="1616" y="1385"/>
                </a:lnTo>
                <a:lnTo>
                  <a:pt x="1672" y="1382"/>
                </a:lnTo>
                <a:lnTo>
                  <a:pt x="1687" y="1376"/>
                </a:lnTo>
                <a:lnTo>
                  <a:pt x="1688" y="1365"/>
                </a:lnTo>
                <a:lnTo>
                  <a:pt x="1699" y="1368"/>
                </a:lnTo>
                <a:lnTo>
                  <a:pt x="1701" y="1362"/>
                </a:lnTo>
                <a:lnTo>
                  <a:pt x="1699" y="1334"/>
                </a:lnTo>
                <a:lnTo>
                  <a:pt x="1710" y="1299"/>
                </a:lnTo>
                <a:lnTo>
                  <a:pt x="1711" y="1266"/>
                </a:lnTo>
                <a:lnTo>
                  <a:pt x="1730" y="1229"/>
                </a:lnTo>
                <a:lnTo>
                  <a:pt x="1736" y="1234"/>
                </a:lnTo>
                <a:lnTo>
                  <a:pt x="1748" y="1187"/>
                </a:lnTo>
                <a:lnTo>
                  <a:pt x="1764" y="1160"/>
                </a:lnTo>
                <a:lnTo>
                  <a:pt x="1758" y="1143"/>
                </a:lnTo>
                <a:lnTo>
                  <a:pt x="1773" y="1133"/>
                </a:lnTo>
                <a:lnTo>
                  <a:pt x="1785" y="1105"/>
                </a:lnTo>
                <a:lnTo>
                  <a:pt x="1801" y="1099"/>
                </a:lnTo>
                <a:lnTo>
                  <a:pt x="1798" y="1094"/>
                </a:lnTo>
                <a:lnTo>
                  <a:pt x="1816" y="1080"/>
                </a:lnTo>
                <a:lnTo>
                  <a:pt x="1815" y="1070"/>
                </a:lnTo>
                <a:lnTo>
                  <a:pt x="1826" y="1053"/>
                </a:lnTo>
                <a:lnTo>
                  <a:pt x="1838" y="1019"/>
                </a:lnTo>
                <a:lnTo>
                  <a:pt x="1841" y="979"/>
                </a:lnTo>
                <a:lnTo>
                  <a:pt x="1849" y="960"/>
                </a:lnTo>
                <a:lnTo>
                  <a:pt x="1865" y="884"/>
                </a:lnTo>
                <a:lnTo>
                  <a:pt x="1863" y="861"/>
                </a:lnTo>
                <a:lnTo>
                  <a:pt x="1843" y="801"/>
                </a:lnTo>
                <a:lnTo>
                  <a:pt x="1844" y="794"/>
                </a:lnTo>
                <a:lnTo>
                  <a:pt x="1848" y="797"/>
                </a:lnTo>
                <a:lnTo>
                  <a:pt x="1841" y="757"/>
                </a:lnTo>
                <a:lnTo>
                  <a:pt x="1841" y="731"/>
                </a:lnTo>
                <a:lnTo>
                  <a:pt x="1840" y="737"/>
                </a:lnTo>
                <a:lnTo>
                  <a:pt x="1836" y="734"/>
                </a:lnTo>
                <a:lnTo>
                  <a:pt x="1827" y="703"/>
                </a:lnTo>
                <a:lnTo>
                  <a:pt x="1818" y="698"/>
                </a:lnTo>
                <a:lnTo>
                  <a:pt x="1819" y="692"/>
                </a:lnTo>
                <a:lnTo>
                  <a:pt x="1809" y="675"/>
                </a:lnTo>
                <a:lnTo>
                  <a:pt x="1793" y="666"/>
                </a:lnTo>
                <a:lnTo>
                  <a:pt x="1781" y="644"/>
                </a:lnTo>
                <a:lnTo>
                  <a:pt x="1765" y="640"/>
                </a:lnTo>
                <a:lnTo>
                  <a:pt x="1739" y="616"/>
                </a:lnTo>
                <a:lnTo>
                  <a:pt x="1731" y="559"/>
                </a:lnTo>
                <a:lnTo>
                  <a:pt x="1728" y="556"/>
                </a:lnTo>
                <a:lnTo>
                  <a:pt x="1724" y="569"/>
                </a:lnTo>
                <a:lnTo>
                  <a:pt x="1704" y="554"/>
                </a:lnTo>
                <a:lnTo>
                  <a:pt x="1702" y="547"/>
                </a:lnTo>
                <a:lnTo>
                  <a:pt x="1697" y="550"/>
                </a:lnTo>
                <a:lnTo>
                  <a:pt x="1697" y="562"/>
                </a:lnTo>
                <a:lnTo>
                  <a:pt x="1685" y="564"/>
                </a:lnTo>
                <a:lnTo>
                  <a:pt x="1677" y="542"/>
                </a:lnTo>
                <a:lnTo>
                  <a:pt x="1676" y="514"/>
                </a:lnTo>
                <a:lnTo>
                  <a:pt x="1668" y="513"/>
                </a:lnTo>
                <a:lnTo>
                  <a:pt x="1655" y="483"/>
                </a:lnTo>
                <a:lnTo>
                  <a:pt x="1643" y="476"/>
                </a:lnTo>
                <a:lnTo>
                  <a:pt x="1643" y="468"/>
                </a:lnTo>
                <a:lnTo>
                  <a:pt x="1650" y="468"/>
                </a:lnTo>
                <a:lnTo>
                  <a:pt x="1646" y="459"/>
                </a:lnTo>
                <a:lnTo>
                  <a:pt x="1629" y="446"/>
                </a:lnTo>
                <a:lnTo>
                  <a:pt x="1625" y="449"/>
                </a:lnTo>
                <a:lnTo>
                  <a:pt x="1614" y="437"/>
                </a:lnTo>
                <a:lnTo>
                  <a:pt x="1601" y="431"/>
                </a:lnTo>
                <a:lnTo>
                  <a:pt x="1592" y="434"/>
                </a:lnTo>
                <a:lnTo>
                  <a:pt x="1583" y="409"/>
                </a:lnTo>
                <a:lnTo>
                  <a:pt x="1574" y="412"/>
                </a:lnTo>
                <a:lnTo>
                  <a:pt x="1557" y="409"/>
                </a:lnTo>
                <a:lnTo>
                  <a:pt x="1535" y="397"/>
                </a:lnTo>
                <a:lnTo>
                  <a:pt x="1532" y="375"/>
                </a:lnTo>
                <a:lnTo>
                  <a:pt x="1530" y="378"/>
                </a:lnTo>
                <a:lnTo>
                  <a:pt x="1530" y="375"/>
                </a:lnTo>
                <a:lnTo>
                  <a:pt x="1521" y="367"/>
                </a:lnTo>
                <a:lnTo>
                  <a:pt x="1519" y="330"/>
                </a:lnTo>
                <a:lnTo>
                  <a:pt x="1509" y="293"/>
                </a:lnTo>
                <a:lnTo>
                  <a:pt x="1502" y="293"/>
                </a:lnTo>
                <a:lnTo>
                  <a:pt x="1493" y="279"/>
                </a:lnTo>
                <a:lnTo>
                  <a:pt x="1482" y="232"/>
                </a:lnTo>
                <a:lnTo>
                  <a:pt x="1484" y="203"/>
                </a:lnTo>
                <a:lnTo>
                  <a:pt x="1455" y="181"/>
                </a:lnTo>
                <a:lnTo>
                  <a:pt x="1448" y="168"/>
                </a:lnTo>
                <a:lnTo>
                  <a:pt x="1442" y="166"/>
                </a:lnTo>
                <a:lnTo>
                  <a:pt x="1423" y="178"/>
                </a:lnTo>
                <a:lnTo>
                  <a:pt x="1410" y="168"/>
                </a:lnTo>
                <a:lnTo>
                  <a:pt x="1393" y="92"/>
                </a:lnTo>
                <a:lnTo>
                  <a:pt x="1379" y="75"/>
                </a:lnTo>
                <a:lnTo>
                  <a:pt x="1379" y="58"/>
                </a:lnTo>
                <a:lnTo>
                  <a:pt x="1369" y="58"/>
                </a:lnTo>
                <a:lnTo>
                  <a:pt x="1368" y="50"/>
                </a:lnTo>
                <a:lnTo>
                  <a:pt x="1365" y="16"/>
                </a:lnTo>
                <a:lnTo>
                  <a:pt x="1363" y="2"/>
                </a:lnTo>
                <a:lnTo>
                  <a:pt x="1360" y="0"/>
                </a:lnTo>
                <a:lnTo>
                  <a:pt x="1342" y="14"/>
                </a:lnTo>
                <a:lnTo>
                  <a:pt x="1342" y="25"/>
                </a:lnTo>
                <a:lnTo>
                  <a:pt x="1332" y="39"/>
                </a:lnTo>
                <a:lnTo>
                  <a:pt x="1325" y="61"/>
                </a:lnTo>
                <a:lnTo>
                  <a:pt x="1315" y="64"/>
                </a:lnTo>
                <a:lnTo>
                  <a:pt x="1311" y="80"/>
                </a:lnTo>
                <a:lnTo>
                  <a:pt x="1311" y="90"/>
                </a:lnTo>
                <a:lnTo>
                  <a:pt x="1318" y="92"/>
                </a:lnTo>
                <a:lnTo>
                  <a:pt x="1312" y="123"/>
                </a:lnTo>
                <a:lnTo>
                  <a:pt x="1306" y="140"/>
                </a:lnTo>
                <a:lnTo>
                  <a:pt x="1306" y="180"/>
                </a:lnTo>
                <a:lnTo>
                  <a:pt x="1312" y="206"/>
                </a:lnTo>
                <a:lnTo>
                  <a:pt x="1292" y="279"/>
                </a:lnTo>
                <a:lnTo>
                  <a:pt x="1275" y="324"/>
                </a:lnTo>
                <a:lnTo>
                  <a:pt x="1241" y="335"/>
                </a:lnTo>
                <a:lnTo>
                  <a:pt x="1202" y="312"/>
                </a:lnTo>
                <a:lnTo>
                  <a:pt x="1187" y="291"/>
                </a:lnTo>
                <a:lnTo>
                  <a:pt x="1152" y="281"/>
                </a:lnTo>
                <a:lnTo>
                  <a:pt x="1110" y="249"/>
                </a:lnTo>
                <a:lnTo>
                  <a:pt x="1080" y="244"/>
                </a:lnTo>
                <a:lnTo>
                  <a:pt x="1072" y="251"/>
                </a:lnTo>
                <a:lnTo>
                  <a:pt x="1068" y="222"/>
                </a:lnTo>
                <a:lnTo>
                  <a:pt x="1047" y="212"/>
                </a:lnTo>
                <a:lnTo>
                  <a:pt x="1042" y="212"/>
                </a:lnTo>
                <a:lnTo>
                  <a:pt x="1034" y="203"/>
                </a:lnTo>
                <a:lnTo>
                  <a:pt x="1054" y="143"/>
                </a:lnTo>
                <a:lnTo>
                  <a:pt x="1046" y="144"/>
                </a:lnTo>
                <a:lnTo>
                  <a:pt x="1051" y="123"/>
                </a:lnTo>
                <a:lnTo>
                  <a:pt x="1060" y="131"/>
                </a:lnTo>
                <a:lnTo>
                  <a:pt x="1057" y="121"/>
                </a:lnTo>
                <a:lnTo>
                  <a:pt x="1062" y="115"/>
                </a:lnTo>
                <a:lnTo>
                  <a:pt x="1064" y="121"/>
                </a:lnTo>
                <a:lnTo>
                  <a:pt x="1074" y="118"/>
                </a:lnTo>
                <a:lnTo>
                  <a:pt x="1079" y="110"/>
                </a:lnTo>
                <a:lnTo>
                  <a:pt x="1074" y="101"/>
                </a:lnTo>
                <a:lnTo>
                  <a:pt x="1083" y="98"/>
                </a:lnTo>
                <a:lnTo>
                  <a:pt x="1093" y="78"/>
                </a:lnTo>
                <a:lnTo>
                  <a:pt x="1089" y="73"/>
                </a:lnTo>
                <a:lnTo>
                  <a:pt x="1077" y="78"/>
                </a:lnTo>
                <a:lnTo>
                  <a:pt x="1071" y="59"/>
                </a:lnTo>
                <a:lnTo>
                  <a:pt x="1062" y="67"/>
                </a:lnTo>
                <a:lnTo>
                  <a:pt x="1059" y="85"/>
                </a:lnTo>
                <a:lnTo>
                  <a:pt x="1051" y="89"/>
                </a:lnTo>
                <a:lnTo>
                  <a:pt x="1051" y="70"/>
                </a:lnTo>
                <a:lnTo>
                  <a:pt x="1046" y="73"/>
                </a:lnTo>
                <a:lnTo>
                  <a:pt x="1042" y="70"/>
                </a:lnTo>
                <a:lnTo>
                  <a:pt x="1047" y="61"/>
                </a:lnTo>
                <a:lnTo>
                  <a:pt x="1026" y="64"/>
                </a:lnTo>
                <a:lnTo>
                  <a:pt x="1013" y="76"/>
                </a:lnTo>
                <a:lnTo>
                  <a:pt x="991" y="63"/>
                </a:lnTo>
                <a:lnTo>
                  <a:pt x="967" y="64"/>
                </a:lnTo>
                <a:lnTo>
                  <a:pt x="947" y="56"/>
                </a:lnTo>
                <a:lnTo>
                  <a:pt x="947" y="51"/>
                </a:lnTo>
                <a:lnTo>
                  <a:pt x="939" y="56"/>
                </a:lnTo>
                <a:lnTo>
                  <a:pt x="916" y="50"/>
                </a:lnTo>
                <a:lnTo>
                  <a:pt x="904" y="36"/>
                </a:lnTo>
                <a:lnTo>
                  <a:pt x="898" y="42"/>
                </a:lnTo>
                <a:lnTo>
                  <a:pt x="878" y="25"/>
                </a:lnTo>
                <a:lnTo>
                  <a:pt x="871" y="39"/>
                </a:lnTo>
                <a:lnTo>
                  <a:pt x="865" y="24"/>
                </a:lnTo>
                <a:lnTo>
                  <a:pt x="862" y="29"/>
                </a:lnTo>
                <a:lnTo>
                  <a:pt x="856" y="29"/>
                </a:lnTo>
                <a:lnTo>
                  <a:pt x="862" y="33"/>
                </a:lnTo>
                <a:lnTo>
                  <a:pt x="873" y="42"/>
                </a:lnTo>
                <a:lnTo>
                  <a:pt x="888" y="41"/>
                </a:lnTo>
                <a:lnTo>
                  <a:pt x="893" y="46"/>
                </a:lnTo>
                <a:lnTo>
                  <a:pt x="893" y="67"/>
                </a:lnTo>
                <a:lnTo>
                  <a:pt x="870" y="76"/>
                </a:lnTo>
                <a:lnTo>
                  <a:pt x="834" y="75"/>
                </a:lnTo>
                <a:lnTo>
                  <a:pt x="834" y="78"/>
                </a:lnTo>
                <a:lnTo>
                  <a:pt x="822" y="75"/>
                </a:lnTo>
                <a:lnTo>
                  <a:pt x="815" y="83"/>
                </a:lnTo>
                <a:lnTo>
                  <a:pt x="819" y="97"/>
                </a:lnTo>
                <a:lnTo>
                  <a:pt x="803" y="87"/>
                </a:lnTo>
                <a:lnTo>
                  <a:pt x="802" y="93"/>
                </a:lnTo>
                <a:lnTo>
                  <a:pt x="786" y="98"/>
                </a:lnTo>
                <a:lnTo>
                  <a:pt x="781" y="121"/>
                </a:lnTo>
                <a:lnTo>
                  <a:pt x="788" y="118"/>
                </a:lnTo>
                <a:lnTo>
                  <a:pt x="788" y="129"/>
                </a:lnTo>
                <a:lnTo>
                  <a:pt x="783" y="135"/>
                </a:lnTo>
                <a:lnTo>
                  <a:pt x="769" y="134"/>
                </a:lnTo>
                <a:lnTo>
                  <a:pt x="755" y="160"/>
                </a:lnTo>
                <a:lnTo>
                  <a:pt x="749" y="160"/>
                </a:lnTo>
                <a:lnTo>
                  <a:pt x="746" y="173"/>
                </a:lnTo>
                <a:lnTo>
                  <a:pt x="763" y="195"/>
                </a:lnTo>
                <a:lnTo>
                  <a:pt x="755" y="200"/>
                </a:lnTo>
                <a:lnTo>
                  <a:pt x="760" y="214"/>
                </a:lnTo>
                <a:lnTo>
                  <a:pt x="734" y="195"/>
                </a:lnTo>
                <a:lnTo>
                  <a:pt x="707" y="195"/>
                </a:lnTo>
                <a:lnTo>
                  <a:pt x="703" y="202"/>
                </a:lnTo>
                <a:lnTo>
                  <a:pt x="690" y="205"/>
                </a:lnTo>
                <a:lnTo>
                  <a:pt x="678" y="232"/>
                </a:lnTo>
                <a:lnTo>
                  <a:pt x="683" y="222"/>
                </a:lnTo>
                <a:lnTo>
                  <a:pt x="687" y="189"/>
                </a:lnTo>
                <a:lnTo>
                  <a:pt x="662" y="163"/>
                </a:lnTo>
                <a:lnTo>
                  <a:pt x="630" y="148"/>
                </a:lnTo>
                <a:lnTo>
                  <a:pt x="624" y="148"/>
                </a:lnTo>
                <a:lnTo>
                  <a:pt x="622" y="158"/>
                </a:lnTo>
                <a:lnTo>
                  <a:pt x="607" y="163"/>
                </a:lnTo>
                <a:lnTo>
                  <a:pt x="605" y="158"/>
                </a:lnTo>
                <a:lnTo>
                  <a:pt x="596" y="166"/>
                </a:lnTo>
                <a:lnTo>
                  <a:pt x="590" y="154"/>
                </a:lnTo>
                <a:lnTo>
                  <a:pt x="588" y="160"/>
                </a:lnTo>
                <a:lnTo>
                  <a:pt x="593" y="171"/>
                </a:lnTo>
                <a:lnTo>
                  <a:pt x="588" y="180"/>
                </a:lnTo>
                <a:lnTo>
                  <a:pt x="578" y="188"/>
                </a:lnTo>
                <a:lnTo>
                  <a:pt x="576" y="181"/>
                </a:lnTo>
                <a:lnTo>
                  <a:pt x="553" y="186"/>
                </a:lnTo>
                <a:lnTo>
                  <a:pt x="557" y="211"/>
                </a:lnTo>
                <a:lnTo>
                  <a:pt x="544" y="205"/>
                </a:lnTo>
                <a:lnTo>
                  <a:pt x="539" y="214"/>
                </a:lnTo>
                <a:lnTo>
                  <a:pt x="544" y="223"/>
                </a:lnTo>
                <a:lnTo>
                  <a:pt x="532" y="220"/>
                </a:lnTo>
                <a:lnTo>
                  <a:pt x="522" y="227"/>
                </a:lnTo>
                <a:lnTo>
                  <a:pt x="525" y="242"/>
                </a:lnTo>
                <a:lnTo>
                  <a:pt x="515" y="256"/>
                </a:lnTo>
                <a:lnTo>
                  <a:pt x="514" y="266"/>
                </a:lnTo>
                <a:lnTo>
                  <a:pt x="520" y="270"/>
                </a:lnTo>
                <a:lnTo>
                  <a:pt x="519" y="276"/>
                </a:lnTo>
                <a:lnTo>
                  <a:pt x="505" y="273"/>
                </a:lnTo>
                <a:lnTo>
                  <a:pt x="495" y="259"/>
                </a:lnTo>
                <a:lnTo>
                  <a:pt x="480" y="257"/>
                </a:lnTo>
                <a:lnTo>
                  <a:pt x="475" y="261"/>
                </a:lnTo>
                <a:lnTo>
                  <a:pt x="475" y="278"/>
                </a:lnTo>
                <a:lnTo>
                  <a:pt x="485" y="291"/>
                </a:lnTo>
                <a:lnTo>
                  <a:pt x="486" y="302"/>
                </a:lnTo>
                <a:lnTo>
                  <a:pt x="478" y="304"/>
                </a:lnTo>
                <a:lnTo>
                  <a:pt x="475" y="325"/>
                </a:lnTo>
                <a:lnTo>
                  <a:pt x="446" y="271"/>
                </a:lnTo>
                <a:lnTo>
                  <a:pt x="441" y="285"/>
                </a:lnTo>
                <a:lnTo>
                  <a:pt x="418" y="299"/>
                </a:lnTo>
                <a:lnTo>
                  <a:pt x="412" y="321"/>
                </a:lnTo>
                <a:lnTo>
                  <a:pt x="421" y="347"/>
                </a:lnTo>
                <a:lnTo>
                  <a:pt x="400" y="369"/>
                </a:lnTo>
                <a:lnTo>
                  <a:pt x="395" y="369"/>
                </a:lnTo>
                <a:lnTo>
                  <a:pt x="383" y="401"/>
                </a:lnTo>
                <a:lnTo>
                  <a:pt x="356" y="423"/>
                </a:lnTo>
                <a:lnTo>
                  <a:pt x="290" y="443"/>
                </a:lnTo>
                <a:lnTo>
                  <a:pt x="271" y="440"/>
                </a:lnTo>
                <a:lnTo>
                  <a:pt x="253" y="455"/>
                </a:lnTo>
                <a:lnTo>
                  <a:pt x="228" y="460"/>
                </a:lnTo>
                <a:lnTo>
                  <a:pt x="202" y="474"/>
                </a:lnTo>
                <a:lnTo>
                  <a:pt x="161" y="471"/>
                </a:lnTo>
                <a:lnTo>
                  <a:pt x="122" y="493"/>
                </a:lnTo>
                <a:lnTo>
                  <a:pt x="102" y="519"/>
                </a:lnTo>
                <a:lnTo>
                  <a:pt x="85" y="522"/>
                </a:lnTo>
                <a:lnTo>
                  <a:pt x="61" y="536"/>
                </a:lnTo>
                <a:lnTo>
                  <a:pt x="42" y="565"/>
                </a:lnTo>
                <a:lnTo>
                  <a:pt x="38" y="564"/>
                </a:lnTo>
                <a:lnTo>
                  <a:pt x="38" y="553"/>
                </a:lnTo>
                <a:lnTo>
                  <a:pt x="41" y="528"/>
                </a:lnTo>
                <a:lnTo>
                  <a:pt x="36" y="533"/>
                </a:lnTo>
                <a:lnTo>
                  <a:pt x="22" y="556"/>
                </a:lnTo>
                <a:lnTo>
                  <a:pt x="19" y="574"/>
                </a:lnTo>
                <a:lnTo>
                  <a:pt x="24" y="586"/>
                </a:lnTo>
                <a:lnTo>
                  <a:pt x="24" y="610"/>
                </a:lnTo>
                <a:lnTo>
                  <a:pt x="7" y="637"/>
                </a:lnTo>
                <a:lnTo>
                  <a:pt x="7" y="663"/>
                </a:lnTo>
                <a:lnTo>
                  <a:pt x="33" y="709"/>
                </a:lnTo>
                <a:lnTo>
                  <a:pt x="31" y="717"/>
                </a:lnTo>
                <a:lnTo>
                  <a:pt x="45" y="730"/>
                </a:lnTo>
                <a:lnTo>
                  <a:pt x="47" y="745"/>
                </a:lnTo>
                <a:lnTo>
                  <a:pt x="39" y="762"/>
                </a:lnTo>
                <a:lnTo>
                  <a:pt x="33" y="760"/>
                </a:lnTo>
                <a:lnTo>
                  <a:pt x="30" y="743"/>
                </a:lnTo>
                <a:lnTo>
                  <a:pt x="24" y="748"/>
                </a:lnTo>
                <a:lnTo>
                  <a:pt x="11" y="720"/>
                </a:lnTo>
                <a:lnTo>
                  <a:pt x="11" y="722"/>
                </a:lnTo>
                <a:lnTo>
                  <a:pt x="30" y="767"/>
                </a:lnTo>
                <a:lnTo>
                  <a:pt x="19" y="772"/>
                </a:lnTo>
                <a:lnTo>
                  <a:pt x="17" y="767"/>
                </a:lnTo>
                <a:lnTo>
                  <a:pt x="14" y="768"/>
                </a:lnTo>
                <a:lnTo>
                  <a:pt x="11" y="754"/>
                </a:lnTo>
                <a:lnTo>
                  <a:pt x="0" y="748"/>
                </a:lnTo>
                <a:lnTo>
                  <a:pt x="0" y="752"/>
                </a:lnTo>
                <a:lnTo>
                  <a:pt x="17" y="779"/>
                </a:lnTo>
                <a:lnTo>
                  <a:pt x="34" y="794"/>
                </a:lnTo>
                <a:lnTo>
                  <a:pt x="45" y="825"/>
                </a:lnTo>
                <a:lnTo>
                  <a:pt x="47" y="844"/>
                </a:lnTo>
                <a:lnTo>
                  <a:pt x="81" y="907"/>
                </a:lnTo>
                <a:lnTo>
                  <a:pt x="87" y="966"/>
                </a:lnTo>
                <a:lnTo>
                  <a:pt x="119" y="1037"/>
                </a:lnTo>
                <a:lnTo>
                  <a:pt x="119" y="1082"/>
                </a:lnTo>
                <a:lnTo>
                  <a:pt x="115" y="1097"/>
                </a:lnTo>
                <a:lnTo>
                  <a:pt x="119" y="1116"/>
                </a:lnTo>
                <a:lnTo>
                  <a:pt x="106" y="1141"/>
                </a:lnTo>
                <a:lnTo>
                  <a:pt x="89" y="1139"/>
                </a:lnTo>
                <a:close/>
                <a:moveTo>
                  <a:pt x="1843" y="680"/>
                </a:moveTo>
                <a:lnTo>
                  <a:pt x="1852" y="689"/>
                </a:lnTo>
                <a:lnTo>
                  <a:pt x="1852" y="701"/>
                </a:lnTo>
                <a:lnTo>
                  <a:pt x="1840" y="725"/>
                </a:lnTo>
                <a:lnTo>
                  <a:pt x="1838" y="701"/>
                </a:lnTo>
                <a:lnTo>
                  <a:pt x="1846" y="686"/>
                </a:lnTo>
                <a:lnTo>
                  <a:pt x="1843" y="680"/>
                </a:lnTo>
                <a:close/>
                <a:moveTo>
                  <a:pt x="1860" y="810"/>
                </a:moveTo>
                <a:lnTo>
                  <a:pt x="1863" y="813"/>
                </a:lnTo>
                <a:lnTo>
                  <a:pt x="1860" y="825"/>
                </a:lnTo>
                <a:lnTo>
                  <a:pt x="1860" y="810"/>
                </a:lnTo>
                <a:close/>
                <a:moveTo>
                  <a:pt x="1074" y="39"/>
                </a:moveTo>
                <a:lnTo>
                  <a:pt x="1074" y="27"/>
                </a:lnTo>
                <a:lnTo>
                  <a:pt x="1083" y="19"/>
                </a:lnTo>
                <a:lnTo>
                  <a:pt x="1074" y="39"/>
                </a:lnTo>
                <a:close/>
                <a:moveTo>
                  <a:pt x="789" y="25"/>
                </a:moveTo>
                <a:lnTo>
                  <a:pt x="806" y="36"/>
                </a:lnTo>
                <a:lnTo>
                  <a:pt x="822" y="34"/>
                </a:lnTo>
                <a:lnTo>
                  <a:pt x="832" y="25"/>
                </a:lnTo>
                <a:lnTo>
                  <a:pt x="840" y="33"/>
                </a:lnTo>
                <a:lnTo>
                  <a:pt x="842" y="41"/>
                </a:lnTo>
                <a:lnTo>
                  <a:pt x="836" y="50"/>
                </a:lnTo>
                <a:lnTo>
                  <a:pt x="817" y="56"/>
                </a:lnTo>
                <a:lnTo>
                  <a:pt x="798" y="44"/>
                </a:lnTo>
                <a:lnTo>
                  <a:pt x="789" y="25"/>
                </a:lnTo>
                <a:close/>
                <a:moveTo>
                  <a:pt x="780" y="53"/>
                </a:moveTo>
                <a:lnTo>
                  <a:pt x="776" y="46"/>
                </a:lnTo>
                <a:lnTo>
                  <a:pt x="786" y="34"/>
                </a:lnTo>
                <a:lnTo>
                  <a:pt x="798" y="53"/>
                </a:lnTo>
                <a:lnTo>
                  <a:pt x="780" y="53"/>
                </a:lnTo>
                <a:close/>
                <a:moveTo>
                  <a:pt x="1219" y="271"/>
                </a:moveTo>
                <a:lnTo>
                  <a:pt x="1228" y="276"/>
                </a:lnTo>
                <a:lnTo>
                  <a:pt x="1207" y="287"/>
                </a:lnTo>
                <a:lnTo>
                  <a:pt x="1202" y="281"/>
                </a:lnTo>
                <a:lnTo>
                  <a:pt x="1219" y="271"/>
                </a:lnTo>
                <a:close/>
                <a:moveTo>
                  <a:pt x="1072" y="146"/>
                </a:moveTo>
                <a:lnTo>
                  <a:pt x="1077" y="149"/>
                </a:lnTo>
                <a:lnTo>
                  <a:pt x="1080" y="143"/>
                </a:lnTo>
                <a:lnTo>
                  <a:pt x="1083" y="149"/>
                </a:lnTo>
                <a:lnTo>
                  <a:pt x="1089" y="146"/>
                </a:lnTo>
                <a:lnTo>
                  <a:pt x="1094" y="166"/>
                </a:lnTo>
                <a:lnTo>
                  <a:pt x="1077" y="169"/>
                </a:lnTo>
                <a:lnTo>
                  <a:pt x="1072" y="163"/>
                </a:lnTo>
                <a:lnTo>
                  <a:pt x="1072" y="146"/>
                </a:lnTo>
                <a:close/>
                <a:moveTo>
                  <a:pt x="1604" y="1498"/>
                </a:moveTo>
                <a:lnTo>
                  <a:pt x="1606" y="1495"/>
                </a:lnTo>
                <a:lnTo>
                  <a:pt x="1621" y="1506"/>
                </a:lnTo>
                <a:lnTo>
                  <a:pt x="1623" y="1523"/>
                </a:lnTo>
                <a:lnTo>
                  <a:pt x="1614" y="1528"/>
                </a:lnTo>
                <a:lnTo>
                  <a:pt x="1601" y="1502"/>
                </a:lnTo>
                <a:lnTo>
                  <a:pt x="1604" y="1498"/>
                </a:lnTo>
                <a:close/>
                <a:moveTo>
                  <a:pt x="1614" y="1536"/>
                </a:moveTo>
                <a:lnTo>
                  <a:pt x="1625" y="1529"/>
                </a:lnTo>
                <a:lnTo>
                  <a:pt x="1631" y="1537"/>
                </a:lnTo>
                <a:lnTo>
                  <a:pt x="1614" y="1536"/>
                </a:lnTo>
                <a:close/>
                <a:moveTo>
                  <a:pt x="1079" y="1266"/>
                </a:moveTo>
                <a:lnTo>
                  <a:pt x="1114" y="1253"/>
                </a:lnTo>
                <a:lnTo>
                  <a:pt x="1152" y="1271"/>
                </a:lnTo>
                <a:lnTo>
                  <a:pt x="1130" y="1271"/>
                </a:lnTo>
                <a:lnTo>
                  <a:pt x="1123" y="1282"/>
                </a:lnTo>
                <a:lnTo>
                  <a:pt x="1094" y="1279"/>
                </a:lnTo>
                <a:lnTo>
                  <a:pt x="1085" y="1279"/>
                </a:lnTo>
                <a:lnTo>
                  <a:pt x="1079" y="1266"/>
                </a:lnTo>
                <a:close/>
                <a:moveTo>
                  <a:pt x="1461" y="1551"/>
                </a:moveTo>
                <a:lnTo>
                  <a:pt x="1476" y="1559"/>
                </a:lnTo>
                <a:lnTo>
                  <a:pt x="1496" y="1562"/>
                </a:lnTo>
                <a:lnTo>
                  <a:pt x="1516" y="1576"/>
                </a:lnTo>
                <a:lnTo>
                  <a:pt x="1543" y="1582"/>
                </a:lnTo>
                <a:lnTo>
                  <a:pt x="1584" y="1570"/>
                </a:lnTo>
                <a:lnTo>
                  <a:pt x="1592" y="1559"/>
                </a:lnTo>
                <a:lnTo>
                  <a:pt x="1604" y="1565"/>
                </a:lnTo>
                <a:lnTo>
                  <a:pt x="1606" y="1556"/>
                </a:lnTo>
                <a:lnTo>
                  <a:pt x="1614" y="1559"/>
                </a:lnTo>
                <a:lnTo>
                  <a:pt x="1621" y="1568"/>
                </a:lnTo>
                <a:lnTo>
                  <a:pt x="1625" y="1587"/>
                </a:lnTo>
                <a:lnTo>
                  <a:pt x="1626" y="1653"/>
                </a:lnTo>
                <a:lnTo>
                  <a:pt x="1621" y="1630"/>
                </a:lnTo>
                <a:lnTo>
                  <a:pt x="1611" y="1649"/>
                </a:lnTo>
                <a:lnTo>
                  <a:pt x="1608" y="1679"/>
                </a:lnTo>
                <a:lnTo>
                  <a:pt x="1591" y="1679"/>
                </a:lnTo>
                <a:lnTo>
                  <a:pt x="1577" y="1710"/>
                </a:lnTo>
                <a:lnTo>
                  <a:pt x="1569" y="1703"/>
                </a:lnTo>
                <a:lnTo>
                  <a:pt x="1566" y="1707"/>
                </a:lnTo>
                <a:lnTo>
                  <a:pt x="1563" y="1724"/>
                </a:lnTo>
                <a:lnTo>
                  <a:pt x="1557" y="1730"/>
                </a:lnTo>
                <a:lnTo>
                  <a:pt x="1519" y="1726"/>
                </a:lnTo>
                <a:lnTo>
                  <a:pt x="1518" y="1720"/>
                </a:lnTo>
                <a:lnTo>
                  <a:pt x="1526" y="1712"/>
                </a:lnTo>
                <a:lnTo>
                  <a:pt x="1509" y="1709"/>
                </a:lnTo>
                <a:lnTo>
                  <a:pt x="1489" y="1676"/>
                </a:lnTo>
                <a:lnTo>
                  <a:pt x="1479" y="1641"/>
                </a:lnTo>
                <a:lnTo>
                  <a:pt x="1490" y="1659"/>
                </a:lnTo>
                <a:lnTo>
                  <a:pt x="1496" y="1649"/>
                </a:lnTo>
                <a:lnTo>
                  <a:pt x="1479" y="1627"/>
                </a:lnTo>
                <a:lnTo>
                  <a:pt x="1459" y="1583"/>
                </a:lnTo>
                <a:lnTo>
                  <a:pt x="1461" y="1551"/>
                </a:lnTo>
                <a:close/>
              </a:path>
            </a:pathLst>
          </a:custGeom>
          <a:solidFill>
            <a:srgbClr val="DFAA75"/>
          </a:solidFill>
          <a:ln w="6350" cap="flat" cmpd="sng">
            <a:solidFill>
              <a:srgbClr val="82673C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390" name="Freeform 79"/>
          <p:cNvSpPr>
            <a:spLocks noChangeAspect="1" noEditPoints="1"/>
          </p:cNvSpPr>
          <p:nvPr/>
        </p:nvSpPr>
        <p:spPr bwMode="gray">
          <a:xfrm>
            <a:off x="7183438" y="2689225"/>
            <a:ext cx="498475" cy="584200"/>
          </a:xfrm>
          <a:custGeom>
            <a:avLst/>
            <a:gdLst>
              <a:gd name="T0" fmla="*/ 2147483647 w 1023"/>
              <a:gd name="T1" fmla="*/ 2147483647 h 1195"/>
              <a:gd name="T2" fmla="*/ 2147483647 w 1023"/>
              <a:gd name="T3" fmla="*/ 2147483647 h 1195"/>
              <a:gd name="T4" fmla="*/ 2147483647 w 1023"/>
              <a:gd name="T5" fmla="*/ 2147483647 h 1195"/>
              <a:gd name="T6" fmla="*/ 2147483647 w 1023"/>
              <a:gd name="T7" fmla="*/ 2147483647 h 1195"/>
              <a:gd name="T8" fmla="*/ 2147483647 w 1023"/>
              <a:gd name="T9" fmla="*/ 2147483647 h 1195"/>
              <a:gd name="T10" fmla="*/ 2147483647 w 1023"/>
              <a:gd name="T11" fmla="*/ 2147483647 h 1195"/>
              <a:gd name="T12" fmla="*/ 2147483647 w 1023"/>
              <a:gd name="T13" fmla="*/ 2147483647 h 1195"/>
              <a:gd name="T14" fmla="*/ 2147483647 w 1023"/>
              <a:gd name="T15" fmla="*/ 2147483647 h 1195"/>
              <a:gd name="T16" fmla="*/ 2147483647 w 1023"/>
              <a:gd name="T17" fmla="*/ 2147483647 h 1195"/>
              <a:gd name="T18" fmla="*/ 2147483647 w 1023"/>
              <a:gd name="T19" fmla="*/ 2147483647 h 1195"/>
              <a:gd name="T20" fmla="*/ 2147483647 w 1023"/>
              <a:gd name="T21" fmla="*/ 2147483647 h 1195"/>
              <a:gd name="T22" fmla="*/ 2147483647 w 1023"/>
              <a:gd name="T23" fmla="*/ 2147483647 h 1195"/>
              <a:gd name="T24" fmla="*/ 2147483647 w 1023"/>
              <a:gd name="T25" fmla="*/ 2147483647 h 1195"/>
              <a:gd name="T26" fmla="*/ 2147483647 w 1023"/>
              <a:gd name="T27" fmla="*/ 2147483647 h 1195"/>
              <a:gd name="T28" fmla="*/ 2147483647 w 1023"/>
              <a:gd name="T29" fmla="*/ 2147483647 h 1195"/>
              <a:gd name="T30" fmla="*/ 2147483647 w 1023"/>
              <a:gd name="T31" fmla="*/ 2147483647 h 1195"/>
              <a:gd name="T32" fmla="*/ 2147483647 w 1023"/>
              <a:gd name="T33" fmla="*/ 2147483647 h 1195"/>
              <a:gd name="T34" fmla="*/ 2147483647 w 1023"/>
              <a:gd name="T35" fmla="*/ 2147483647 h 1195"/>
              <a:gd name="T36" fmla="*/ 2147483647 w 1023"/>
              <a:gd name="T37" fmla="*/ 2147483647 h 1195"/>
              <a:gd name="T38" fmla="*/ 2147483647 w 1023"/>
              <a:gd name="T39" fmla="*/ 2147483647 h 1195"/>
              <a:gd name="T40" fmla="*/ 2147483647 w 1023"/>
              <a:gd name="T41" fmla="*/ 2147483647 h 1195"/>
              <a:gd name="T42" fmla="*/ 2147483647 w 1023"/>
              <a:gd name="T43" fmla="*/ 2147483647 h 1195"/>
              <a:gd name="T44" fmla="*/ 2147483647 w 1023"/>
              <a:gd name="T45" fmla="*/ 2147483647 h 1195"/>
              <a:gd name="T46" fmla="*/ 2147483647 w 1023"/>
              <a:gd name="T47" fmla="*/ 2147483647 h 1195"/>
              <a:gd name="T48" fmla="*/ 2147483647 w 1023"/>
              <a:gd name="T49" fmla="*/ 2147483647 h 1195"/>
              <a:gd name="T50" fmla="*/ 2147483647 w 1023"/>
              <a:gd name="T51" fmla="*/ 2147483647 h 1195"/>
              <a:gd name="T52" fmla="*/ 2147483647 w 1023"/>
              <a:gd name="T53" fmla="*/ 2147483647 h 1195"/>
              <a:gd name="T54" fmla="*/ 2147483647 w 1023"/>
              <a:gd name="T55" fmla="*/ 2147483647 h 1195"/>
              <a:gd name="T56" fmla="*/ 2147483647 w 1023"/>
              <a:gd name="T57" fmla="*/ 2147483647 h 1195"/>
              <a:gd name="T58" fmla="*/ 2147483647 w 1023"/>
              <a:gd name="T59" fmla="*/ 2147483647 h 1195"/>
              <a:gd name="T60" fmla="*/ 2147483647 w 1023"/>
              <a:gd name="T61" fmla="*/ 2147483647 h 1195"/>
              <a:gd name="T62" fmla="*/ 2147483647 w 1023"/>
              <a:gd name="T63" fmla="*/ 2147483647 h 1195"/>
              <a:gd name="T64" fmla="*/ 2147483647 w 1023"/>
              <a:gd name="T65" fmla="*/ 2147483647 h 1195"/>
              <a:gd name="T66" fmla="*/ 2147483647 w 1023"/>
              <a:gd name="T67" fmla="*/ 2147483647 h 1195"/>
              <a:gd name="T68" fmla="*/ 2147483647 w 1023"/>
              <a:gd name="T69" fmla="*/ 2147483647 h 1195"/>
              <a:gd name="T70" fmla="*/ 2147483647 w 1023"/>
              <a:gd name="T71" fmla="*/ 2147483647 h 1195"/>
              <a:gd name="T72" fmla="*/ 2147483647 w 1023"/>
              <a:gd name="T73" fmla="*/ 2147483647 h 1195"/>
              <a:gd name="T74" fmla="*/ 2147483647 w 1023"/>
              <a:gd name="T75" fmla="*/ 2147483647 h 1195"/>
              <a:gd name="T76" fmla="*/ 2147483647 w 1023"/>
              <a:gd name="T77" fmla="*/ 2147483647 h 1195"/>
              <a:gd name="T78" fmla="*/ 2147483647 w 1023"/>
              <a:gd name="T79" fmla="*/ 2147483647 h 1195"/>
              <a:gd name="T80" fmla="*/ 2147483647 w 1023"/>
              <a:gd name="T81" fmla="*/ 2147483647 h 1195"/>
              <a:gd name="T82" fmla="*/ 2147483647 w 1023"/>
              <a:gd name="T83" fmla="*/ 2147483647 h 1195"/>
              <a:gd name="T84" fmla="*/ 2147483647 w 1023"/>
              <a:gd name="T85" fmla="*/ 2147483647 h 1195"/>
              <a:gd name="T86" fmla="*/ 2147483647 w 1023"/>
              <a:gd name="T87" fmla="*/ 2147483647 h 1195"/>
              <a:gd name="T88" fmla="*/ 2147483647 w 1023"/>
              <a:gd name="T89" fmla="*/ 2147483647 h 1195"/>
              <a:gd name="T90" fmla="*/ 2147483647 w 1023"/>
              <a:gd name="T91" fmla="*/ 2147483647 h 1195"/>
              <a:gd name="T92" fmla="*/ 2147483647 w 1023"/>
              <a:gd name="T93" fmla="*/ 2147483647 h 1195"/>
              <a:gd name="T94" fmla="*/ 2147483647 w 1023"/>
              <a:gd name="T95" fmla="*/ 2147483647 h 1195"/>
              <a:gd name="T96" fmla="*/ 2147483647 w 1023"/>
              <a:gd name="T97" fmla="*/ 2147483647 h 1195"/>
              <a:gd name="T98" fmla="*/ 2147483647 w 1023"/>
              <a:gd name="T99" fmla="*/ 2147483647 h 1195"/>
              <a:gd name="T100" fmla="*/ 2147483647 w 1023"/>
              <a:gd name="T101" fmla="*/ 2147483647 h 1195"/>
              <a:gd name="T102" fmla="*/ 2147483647 w 1023"/>
              <a:gd name="T103" fmla="*/ 2147483647 h 1195"/>
              <a:gd name="T104" fmla="*/ 2147483647 w 1023"/>
              <a:gd name="T105" fmla="*/ 2147483647 h 1195"/>
              <a:gd name="T106" fmla="*/ 2147483647 w 1023"/>
              <a:gd name="T107" fmla="*/ 2147483647 h 1195"/>
              <a:gd name="T108" fmla="*/ 2147483647 w 1023"/>
              <a:gd name="T109" fmla="*/ 2147483647 h 1195"/>
              <a:gd name="T110" fmla="*/ 2147483647 w 1023"/>
              <a:gd name="T111" fmla="*/ 2147483647 h 1195"/>
              <a:gd name="T112" fmla="*/ 2147483647 w 1023"/>
              <a:gd name="T113" fmla="*/ 2147483647 h 1195"/>
              <a:gd name="T114" fmla="*/ 2147483647 w 1023"/>
              <a:gd name="T115" fmla="*/ 2147483647 h 1195"/>
              <a:gd name="T116" fmla="*/ 2147483647 w 1023"/>
              <a:gd name="T117" fmla="*/ 2147483647 h 1195"/>
              <a:gd name="T118" fmla="*/ 2147483647 w 1023"/>
              <a:gd name="T119" fmla="*/ 2147483647 h 1195"/>
              <a:gd name="T120" fmla="*/ 2147483647 w 1023"/>
              <a:gd name="T121" fmla="*/ 2147483647 h 1195"/>
              <a:gd name="T122" fmla="*/ 2147483647 w 1023"/>
              <a:gd name="T123" fmla="*/ 2147483647 h 1195"/>
              <a:gd name="T124" fmla="*/ 2147483647 w 1023"/>
              <a:gd name="T125" fmla="*/ 2147483647 h 1195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023"/>
              <a:gd name="T190" fmla="*/ 0 h 1195"/>
              <a:gd name="T191" fmla="*/ 1023 w 1023"/>
              <a:gd name="T192" fmla="*/ 1195 h 1195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023" h="1195">
                <a:moveTo>
                  <a:pt x="806" y="255"/>
                </a:moveTo>
                <a:lnTo>
                  <a:pt x="820" y="255"/>
                </a:lnTo>
                <a:lnTo>
                  <a:pt x="821" y="294"/>
                </a:lnTo>
                <a:lnTo>
                  <a:pt x="838" y="330"/>
                </a:lnTo>
                <a:lnTo>
                  <a:pt x="850" y="370"/>
                </a:lnTo>
                <a:lnTo>
                  <a:pt x="846" y="394"/>
                </a:lnTo>
                <a:lnTo>
                  <a:pt x="835" y="401"/>
                </a:lnTo>
                <a:lnTo>
                  <a:pt x="827" y="438"/>
                </a:lnTo>
                <a:lnTo>
                  <a:pt x="815" y="436"/>
                </a:lnTo>
                <a:lnTo>
                  <a:pt x="803" y="444"/>
                </a:lnTo>
                <a:lnTo>
                  <a:pt x="799" y="460"/>
                </a:lnTo>
                <a:lnTo>
                  <a:pt x="804" y="516"/>
                </a:lnTo>
                <a:lnTo>
                  <a:pt x="796" y="525"/>
                </a:lnTo>
                <a:lnTo>
                  <a:pt x="786" y="556"/>
                </a:lnTo>
                <a:lnTo>
                  <a:pt x="786" y="576"/>
                </a:lnTo>
                <a:lnTo>
                  <a:pt x="793" y="588"/>
                </a:lnTo>
                <a:lnTo>
                  <a:pt x="773" y="619"/>
                </a:lnTo>
                <a:lnTo>
                  <a:pt x="750" y="636"/>
                </a:lnTo>
                <a:lnTo>
                  <a:pt x="752" y="607"/>
                </a:lnTo>
                <a:lnTo>
                  <a:pt x="761" y="592"/>
                </a:lnTo>
                <a:lnTo>
                  <a:pt x="748" y="592"/>
                </a:lnTo>
                <a:lnTo>
                  <a:pt x="740" y="619"/>
                </a:lnTo>
                <a:lnTo>
                  <a:pt x="723" y="613"/>
                </a:lnTo>
                <a:lnTo>
                  <a:pt x="710" y="650"/>
                </a:lnTo>
                <a:lnTo>
                  <a:pt x="703" y="648"/>
                </a:lnTo>
                <a:lnTo>
                  <a:pt x="703" y="626"/>
                </a:lnTo>
                <a:lnTo>
                  <a:pt x="694" y="624"/>
                </a:lnTo>
                <a:lnTo>
                  <a:pt x="673" y="653"/>
                </a:lnTo>
                <a:lnTo>
                  <a:pt x="622" y="653"/>
                </a:lnTo>
                <a:lnTo>
                  <a:pt x="631" y="644"/>
                </a:lnTo>
                <a:lnTo>
                  <a:pt x="618" y="639"/>
                </a:lnTo>
                <a:lnTo>
                  <a:pt x="615" y="644"/>
                </a:lnTo>
                <a:lnTo>
                  <a:pt x="609" y="638"/>
                </a:lnTo>
                <a:lnTo>
                  <a:pt x="609" y="626"/>
                </a:lnTo>
                <a:lnTo>
                  <a:pt x="595" y="650"/>
                </a:lnTo>
                <a:lnTo>
                  <a:pt x="612" y="660"/>
                </a:lnTo>
                <a:lnTo>
                  <a:pt x="612" y="673"/>
                </a:lnTo>
                <a:lnTo>
                  <a:pt x="605" y="669"/>
                </a:lnTo>
                <a:lnTo>
                  <a:pt x="588" y="675"/>
                </a:lnTo>
                <a:lnTo>
                  <a:pt x="569" y="707"/>
                </a:lnTo>
                <a:lnTo>
                  <a:pt x="559" y="714"/>
                </a:lnTo>
                <a:lnTo>
                  <a:pt x="547" y="707"/>
                </a:lnTo>
                <a:lnTo>
                  <a:pt x="532" y="686"/>
                </a:lnTo>
                <a:lnTo>
                  <a:pt x="532" y="669"/>
                </a:lnTo>
                <a:lnTo>
                  <a:pt x="544" y="652"/>
                </a:lnTo>
                <a:lnTo>
                  <a:pt x="542" y="646"/>
                </a:lnTo>
                <a:lnTo>
                  <a:pt x="527" y="650"/>
                </a:lnTo>
                <a:lnTo>
                  <a:pt x="496" y="643"/>
                </a:lnTo>
                <a:lnTo>
                  <a:pt x="473" y="660"/>
                </a:lnTo>
                <a:lnTo>
                  <a:pt x="465" y="656"/>
                </a:lnTo>
                <a:lnTo>
                  <a:pt x="413" y="672"/>
                </a:lnTo>
                <a:lnTo>
                  <a:pt x="407" y="667"/>
                </a:lnTo>
                <a:lnTo>
                  <a:pt x="390" y="690"/>
                </a:lnTo>
                <a:lnTo>
                  <a:pt x="371" y="684"/>
                </a:lnTo>
                <a:lnTo>
                  <a:pt x="351" y="689"/>
                </a:lnTo>
                <a:lnTo>
                  <a:pt x="335" y="684"/>
                </a:lnTo>
                <a:lnTo>
                  <a:pt x="335" y="667"/>
                </a:lnTo>
                <a:lnTo>
                  <a:pt x="357" y="660"/>
                </a:lnTo>
                <a:lnTo>
                  <a:pt x="424" y="601"/>
                </a:lnTo>
                <a:lnTo>
                  <a:pt x="478" y="601"/>
                </a:lnTo>
                <a:lnTo>
                  <a:pt x="535" y="588"/>
                </a:lnTo>
                <a:lnTo>
                  <a:pt x="535" y="596"/>
                </a:lnTo>
                <a:lnTo>
                  <a:pt x="559" y="601"/>
                </a:lnTo>
                <a:lnTo>
                  <a:pt x="572" y="588"/>
                </a:lnTo>
                <a:lnTo>
                  <a:pt x="574" y="562"/>
                </a:lnTo>
                <a:lnTo>
                  <a:pt x="598" y="534"/>
                </a:lnTo>
                <a:lnTo>
                  <a:pt x="608" y="495"/>
                </a:lnTo>
                <a:lnTo>
                  <a:pt x="623" y="487"/>
                </a:lnTo>
                <a:lnTo>
                  <a:pt x="631" y="489"/>
                </a:lnTo>
                <a:lnTo>
                  <a:pt x="628" y="495"/>
                </a:lnTo>
                <a:lnTo>
                  <a:pt x="615" y="509"/>
                </a:lnTo>
                <a:lnTo>
                  <a:pt x="618" y="529"/>
                </a:lnTo>
                <a:lnTo>
                  <a:pt x="632" y="528"/>
                </a:lnTo>
                <a:lnTo>
                  <a:pt x="681" y="497"/>
                </a:lnTo>
                <a:lnTo>
                  <a:pt x="705" y="465"/>
                </a:lnTo>
                <a:lnTo>
                  <a:pt x="722" y="458"/>
                </a:lnTo>
                <a:lnTo>
                  <a:pt x="744" y="407"/>
                </a:lnTo>
                <a:lnTo>
                  <a:pt x="757" y="367"/>
                </a:lnTo>
                <a:lnTo>
                  <a:pt x="757" y="353"/>
                </a:lnTo>
                <a:lnTo>
                  <a:pt x="742" y="344"/>
                </a:lnTo>
                <a:lnTo>
                  <a:pt x="756" y="328"/>
                </a:lnTo>
                <a:lnTo>
                  <a:pt x="753" y="301"/>
                </a:lnTo>
                <a:lnTo>
                  <a:pt x="765" y="291"/>
                </a:lnTo>
                <a:lnTo>
                  <a:pt x="767" y="277"/>
                </a:lnTo>
                <a:lnTo>
                  <a:pt x="776" y="267"/>
                </a:lnTo>
                <a:lnTo>
                  <a:pt x="789" y="291"/>
                </a:lnTo>
                <a:lnTo>
                  <a:pt x="795" y="282"/>
                </a:lnTo>
                <a:lnTo>
                  <a:pt x="806" y="284"/>
                </a:lnTo>
                <a:lnTo>
                  <a:pt x="813" y="263"/>
                </a:lnTo>
                <a:lnTo>
                  <a:pt x="795" y="272"/>
                </a:lnTo>
                <a:lnTo>
                  <a:pt x="791" y="262"/>
                </a:lnTo>
                <a:lnTo>
                  <a:pt x="795" y="252"/>
                </a:lnTo>
                <a:lnTo>
                  <a:pt x="806" y="255"/>
                </a:lnTo>
                <a:close/>
                <a:moveTo>
                  <a:pt x="73" y="1167"/>
                </a:moveTo>
                <a:lnTo>
                  <a:pt x="80" y="1173"/>
                </a:lnTo>
                <a:lnTo>
                  <a:pt x="74" y="1175"/>
                </a:lnTo>
                <a:lnTo>
                  <a:pt x="73" y="1167"/>
                </a:lnTo>
                <a:close/>
                <a:moveTo>
                  <a:pt x="17" y="1187"/>
                </a:moveTo>
                <a:lnTo>
                  <a:pt x="24" y="1183"/>
                </a:lnTo>
                <a:lnTo>
                  <a:pt x="24" y="1190"/>
                </a:lnTo>
                <a:lnTo>
                  <a:pt x="18" y="1193"/>
                </a:lnTo>
                <a:lnTo>
                  <a:pt x="17" y="1187"/>
                </a:lnTo>
                <a:close/>
                <a:moveTo>
                  <a:pt x="0" y="1187"/>
                </a:moveTo>
                <a:lnTo>
                  <a:pt x="7" y="1193"/>
                </a:lnTo>
                <a:lnTo>
                  <a:pt x="0" y="1195"/>
                </a:lnTo>
                <a:lnTo>
                  <a:pt x="0" y="1187"/>
                </a:lnTo>
                <a:close/>
                <a:moveTo>
                  <a:pt x="807" y="13"/>
                </a:moveTo>
                <a:lnTo>
                  <a:pt x="803" y="19"/>
                </a:lnTo>
                <a:lnTo>
                  <a:pt x="813" y="23"/>
                </a:lnTo>
                <a:lnTo>
                  <a:pt x="813" y="13"/>
                </a:lnTo>
                <a:lnTo>
                  <a:pt x="807" y="13"/>
                </a:lnTo>
                <a:close/>
                <a:moveTo>
                  <a:pt x="263" y="648"/>
                </a:moveTo>
                <a:lnTo>
                  <a:pt x="266" y="652"/>
                </a:lnTo>
                <a:lnTo>
                  <a:pt x="264" y="667"/>
                </a:lnTo>
                <a:lnTo>
                  <a:pt x="263" y="648"/>
                </a:lnTo>
                <a:close/>
                <a:moveTo>
                  <a:pt x="258" y="667"/>
                </a:moveTo>
                <a:lnTo>
                  <a:pt x="255" y="680"/>
                </a:lnTo>
                <a:lnTo>
                  <a:pt x="258" y="675"/>
                </a:lnTo>
                <a:lnTo>
                  <a:pt x="258" y="667"/>
                </a:lnTo>
                <a:close/>
                <a:moveTo>
                  <a:pt x="255" y="741"/>
                </a:moveTo>
                <a:lnTo>
                  <a:pt x="249" y="735"/>
                </a:lnTo>
                <a:lnTo>
                  <a:pt x="247" y="749"/>
                </a:lnTo>
                <a:lnTo>
                  <a:pt x="255" y="741"/>
                </a:lnTo>
                <a:close/>
                <a:moveTo>
                  <a:pt x="238" y="752"/>
                </a:moveTo>
                <a:lnTo>
                  <a:pt x="230" y="757"/>
                </a:lnTo>
                <a:lnTo>
                  <a:pt x="230" y="763"/>
                </a:lnTo>
                <a:lnTo>
                  <a:pt x="238" y="761"/>
                </a:lnTo>
                <a:lnTo>
                  <a:pt x="238" y="752"/>
                </a:lnTo>
                <a:close/>
                <a:moveTo>
                  <a:pt x="297" y="766"/>
                </a:moveTo>
                <a:lnTo>
                  <a:pt x="295" y="785"/>
                </a:lnTo>
                <a:lnTo>
                  <a:pt x="301" y="769"/>
                </a:lnTo>
                <a:lnTo>
                  <a:pt x="297" y="766"/>
                </a:lnTo>
                <a:close/>
                <a:moveTo>
                  <a:pt x="340" y="867"/>
                </a:moveTo>
                <a:lnTo>
                  <a:pt x="340" y="859"/>
                </a:lnTo>
                <a:lnTo>
                  <a:pt x="337" y="867"/>
                </a:lnTo>
                <a:lnTo>
                  <a:pt x="337" y="881"/>
                </a:lnTo>
                <a:lnTo>
                  <a:pt x="340" y="867"/>
                </a:lnTo>
                <a:close/>
                <a:moveTo>
                  <a:pt x="263" y="983"/>
                </a:moveTo>
                <a:lnTo>
                  <a:pt x="273" y="980"/>
                </a:lnTo>
                <a:lnTo>
                  <a:pt x="259" y="995"/>
                </a:lnTo>
                <a:lnTo>
                  <a:pt x="256" y="988"/>
                </a:lnTo>
                <a:lnTo>
                  <a:pt x="263" y="983"/>
                </a:lnTo>
                <a:close/>
                <a:moveTo>
                  <a:pt x="241" y="1015"/>
                </a:moveTo>
                <a:lnTo>
                  <a:pt x="239" y="1009"/>
                </a:lnTo>
                <a:lnTo>
                  <a:pt x="241" y="1015"/>
                </a:lnTo>
                <a:close/>
                <a:moveTo>
                  <a:pt x="188" y="1082"/>
                </a:moveTo>
                <a:lnTo>
                  <a:pt x="191" y="1071"/>
                </a:lnTo>
                <a:lnTo>
                  <a:pt x="207" y="1063"/>
                </a:lnTo>
                <a:lnTo>
                  <a:pt x="204" y="1077"/>
                </a:lnTo>
                <a:lnTo>
                  <a:pt x="191" y="1088"/>
                </a:lnTo>
                <a:lnTo>
                  <a:pt x="185" y="1100"/>
                </a:lnTo>
                <a:lnTo>
                  <a:pt x="183" y="1093"/>
                </a:lnTo>
                <a:lnTo>
                  <a:pt x="188" y="1082"/>
                </a:lnTo>
                <a:close/>
                <a:moveTo>
                  <a:pt x="315" y="881"/>
                </a:moveTo>
                <a:lnTo>
                  <a:pt x="310" y="884"/>
                </a:lnTo>
                <a:lnTo>
                  <a:pt x="314" y="888"/>
                </a:lnTo>
                <a:lnTo>
                  <a:pt x="320" y="890"/>
                </a:lnTo>
                <a:lnTo>
                  <a:pt x="320" y="884"/>
                </a:lnTo>
                <a:lnTo>
                  <a:pt x="315" y="881"/>
                </a:lnTo>
                <a:close/>
                <a:moveTo>
                  <a:pt x="331" y="690"/>
                </a:moveTo>
                <a:lnTo>
                  <a:pt x="320" y="692"/>
                </a:lnTo>
                <a:lnTo>
                  <a:pt x="309" y="707"/>
                </a:lnTo>
                <a:lnTo>
                  <a:pt x="288" y="712"/>
                </a:lnTo>
                <a:lnTo>
                  <a:pt x="275" y="729"/>
                </a:lnTo>
                <a:lnTo>
                  <a:pt x="288" y="741"/>
                </a:lnTo>
                <a:lnTo>
                  <a:pt x="288" y="748"/>
                </a:lnTo>
                <a:lnTo>
                  <a:pt x="278" y="740"/>
                </a:lnTo>
                <a:lnTo>
                  <a:pt x="281" y="761"/>
                </a:lnTo>
                <a:lnTo>
                  <a:pt x="297" y="754"/>
                </a:lnTo>
                <a:lnTo>
                  <a:pt x="305" y="758"/>
                </a:lnTo>
                <a:lnTo>
                  <a:pt x="309" y="751"/>
                </a:lnTo>
                <a:lnTo>
                  <a:pt x="300" y="744"/>
                </a:lnTo>
                <a:lnTo>
                  <a:pt x="300" y="734"/>
                </a:lnTo>
                <a:lnTo>
                  <a:pt x="305" y="731"/>
                </a:lnTo>
                <a:lnTo>
                  <a:pt x="317" y="751"/>
                </a:lnTo>
                <a:lnTo>
                  <a:pt x="318" y="771"/>
                </a:lnTo>
                <a:lnTo>
                  <a:pt x="303" y="797"/>
                </a:lnTo>
                <a:lnTo>
                  <a:pt x="303" y="829"/>
                </a:lnTo>
                <a:lnTo>
                  <a:pt x="320" y="839"/>
                </a:lnTo>
                <a:lnTo>
                  <a:pt x="322" y="811"/>
                </a:lnTo>
                <a:lnTo>
                  <a:pt x="329" y="812"/>
                </a:lnTo>
                <a:lnTo>
                  <a:pt x="326" y="822"/>
                </a:lnTo>
                <a:lnTo>
                  <a:pt x="327" y="845"/>
                </a:lnTo>
                <a:lnTo>
                  <a:pt x="340" y="837"/>
                </a:lnTo>
                <a:lnTo>
                  <a:pt x="348" y="822"/>
                </a:lnTo>
                <a:lnTo>
                  <a:pt x="352" y="825"/>
                </a:lnTo>
                <a:lnTo>
                  <a:pt x="369" y="771"/>
                </a:lnTo>
                <a:lnTo>
                  <a:pt x="383" y="746"/>
                </a:lnTo>
                <a:lnTo>
                  <a:pt x="377" y="729"/>
                </a:lnTo>
                <a:lnTo>
                  <a:pt x="368" y="726"/>
                </a:lnTo>
                <a:lnTo>
                  <a:pt x="368" y="704"/>
                </a:lnTo>
                <a:lnTo>
                  <a:pt x="348" y="707"/>
                </a:lnTo>
                <a:lnTo>
                  <a:pt x="337" y="690"/>
                </a:lnTo>
                <a:lnTo>
                  <a:pt x="331" y="690"/>
                </a:lnTo>
                <a:close/>
                <a:moveTo>
                  <a:pt x="487" y="724"/>
                </a:moveTo>
                <a:lnTo>
                  <a:pt x="464" y="714"/>
                </a:lnTo>
                <a:lnTo>
                  <a:pt x="454" y="715"/>
                </a:lnTo>
                <a:lnTo>
                  <a:pt x="445" y="723"/>
                </a:lnTo>
                <a:lnTo>
                  <a:pt x="433" y="754"/>
                </a:lnTo>
                <a:lnTo>
                  <a:pt x="424" y="754"/>
                </a:lnTo>
                <a:lnTo>
                  <a:pt x="413" y="744"/>
                </a:lnTo>
                <a:lnTo>
                  <a:pt x="405" y="723"/>
                </a:lnTo>
                <a:lnTo>
                  <a:pt x="393" y="720"/>
                </a:lnTo>
                <a:lnTo>
                  <a:pt x="424" y="686"/>
                </a:lnTo>
                <a:lnTo>
                  <a:pt x="448" y="687"/>
                </a:lnTo>
                <a:lnTo>
                  <a:pt x="478" y="664"/>
                </a:lnTo>
                <a:lnTo>
                  <a:pt x="503" y="673"/>
                </a:lnTo>
                <a:lnTo>
                  <a:pt x="510" y="695"/>
                </a:lnTo>
                <a:lnTo>
                  <a:pt x="487" y="724"/>
                </a:lnTo>
                <a:close/>
                <a:moveTo>
                  <a:pt x="985" y="87"/>
                </a:moveTo>
                <a:lnTo>
                  <a:pt x="999" y="76"/>
                </a:lnTo>
                <a:lnTo>
                  <a:pt x="1002" y="79"/>
                </a:lnTo>
                <a:lnTo>
                  <a:pt x="991" y="104"/>
                </a:lnTo>
                <a:lnTo>
                  <a:pt x="1001" y="120"/>
                </a:lnTo>
                <a:lnTo>
                  <a:pt x="1001" y="133"/>
                </a:lnTo>
                <a:lnTo>
                  <a:pt x="1023" y="129"/>
                </a:lnTo>
                <a:lnTo>
                  <a:pt x="1019" y="138"/>
                </a:lnTo>
                <a:lnTo>
                  <a:pt x="993" y="153"/>
                </a:lnTo>
                <a:lnTo>
                  <a:pt x="979" y="153"/>
                </a:lnTo>
                <a:lnTo>
                  <a:pt x="974" y="160"/>
                </a:lnTo>
                <a:lnTo>
                  <a:pt x="947" y="160"/>
                </a:lnTo>
                <a:lnTo>
                  <a:pt x="934" y="167"/>
                </a:lnTo>
                <a:lnTo>
                  <a:pt x="926" y="174"/>
                </a:lnTo>
                <a:lnTo>
                  <a:pt x="905" y="221"/>
                </a:lnTo>
                <a:lnTo>
                  <a:pt x="841" y="184"/>
                </a:lnTo>
                <a:lnTo>
                  <a:pt x="827" y="183"/>
                </a:lnTo>
                <a:lnTo>
                  <a:pt x="807" y="194"/>
                </a:lnTo>
                <a:lnTo>
                  <a:pt x="776" y="186"/>
                </a:lnTo>
                <a:lnTo>
                  <a:pt x="769" y="198"/>
                </a:lnTo>
                <a:lnTo>
                  <a:pt x="774" y="208"/>
                </a:lnTo>
                <a:lnTo>
                  <a:pt x="807" y="228"/>
                </a:lnTo>
                <a:lnTo>
                  <a:pt x="804" y="235"/>
                </a:lnTo>
                <a:lnTo>
                  <a:pt x="787" y="235"/>
                </a:lnTo>
                <a:lnTo>
                  <a:pt x="764" y="255"/>
                </a:lnTo>
                <a:lnTo>
                  <a:pt x="757" y="252"/>
                </a:lnTo>
                <a:lnTo>
                  <a:pt x="756" y="243"/>
                </a:lnTo>
                <a:lnTo>
                  <a:pt x="761" y="218"/>
                </a:lnTo>
                <a:lnTo>
                  <a:pt x="745" y="203"/>
                </a:lnTo>
                <a:lnTo>
                  <a:pt x="747" y="184"/>
                </a:lnTo>
                <a:lnTo>
                  <a:pt x="774" y="160"/>
                </a:lnTo>
                <a:lnTo>
                  <a:pt x="774" y="137"/>
                </a:lnTo>
                <a:lnTo>
                  <a:pt x="813" y="144"/>
                </a:lnTo>
                <a:lnTo>
                  <a:pt x="820" y="130"/>
                </a:lnTo>
                <a:lnTo>
                  <a:pt x="818" y="110"/>
                </a:lnTo>
                <a:lnTo>
                  <a:pt x="830" y="87"/>
                </a:lnTo>
                <a:lnTo>
                  <a:pt x="837" y="47"/>
                </a:lnTo>
                <a:lnTo>
                  <a:pt x="833" y="30"/>
                </a:lnTo>
                <a:lnTo>
                  <a:pt x="829" y="10"/>
                </a:lnTo>
                <a:lnTo>
                  <a:pt x="838" y="0"/>
                </a:lnTo>
                <a:lnTo>
                  <a:pt x="849" y="5"/>
                </a:lnTo>
                <a:lnTo>
                  <a:pt x="880" y="44"/>
                </a:lnTo>
                <a:lnTo>
                  <a:pt x="913" y="74"/>
                </a:lnTo>
                <a:lnTo>
                  <a:pt x="965" y="98"/>
                </a:lnTo>
                <a:lnTo>
                  <a:pt x="985" y="87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391" name="Freeform 80"/>
          <p:cNvSpPr>
            <a:spLocks noChangeAspect="1" noEditPoints="1"/>
          </p:cNvSpPr>
          <p:nvPr/>
        </p:nvSpPr>
        <p:spPr bwMode="gray">
          <a:xfrm>
            <a:off x="8618538" y="4376738"/>
            <a:ext cx="68262" cy="133350"/>
          </a:xfrm>
          <a:custGeom>
            <a:avLst/>
            <a:gdLst>
              <a:gd name="T0" fmla="*/ 2147483647 w 142"/>
              <a:gd name="T1" fmla="*/ 0 h 270"/>
              <a:gd name="T2" fmla="*/ 2147483647 w 142"/>
              <a:gd name="T3" fmla="*/ 2147483647 h 270"/>
              <a:gd name="T4" fmla="*/ 2147483647 w 142"/>
              <a:gd name="T5" fmla="*/ 2147483647 h 270"/>
              <a:gd name="T6" fmla="*/ 2147483647 w 142"/>
              <a:gd name="T7" fmla="*/ 2147483647 h 270"/>
              <a:gd name="T8" fmla="*/ 0 w 142"/>
              <a:gd name="T9" fmla="*/ 0 h 270"/>
              <a:gd name="T10" fmla="*/ 2147483647 w 142"/>
              <a:gd name="T11" fmla="*/ 0 h 270"/>
              <a:gd name="T12" fmla="*/ 2147483647 w 142"/>
              <a:gd name="T13" fmla="*/ 2147483647 h 270"/>
              <a:gd name="T14" fmla="*/ 2147483647 w 142"/>
              <a:gd name="T15" fmla="*/ 2147483647 h 270"/>
              <a:gd name="T16" fmla="*/ 2147483647 w 142"/>
              <a:gd name="T17" fmla="*/ 2147483647 h 270"/>
              <a:gd name="T18" fmla="*/ 2147483647 w 142"/>
              <a:gd name="T19" fmla="*/ 2147483647 h 270"/>
              <a:gd name="T20" fmla="*/ 2147483647 w 142"/>
              <a:gd name="T21" fmla="*/ 2147483647 h 270"/>
              <a:gd name="T22" fmla="*/ 2147483647 w 142"/>
              <a:gd name="T23" fmla="*/ 2147483647 h 270"/>
              <a:gd name="T24" fmla="*/ 2147483647 w 142"/>
              <a:gd name="T25" fmla="*/ 2147483647 h 270"/>
              <a:gd name="T26" fmla="*/ 2147483647 w 142"/>
              <a:gd name="T27" fmla="*/ 2147483647 h 270"/>
              <a:gd name="T28" fmla="*/ 2147483647 w 142"/>
              <a:gd name="T29" fmla="*/ 2147483647 h 270"/>
              <a:gd name="T30" fmla="*/ 2147483647 w 142"/>
              <a:gd name="T31" fmla="*/ 2147483647 h 27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42"/>
              <a:gd name="T49" fmla="*/ 0 h 270"/>
              <a:gd name="T50" fmla="*/ 142 w 142"/>
              <a:gd name="T51" fmla="*/ 270 h 270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42" h="270">
                <a:moveTo>
                  <a:pt x="13" y="0"/>
                </a:moveTo>
                <a:lnTo>
                  <a:pt x="27" y="3"/>
                </a:lnTo>
                <a:lnTo>
                  <a:pt x="34" y="20"/>
                </a:lnTo>
                <a:lnTo>
                  <a:pt x="10" y="13"/>
                </a:lnTo>
                <a:lnTo>
                  <a:pt x="0" y="0"/>
                </a:lnTo>
                <a:lnTo>
                  <a:pt x="13" y="0"/>
                </a:lnTo>
                <a:close/>
                <a:moveTo>
                  <a:pt x="142" y="261"/>
                </a:moveTo>
                <a:lnTo>
                  <a:pt x="142" y="270"/>
                </a:lnTo>
                <a:lnTo>
                  <a:pt x="137" y="261"/>
                </a:lnTo>
                <a:lnTo>
                  <a:pt x="142" y="258"/>
                </a:lnTo>
                <a:lnTo>
                  <a:pt x="142" y="261"/>
                </a:lnTo>
                <a:close/>
                <a:moveTo>
                  <a:pt x="54" y="18"/>
                </a:moveTo>
                <a:lnTo>
                  <a:pt x="69" y="26"/>
                </a:lnTo>
                <a:lnTo>
                  <a:pt x="46" y="26"/>
                </a:lnTo>
                <a:lnTo>
                  <a:pt x="38" y="20"/>
                </a:lnTo>
                <a:lnTo>
                  <a:pt x="54" y="18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392" name="Freeform 81"/>
          <p:cNvSpPr>
            <a:spLocks noChangeAspect="1"/>
          </p:cNvSpPr>
          <p:nvPr/>
        </p:nvSpPr>
        <p:spPr bwMode="gray">
          <a:xfrm>
            <a:off x="5132388" y="2974975"/>
            <a:ext cx="50800" cy="31750"/>
          </a:xfrm>
          <a:custGeom>
            <a:avLst/>
            <a:gdLst>
              <a:gd name="T0" fmla="*/ 2147483647 w 105"/>
              <a:gd name="T1" fmla="*/ 2147483647 h 63"/>
              <a:gd name="T2" fmla="*/ 2147483647 w 105"/>
              <a:gd name="T3" fmla="*/ 0 h 63"/>
              <a:gd name="T4" fmla="*/ 2147483647 w 105"/>
              <a:gd name="T5" fmla="*/ 2147483647 h 63"/>
              <a:gd name="T6" fmla="*/ 2147483647 w 105"/>
              <a:gd name="T7" fmla="*/ 2147483647 h 63"/>
              <a:gd name="T8" fmla="*/ 2147483647 w 105"/>
              <a:gd name="T9" fmla="*/ 2147483647 h 63"/>
              <a:gd name="T10" fmla="*/ 2147483647 w 105"/>
              <a:gd name="T11" fmla="*/ 2147483647 h 63"/>
              <a:gd name="T12" fmla="*/ 0 w 105"/>
              <a:gd name="T13" fmla="*/ 2147483647 h 63"/>
              <a:gd name="T14" fmla="*/ 2147483647 w 105"/>
              <a:gd name="T15" fmla="*/ 2147483647 h 63"/>
              <a:gd name="T16" fmla="*/ 2147483647 w 105"/>
              <a:gd name="T17" fmla="*/ 2147483647 h 63"/>
              <a:gd name="T18" fmla="*/ 2147483647 w 105"/>
              <a:gd name="T19" fmla="*/ 2147483647 h 63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05"/>
              <a:gd name="T31" fmla="*/ 0 h 63"/>
              <a:gd name="T32" fmla="*/ 105 w 105"/>
              <a:gd name="T33" fmla="*/ 63 h 63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05" h="63">
                <a:moveTo>
                  <a:pt x="78" y="14"/>
                </a:moveTo>
                <a:lnTo>
                  <a:pt x="105" y="0"/>
                </a:lnTo>
                <a:lnTo>
                  <a:pt x="90" y="17"/>
                </a:lnTo>
                <a:lnTo>
                  <a:pt x="78" y="44"/>
                </a:lnTo>
                <a:lnTo>
                  <a:pt x="36" y="63"/>
                </a:lnTo>
                <a:lnTo>
                  <a:pt x="10" y="57"/>
                </a:lnTo>
                <a:lnTo>
                  <a:pt x="0" y="39"/>
                </a:lnTo>
                <a:lnTo>
                  <a:pt x="31" y="29"/>
                </a:lnTo>
                <a:lnTo>
                  <a:pt x="31" y="20"/>
                </a:lnTo>
                <a:lnTo>
                  <a:pt x="78" y="14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393" name="Freeform 82"/>
          <p:cNvSpPr>
            <a:spLocks noChangeAspect="1" noEditPoints="1"/>
          </p:cNvSpPr>
          <p:nvPr/>
        </p:nvSpPr>
        <p:spPr bwMode="gray">
          <a:xfrm>
            <a:off x="4846638" y="2801938"/>
            <a:ext cx="195262" cy="196850"/>
          </a:xfrm>
          <a:custGeom>
            <a:avLst/>
            <a:gdLst>
              <a:gd name="T0" fmla="*/ 0 w 399"/>
              <a:gd name="T1" fmla="*/ 2147483647 h 407"/>
              <a:gd name="T2" fmla="*/ 2147483647 w 399"/>
              <a:gd name="T3" fmla="*/ 2147483647 h 407"/>
              <a:gd name="T4" fmla="*/ 2147483647 w 399"/>
              <a:gd name="T5" fmla="*/ 2147483647 h 407"/>
              <a:gd name="T6" fmla="*/ 2147483647 w 399"/>
              <a:gd name="T7" fmla="*/ 2147483647 h 407"/>
              <a:gd name="T8" fmla="*/ 2147483647 w 399"/>
              <a:gd name="T9" fmla="*/ 2147483647 h 407"/>
              <a:gd name="T10" fmla="*/ 2147483647 w 399"/>
              <a:gd name="T11" fmla="*/ 2147483647 h 407"/>
              <a:gd name="T12" fmla="*/ 2147483647 w 399"/>
              <a:gd name="T13" fmla="*/ 2147483647 h 407"/>
              <a:gd name="T14" fmla="*/ 2147483647 w 399"/>
              <a:gd name="T15" fmla="*/ 2147483647 h 407"/>
              <a:gd name="T16" fmla="*/ 2147483647 w 399"/>
              <a:gd name="T17" fmla="*/ 2147483647 h 407"/>
              <a:gd name="T18" fmla="*/ 2147483647 w 399"/>
              <a:gd name="T19" fmla="*/ 2147483647 h 407"/>
              <a:gd name="T20" fmla="*/ 2147483647 w 399"/>
              <a:gd name="T21" fmla="*/ 2147483647 h 407"/>
              <a:gd name="T22" fmla="*/ 2147483647 w 399"/>
              <a:gd name="T23" fmla="*/ 2147483647 h 407"/>
              <a:gd name="T24" fmla="*/ 2147483647 w 399"/>
              <a:gd name="T25" fmla="*/ 2147483647 h 407"/>
              <a:gd name="T26" fmla="*/ 2147483647 w 399"/>
              <a:gd name="T27" fmla="*/ 2147483647 h 407"/>
              <a:gd name="T28" fmla="*/ 2147483647 w 399"/>
              <a:gd name="T29" fmla="*/ 2147483647 h 407"/>
              <a:gd name="T30" fmla="*/ 2147483647 w 399"/>
              <a:gd name="T31" fmla="*/ 2147483647 h 407"/>
              <a:gd name="T32" fmla="*/ 2147483647 w 399"/>
              <a:gd name="T33" fmla="*/ 2147483647 h 407"/>
              <a:gd name="T34" fmla="*/ 2147483647 w 399"/>
              <a:gd name="T35" fmla="*/ 2147483647 h 407"/>
              <a:gd name="T36" fmla="*/ 2147483647 w 399"/>
              <a:gd name="T37" fmla="*/ 2147483647 h 407"/>
              <a:gd name="T38" fmla="*/ 2147483647 w 399"/>
              <a:gd name="T39" fmla="*/ 2147483647 h 407"/>
              <a:gd name="T40" fmla="*/ 2147483647 w 399"/>
              <a:gd name="T41" fmla="*/ 2147483647 h 407"/>
              <a:gd name="T42" fmla="*/ 2147483647 w 399"/>
              <a:gd name="T43" fmla="*/ 2147483647 h 407"/>
              <a:gd name="T44" fmla="*/ 2147483647 w 399"/>
              <a:gd name="T45" fmla="*/ 2147483647 h 407"/>
              <a:gd name="T46" fmla="*/ 2147483647 w 399"/>
              <a:gd name="T47" fmla="*/ 2147483647 h 407"/>
              <a:gd name="T48" fmla="*/ 2147483647 w 399"/>
              <a:gd name="T49" fmla="*/ 2147483647 h 407"/>
              <a:gd name="T50" fmla="*/ 2147483647 w 399"/>
              <a:gd name="T51" fmla="*/ 0 h 407"/>
              <a:gd name="T52" fmla="*/ 2147483647 w 399"/>
              <a:gd name="T53" fmla="*/ 2147483647 h 407"/>
              <a:gd name="T54" fmla="*/ 2147483647 w 399"/>
              <a:gd name="T55" fmla="*/ 2147483647 h 407"/>
              <a:gd name="T56" fmla="*/ 2147483647 w 399"/>
              <a:gd name="T57" fmla="*/ 2147483647 h 407"/>
              <a:gd name="T58" fmla="*/ 2147483647 w 399"/>
              <a:gd name="T59" fmla="*/ 2147483647 h 407"/>
              <a:gd name="T60" fmla="*/ 2147483647 w 399"/>
              <a:gd name="T61" fmla="*/ 2147483647 h 407"/>
              <a:gd name="T62" fmla="*/ 2147483647 w 399"/>
              <a:gd name="T63" fmla="*/ 2147483647 h 407"/>
              <a:gd name="T64" fmla="*/ 2147483647 w 399"/>
              <a:gd name="T65" fmla="*/ 2147483647 h 407"/>
              <a:gd name="T66" fmla="*/ 2147483647 w 399"/>
              <a:gd name="T67" fmla="*/ 2147483647 h 407"/>
              <a:gd name="T68" fmla="*/ 2147483647 w 399"/>
              <a:gd name="T69" fmla="*/ 2147483647 h 407"/>
              <a:gd name="T70" fmla="*/ 2147483647 w 399"/>
              <a:gd name="T71" fmla="*/ 2147483647 h 407"/>
              <a:gd name="T72" fmla="*/ 2147483647 w 399"/>
              <a:gd name="T73" fmla="*/ 2147483647 h 407"/>
              <a:gd name="T74" fmla="*/ 2147483647 w 399"/>
              <a:gd name="T75" fmla="*/ 2147483647 h 407"/>
              <a:gd name="T76" fmla="*/ 2147483647 w 399"/>
              <a:gd name="T77" fmla="*/ 2147483647 h 407"/>
              <a:gd name="T78" fmla="*/ 2147483647 w 399"/>
              <a:gd name="T79" fmla="*/ 2147483647 h 407"/>
              <a:gd name="T80" fmla="*/ 2147483647 w 399"/>
              <a:gd name="T81" fmla="*/ 2147483647 h 407"/>
              <a:gd name="T82" fmla="*/ 2147483647 w 399"/>
              <a:gd name="T83" fmla="*/ 2147483647 h 407"/>
              <a:gd name="T84" fmla="*/ 2147483647 w 399"/>
              <a:gd name="T85" fmla="*/ 2147483647 h 407"/>
              <a:gd name="T86" fmla="*/ 2147483647 w 399"/>
              <a:gd name="T87" fmla="*/ 2147483647 h 407"/>
              <a:gd name="T88" fmla="*/ 2147483647 w 399"/>
              <a:gd name="T89" fmla="*/ 2147483647 h 407"/>
              <a:gd name="T90" fmla="*/ 2147483647 w 399"/>
              <a:gd name="T91" fmla="*/ 2147483647 h 407"/>
              <a:gd name="T92" fmla="*/ 2147483647 w 399"/>
              <a:gd name="T93" fmla="*/ 2147483647 h 407"/>
              <a:gd name="T94" fmla="*/ 2147483647 w 399"/>
              <a:gd name="T95" fmla="*/ 2147483647 h 407"/>
              <a:gd name="T96" fmla="*/ 2147483647 w 399"/>
              <a:gd name="T97" fmla="*/ 2147483647 h 407"/>
              <a:gd name="T98" fmla="*/ 2147483647 w 399"/>
              <a:gd name="T99" fmla="*/ 2147483647 h 407"/>
              <a:gd name="T100" fmla="*/ 2147483647 w 399"/>
              <a:gd name="T101" fmla="*/ 2147483647 h 407"/>
              <a:gd name="T102" fmla="*/ 2147483647 w 399"/>
              <a:gd name="T103" fmla="*/ 2147483647 h 407"/>
              <a:gd name="T104" fmla="*/ 2147483647 w 399"/>
              <a:gd name="T105" fmla="*/ 2147483647 h 407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399"/>
              <a:gd name="T160" fmla="*/ 0 h 407"/>
              <a:gd name="T161" fmla="*/ 399 w 399"/>
              <a:gd name="T162" fmla="*/ 407 h 407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399" h="407">
                <a:moveTo>
                  <a:pt x="19" y="145"/>
                </a:moveTo>
                <a:lnTo>
                  <a:pt x="10" y="127"/>
                </a:lnTo>
                <a:lnTo>
                  <a:pt x="0" y="125"/>
                </a:lnTo>
                <a:lnTo>
                  <a:pt x="6" y="141"/>
                </a:lnTo>
                <a:lnTo>
                  <a:pt x="19" y="145"/>
                </a:lnTo>
                <a:close/>
                <a:moveTo>
                  <a:pt x="266" y="291"/>
                </a:moveTo>
                <a:lnTo>
                  <a:pt x="271" y="291"/>
                </a:lnTo>
                <a:lnTo>
                  <a:pt x="272" y="278"/>
                </a:lnTo>
                <a:lnTo>
                  <a:pt x="264" y="283"/>
                </a:lnTo>
                <a:lnTo>
                  <a:pt x="266" y="291"/>
                </a:lnTo>
                <a:close/>
                <a:moveTo>
                  <a:pt x="263" y="116"/>
                </a:moveTo>
                <a:lnTo>
                  <a:pt x="260" y="111"/>
                </a:lnTo>
                <a:lnTo>
                  <a:pt x="249" y="111"/>
                </a:lnTo>
                <a:lnTo>
                  <a:pt x="247" y="120"/>
                </a:lnTo>
                <a:lnTo>
                  <a:pt x="259" y="122"/>
                </a:lnTo>
                <a:lnTo>
                  <a:pt x="263" y="116"/>
                </a:lnTo>
                <a:close/>
                <a:moveTo>
                  <a:pt x="390" y="339"/>
                </a:moveTo>
                <a:lnTo>
                  <a:pt x="399" y="317"/>
                </a:lnTo>
                <a:lnTo>
                  <a:pt x="374" y="334"/>
                </a:lnTo>
                <a:lnTo>
                  <a:pt x="374" y="348"/>
                </a:lnTo>
                <a:lnTo>
                  <a:pt x="390" y="339"/>
                </a:lnTo>
                <a:close/>
                <a:moveTo>
                  <a:pt x="110" y="210"/>
                </a:moveTo>
                <a:lnTo>
                  <a:pt x="86" y="220"/>
                </a:lnTo>
                <a:lnTo>
                  <a:pt x="79" y="216"/>
                </a:lnTo>
                <a:lnTo>
                  <a:pt x="68" y="241"/>
                </a:lnTo>
                <a:lnTo>
                  <a:pt x="91" y="269"/>
                </a:lnTo>
                <a:lnTo>
                  <a:pt x="90" y="292"/>
                </a:lnTo>
                <a:lnTo>
                  <a:pt x="102" y="301"/>
                </a:lnTo>
                <a:lnTo>
                  <a:pt x="108" y="284"/>
                </a:lnTo>
                <a:lnTo>
                  <a:pt x="119" y="297"/>
                </a:lnTo>
                <a:lnTo>
                  <a:pt x="124" y="320"/>
                </a:lnTo>
                <a:lnTo>
                  <a:pt x="128" y="320"/>
                </a:lnTo>
                <a:lnTo>
                  <a:pt x="132" y="303"/>
                </a:lnTo>
                <a:lnTo>
                  <a:pt x="139" y="300"/>
                </a:lnTo>
                <a:lnTo>
                  <a:pt x="158" y="318"/>
                </a:lnTo>
                <a:lnTo>
                  <a:pt x="150" y="274"/>
                </a:lnTo>
                <a:lnTo>
                  <a:pt x="142" y="255"/>
                </a:lnTo>
                <a:lnTo>
                  <a:pt x="159" y="271"/>
                </a:lnTo>
                <a:lnTo>
                  <a:pt x="176" y="263"/>
                </a:lnTo>
                <a:lnTo>
                  <a:pt x="175" y="258"/>
                </a:lnTo>
                <a:lnTo>
                  <a:pt x="164" y="250"/>
                </a:lnTo>
                <a:lnTo>
                  <a:pt x="158" y="232"/>
                </a:lnTo>
                <a:lnTo>
                  <a:pt x="181" y="229"/>
                </a:lnTo>
                <a:lnTo>
                  <a:pt x="201" y="247"/>
                </a:lnTo>
                <a:lnTo>
                  <a:pt x="200" y="215"/>
                </a:lnTo>
                <a:lnTo>
                  <a:pt x="170" y="200"/>
                </a:lnTo>
                <a:lnTo>
                  <a:pt x="167" y="190"/>
                </a:lnTo>
                <a:lnTo>
                  <a:pt x="132" y="173"/>
                </a:lnTo>
                <a:lnTo>
                  <a:pt x="152" y="170"/>
                </a:lnTo>
                <a:lnTo>
                  <a:pt x="150" y="151"/>
                </a:lnTo>
                <a:lnTo>
                  <a:pt x="158" y="151"/>
                </a:lnTo>
                <a:lnTo>
                  <a:pt x="159" y="161"/>
                </a:lnTo>
                <a:lnTo>
                  <a:pt x="167" y="161"/>
                </a:lnTo>
                <a:lnTo>
                  <a:pt x="137" y="111"/>
                </a:lnTo>
                <a:lnTo>
                  <a:pt x="137" y="76"/>
                </a:lnTo>
                <a:lnTo>
                  <a:pt x="149" y="73"/>
                </a:lnTo>
                <a:lnTo>
                  <a:pt x="147" y="82"/>
                </a:lnTo>
                <a:lnTo>
                  <a:pt x="167" y="94"/>
                </a:lnTo>
                <a:lnTo>
                  <a:pt x="179" y="114"/>
                </a:lnTo>
                <a:lnTo>
                  <a:pt x="184" y="110"/>
                </a:lnTo>
                <a:lnTo>
                  <a:pt x="175" y="94"/>
                </a:lnTo>
                <a:lnTo>
                  <a:pt x="186" y="97"/>
                </a:lnTo>
                <a:lnTo>
                  <a:pt x="198" y="111"/>
                </a:lnTo>
                <a:lnTo>
                  <a:pt x="198" y="102"/>
                </a:lnTo>
                <a:lnTo>
                  <a:pt x="187" y="94"/>
                </a:lnTo>
                <a:lnTo>
                  <a:pt x="192" y="88"/>
                </a:lnTo>
                <a:lnTo>
                  <a:pt x="213" y="99"/>
                </a:lnTo>
                <a:lnTo>
                  <a:pt x="203" y="85"/>
                </a:lnTo>
                <a:lnTo>
                  <a:pt x="184" y="73"/>
                </a:lnTo>
                <a:lnTo>
                  <a:pt x="220" y="52"/>
                </a:lnTo>
                <a:lnTo>
                  <a:pt x="235" y="56"/>
                </a:lnTo>
                <a:lnTo>
                  <a:pt x="247" y="49"/>
                </a:lnTo>
                <a:lnTo>
                  <a:pt x="294" y="66"/>
                </a:lnTo>
                <a:lnTo>
                  <a:pt x="303" y="54"/>
                </a:lnTo>
                <a:lnTo>
                  <a:pt x="308" y="29"/>
                </a:lnTo>
                <a:lnTo>
                  <a:pt x="319" y="22"/>
                </a:lnTo>
                <a:lnTo>
                  <a:pt x="319" y="12"/>
                </a:lnTo>
                <a:lnTo>
                  <a:pt x="308" y="0"/>
                </a:lnTo>
                <a:lnTo>
                  <a:pt x="300" y="1"/>
                </a:lnTo>
                <a:lnTo>
                  <a:pt x="298" y="18"/>
                </a:lnTo>
                <a:lnTo>
                  <a:pt x="286" y="29"/>
                </a:lnTo>
                <a:lnTo>
                  <a:pt x="269" y="32"/>
                </a:lnTo>
                <a:lnTo>
                  <a:pt x="221" y="14"/>
                </a:lnTo>
                <a:lnTo>
                  <a:pt x="152" y="26"/>
                </a:lnTo>
                <a:lnTo>
                  <a:pt x="133" y="39"/>
                </a:lnTo>
                <a:lnTo>
                  <a:pt x="116" y="39"/>
                </a:lnTo>
                <a:lnTo>
                  <a:pt x="91" y="52"/>
                </a:lnTo>
                <a:lnTo>
                  <a:pt x="62" y="57"/>
                </a:lnTo>
                <a:lnTo>
                  <a:pt x="64" y="78"/>
                </a:lnTo>
                <a:lnTo>
                  <a:pt x="23" y="128"/>
                </a:lnTo>
                <a:lnTo>
                  <a:pt x="49" y="171"/>
                </a:lnTo>
                <a:lnTo>
                  <a:pt x="53" y="164"/>
                </a:lnTo>
                <a:lnTo>
                  <a:pt x="64" y="170"/>
                </a:lnTo>
                <a:lnTo>
                  <a:pt x="68" y="176"/>
                </a:lnTo>
                <a:lnTo>
                  <a:pt x="51" y="176"/>
                </a:lnTo>
                <a:lnTo>
                  <a:pt x="69" y="208"/>
                </a:lnTo>
                <a:lnTo>
                  <a:pt x="79" y="204"/>
                </a:lnTo>
                <a:lnTo>
                  <a:pt x="133" y="210"/>
                </a:lnTo>
                <a:lnTo>
                  <a:pt x="139" y="205"/>
                </a:lnTo>
                <a:lnTo>
                  <a:pt x="161" y="218"/>
                </a:lnTo>
                <a:lnTo>
                  <a:pt x="159" y="225"/>
                </a:lnTo>
                <a:lnTo>
                  <a:pt x="150" y="227"/>
                </a:lnTo>
                <a:lnTo>
                  <a:pt x="110" y="210"/>
                </a:lnTo>
                <a:close/>
                <a:moveTo>
                  <a:pt x="249" y="379"/>
                </a:moveTo>
                <a:lnTo>
                  <a:pt x="217" y="381"/>
                </a:lnTo>
                <a:lnTo>
                  <a:pt x="206" y="376"/>
                </a:lnTo>
                <a:lnTo>
                  <a:pt x="204" y="366"/>
                </a:lnTo>
                <a:lnTo>
                  <a:pt x="200" y="371"/>
                </a:lnTo>
                <a:lnTo>
                  <a:pt x="187" y="366"/>
                </a:lnTo>
                <a:lnTo>
                  <a:pt x="186" y="371"/>
                </a:lnTo>
                <a:lnTo>
                  <a:pt x="181" y="371"/>
                </a:lnTo>
                <a:lnTo>
                  <a:pt x="179" y="390"/>
                </a:lnTo>
                <a:lnTo>
                  <a:pt x="221" y="391"/>
                </a:lnTo>
                <a:lnTo>
                  <a:pt x="237" y="407"/>
                </a:lnTo>
                <a:lnTo>
                  <a:pt x="291" y="398"/>
                </a:lnTo>
                <a:lnTo>
                  <a:pt x="300" y="402"/>
                </a:lnTo>
                <a:lnTo>
                  <a:pt x="305" y="385"/>
                </a:lnTo>
                <a:lnTo>
                  <a:pt x="289" y="391"/>
                </a:lnTo>
                <a:lnTo>
                  <a:pt x="277" y="382"/>
                </a:lnTo>
                <a:lnTo>
                  <a:pt x="249" y="379"/>
                </a:lnTo>
                <a:close/>
                <a:moveTo>
                  <a:pt x="317" y="166"/>
                </a:moveTo>
                <a:lnTo>
                  <a:pt x="322" y="166"/>
                </a:lnTo>
                <a:lnTo>
                  <a:pt x="310" y="142"/>
                </a:lnTo>
                <a:lnTo>
                  <a:pt x="288" y="153"/>
                </a:lnTo>
                <a:lnTo>
                  <a:pt x="286" y="161"/>
                </a:lnTo>
                <a:lnTo>
                  <a:pt x="303" y="158"/>
                </a:lnTo>
                <a:lnTo>
                  <a:pt x="300" y="166"/>
                </a:lnTo>
                <a:lnTo>
                  <a:pt x="317" y="166"/>
                </a:lnTo>
                <a:close/>
                <a:moveTo>
                  <a:pt x="291" y="215"/>
                </a:moveTo>
                <a:lnTo>
                  <a:pt x="296" y="210"/>
                </a:lnTo>
                <a:lnTo>
                  <a:pt x="298" y="195"/>
                </a:lnTo>
                <a:lnTo>
                  <a:pt x="286" y="192"/>
                </a:lnTo>
                <a:lnTo>
                  <a:pt x="291" y="215"/>
                </a:lnTo>
                <a:close/>
                <a:moveTo>
                  <a:pt x="244" y="249"/>
                </a:moveTo>
                <a:lnTo>
                  <a:pt x="244" y="235"/>
                </a:lnTo>
                <a:lnTo>
                  <a:pt x="234" y="230"/>
                </a:lnTo>
                <a:lnTo>
                  <a:pt x="244" y="249"/>
                </a:lnTo>
                <a:close/>
                <a:moveTo>
                  <a:pt x="234" y="73"/>
                </a:moveTo>
                <a:lnTo>
                  <a:pt x="237" y="71"/>
                </a:lnTo>
                <a:lnTo>
                  <a:pt x="235" y="63"/>
                </a:lnTo>
                <a:lnTo>
                  <a:pt x="223" y="69"/>
                </a:lnTo>
                <a:lnTo>
                  <a:pt x="234" y="73"/>
                </a:lnTo>
                <a:close/>
                <a:moveTo>
                  <a:pt x="227" y="224"/>
                </a:moveTo>
                <a:lnTo>
                  <a:pt x="229" y="220"/>
                </a:lnTo>
                <a:lnTo>
                  <a:pt x="215" y="215"/>
                </a:lnTo>
                <a:lnTo>
                  <a:pt x="204" y="192"/>
                </a:lnTo>
                <a:lnTo>
                  <a:pt x="183" y="184"/>
                </a:lnTo>
                <a:lnTo>
                  <a:pt x="169" y="168"/>
                </a:lnTo>
                <a:lnTo>
                  <a:pt x="152" y="179"/>
                </a:lnTo>
                <a:lnTo>
                  <a:pt x="161" y="179"/>
                </a:lnTo>
                <a:lnTo>
                  <a:pt x="179" y="201"/>
                </a:lnTo>
                <a:lnTo>
                  <a:pt x="206" y="213"/>
                </a:lnTo>
                <a:lnTo>
                  <a:pt x="215" y="230"/>
                </a:lnTo>
                <a:lnTo>
                  <a:pt x="227" y="232"/>
                </a:lnTo>
                <a:lnTo>
                  <a:pt x="227" y="224"/>
                </a:lnTo>
                <a:close/>
                <a:moveTo>
                  <a:pt x="49" y="225"/>
                </a:moveTo>
                <a:lnTo>
                  <a:pt x="51" y="216"/>
                </a:lnTo>
                <a:lnTo>
                  <a:pt x="44" y="205"/>
                </a:lnTo>
                <a:lnTo>
                  <a:pt x="32" y="213"/>
                </a:lnTo>
                <a:lnTo>
                  <a:pt x="49" y="225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394" name="Freeform 83"/>
          <p:cNvSpPr>
            <a:spLocks noChangeAspect="1"/>
          </p:cNvSpPr>
          <p:nvPr/>
        </p:nvSpPr>
        <p:spPr bwMode="gray">
          <a:xfrm>
            <a:off x="5172075" y="3043238"/>
            <a:ext cx="33338" cy="103187"/>
          </a:xfrm>
          <a:custGeom>
            <a:avLst/>
            <a:gdLst>
              <a:gd name="T0" fmla="*/ 0 w 66"/>
              <a:gd name="T1" fmla="*/ 2147483647 h 208"/>
              <a:gd name="T2" fmla="*/ 2147483647 w 66"/>
              <a:gd name="T3" fmla="*/ 2147483647 h 208"/>
              <a:gd name="T4" fmla="*/ 2147483647 w 66"/>
              <a:gd name="T5" fmla="*/ 2147483647 h 208"/>
              <a:gd name="T6" fmla="*/ 2147483647 w 66"/>
              <a:gd name="T7" fmla="*/ 2147483647 h 208"/>
              <a:gd name="T8" fmla="*/ 2147483647 w 66"/>
              <a:gd name="T9" fmla="*/ 2147483647 h 208"/>
              <a:gd name="T10" fmla="*/ 2147483647 w 66"/>
              <a:gd name="T11" fmla="*/ 2147483647 h 208"/>
              <a:gd name="T12" fmla="*/ 2147483647 w 66"/>
              <a:gd name="T13" fmla="*/ 2147483647 h 208"/>
              <a:gd name="T14" fmla="*/ 2147483647 w 66"/>
              <a:gd name="T15" fmla="*/ 2147483647 h 208"/>
              <a:gd name="T16" fmla="*/ 2147483647 w 66"/>
              <a:gd name="T17" fmla="*/ 2147483647 h 208"/>
              <a:gd name="T18" fmla="*/ 2147483647 w 66"/>
              <a:gd name="T19" fmla="*/ 0 h 208"/>
              <a:gd name="T20" fmla="*/ 2147483647 w 66"/>
              <a:gd name="T21" fmla="*/ 2147483647 h 208"/>
              <a:gd name="T22" fmla="*/ 2147483647 w 66"/>
              <a:gd name="T23" fmla="*/ 2147483647 h 208"/>
              <a:gd name="T24" fmla="*/ 2147483647 w 66"/>
              <a:gd name="T25" fmla="*/ 2147483647 h 208"/>
              <a:gd name="T26" fmla="*/ 2147483647 w 66"/>
              <a:gd name="T27" fmla="*/ 2147483647 h 208"/>
              <a:gd name="T28" fmla="*/ 2147483647 w 66"/>
              <a:gd name="T29" fmla="*/ 2147483647 h 208"/>
              <a:gd name="T30" fmla="*/ 2147483647 w 66"/>
              <a:gd name="T31" fmla="*/ 2147483647 h 208"/>
              <a:gd name="T32" fmla="*/ 2147483647 w 66"/>
              <a:gd name="T33" fmla="*/ 2147483647 h 208"/>
              <a:gd name="T34" fmla="*/ 2147483647 w 66"/>
              <a:gd name="T35" fmla="*/ 2147483647 h 208"/>
              <a:gd name="T36" fmla="*/ 2147483647 w 66"/>
              <a:gd name="T37" fmla="*/ 2147483647 h 208"/>
              <a:gd name="T38" fmla="*/ 2147483647 w 66"/>
              <a:gd name="T39" fmla="*/ 2147483647 h 208"/>
              <a:gd name="T40" fmla="*/ 2147483647 w 66"/>
              <a:gd name="T41" fmla="*/ 2147483647 h 208"/>
              <a:gd name="T42" fmla="*/ 2147483647 w 66"/>
              <a:gd name="T43" fmla="*/ 2147483647 h 208"/>
              <a:gd name="T44" fmla="*/ 2147483647 w 66"/>
              <a:gd name="T45" fmla="*/ 2147483647 h 208"/>
              <a:gd name="T46" fmla="*/ 2147483647 w 66"/>
              <a:gd name="T47" fmla="*/ 2147483647 h 208"/>
              <a:gd name="T48" fmla="*/ 2147483647 w 66"/>
              <a:gd name="T49" fmla="*/ 2147483647 h 208"/>
              <a:gd name="T50" fmla="*/ 2147483647 w 66"/>
              <a:gd name="T51" fmla="*/ 2147483647 h 208"/>
              <a:gd name="T52" fmla="*/ 2147483647 w 66"/>
              <a:gd name="T53" fmla="*/ 2147483647 h 208"/>
              <a:gd name="T54" fmla="*/ 2147483647 w 66"/>
              <a:gd name="T55" fmla="*/ 2147483647 h 208"/>
              <a:gd name="T56" fmla="*/ 2147483647 w 66"/>
              <a:gd name="T57" fmla="*/ 2147483647 h 208"/>
              <a:gd name="T58" fmla="*/ 2147483647 w 66"/>
              <a:gd name="T59" fmla="*/ 2147483647 h 208"/>
              <a:gd name="T60" fmla="*/ 0 w 66"/>
              <a:gd name="T61" fmla="*/ 2147483647 h 208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66"/>
              <a:gd name="T94" fmla="*/ 0 h 208"/>
              <a:gd name="T95" fmla="*/ 66 w 66"/>
              <a:gd name="T96" fmla="*/ 208 h 208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66" h="208">
                <a:moveTo>
                  <a:pt x="0" y="113"/>
                </a:moveTo>
                <a:lnTo>
                  <a:pt x="6" y="110"/>
                </a:lnTo>
                <a:lnTo>
                  <a:pt x="6" y="107"/>
                </a:lnTo>
                <a:lnTo>
                  <a:pt x="14" y="96"/>
                </a:lnTo>
                <a:lnTo>
                  <a:pt x="10" y="93"/>
                </a:lnTo>
                <a:lnTo>
                  <a:pt x="17" y="84"/>
                </a:lnTo>
                <a:lnTo>
                  <a:pt x="22" y="71"/>
                </a:lnTo>
                <a:lnTo>
                  <a:pt x="39" y="8"/>
                </a:lnTo>
                <a:lnTo>
                  <a:pt x="61" y="10"/>
                </a:lnTo>
                <a:lnTo>
                  <a:pt x="63" y="0"/>
                </a:lnTo>
                <a:lnTo>
                  <a:pt x="66" y="2"/>
                </a:lnTo>
                <a:lnTo>
                  <a:pt x="63" y="30"/>
                </a:lnTo>
                <a:lnTo>
                  <a:pt x="63" y="47"/>
                </a:lnTo>
                <a:lnTo>
                  <a:pt x="56" y="39"/>
                </a:lnTo>
                <a:lnTo>
                  <a:pt x="44" y="39"/>
                </a:lnTo>
                <a:lnTo>
                  <a:pt x="34" y="56"/>
                </a:lnTo>
                <a:lnTo>
                  <a:pt x="35" y="76"/>
                </a:lnTo>
                <a:lnTo>
                  <a:pt x="48" y="79"/>
                </a:lnTo>
                <a:lnTo>
                  <a:pt x="37" y="83"/>
                </a:lnTo>
                <a:lnTo>
                  <a:pt x="31" y="101"/>
                </a:lnTo>
                <a:lnTo>
                  <a:pt x="34" y="105"/>
                </a:lnTo>
                <a:lnTo>
                  <a:pt x="52" y="95"/>
                </a:lnTo>
                <a:lnTo>
                  <a:pt x="57" y="98"/>
                </a:lnTo>
                <a:lnTo>
                  <a:pt x="57" y="118"/>
                </a:lnTo>
                <a:lnTo>
                  <a:pt x="44" y="147"/>
                </a:lnTo>
                <a:lnTo>
                  <a:pt x="35" y="206"/>
                </a:lnTo>
                <a:lnTo>
                  <a:pt x="32" y="208"/>
                </a:lnTo>
                <a:lnTo>
                  <a:pt x="22" y="183"/>
                </a:lnTo>
                <a:lnTo>
                  <a:pt x="14" y="157"/>
                </a:lnTo>
                <a:lnTo>
                  <a:pt x="6" y="132"/>
                </a:lnTo>
                <a:lnTo>
                  <a:pt x="0" y="113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395" name="Freeform 84"/>
          <p:cNvSpPr>
            <a:spLocks noChangeAspect="1"/>
          </p:cNvSpPr>
          <p:nvPr/>
        </p:nvSpPr>
        <p:spPr bwMode="gray">
          <a:xfrm>
            <a:off x="6656388" y="3316288"/>
            <a:ext cx="163512" cy="200025"/>
          </a:xfrm>
          <a:custGeom>
            <a:avLst/>
            <a:gdLst>
              <a:gd name="T0" fmla="*/ 2147483647 w 332"/>
              <a:gd name="T1" fmla="*/ 2147483647 h 413"/>
              <a:gd name="T2" fmla="*/ 2147483647 w 332"/>
              <a:gd name="T3" fmla="*/ 2147483647 h 413"/>
              <a:gd name="T4" fmla="*/ 2147483647 w 332"/>
              <a:gd name="T5" fmla="*/ 2147483647 h 413"/>
              <a:gd name="T6" fmla="*/ 2147483647 w 332"/>
              <a:gd name="T7" fmla="*/ 2147483647 h 413"/>
              <a:gd name="T8" fmla="*/ 2147483647 w 332"/>
              <a:gd name="T9" fmla="*/ 2147483647 h 413"/>
              <a:gd name="T10" fmla="*/ 2147483647 w 332"/>
              <a:gd name="T11" fmla="*/ 2147483647 h 413"/>
              <a:gd name="T12" fmla="*/ 2147483647 w 332"/>
              <a:gd name="T13" fmla="*/ 2147483647 h 413"/>
              <a:gd name="T14" fmla="*/ 2147483647 w 332"/>
              <a:gd name="T15" fmla="*/ 2147483647 h 413"/>
              <a:gd name="T16" fmla="*/ 2147483647 w 332"/>
              <a:gd name="T17" fmla="*/ 2147483647 h 413"/>
              <a:gd name="T18" fmla="*/ 2147483647 w 332"/>
              <a:gd name="T19" fmla="*/ 2147483647 h 413"/>
              <a:gd name="T20" fmla="*/ 2147483647 w 332"/>
              <a:gd name="T21" fmla="*/ 2147483647 h 413"/>
              <a:gd name="T22" fmla="*/ 2147483647 w 332"/>
              <a:gd name="T23" fmla="*/ 2147483647 h 413"/>
              <a:gd name="T24" fmla="*/ 2147483647 w 332"/>
              <a:gd name="T25" fmla="*/ 2147483647 h 413"/>
              <a:gd name="T26" fmla="*/ 2147483647 w 332"/>
              <a:gd name="T27" fmla="*/ 2147483647 h 413"/>
              <a:gd name="T28" fmla="*/ 2147483647 w 332"/>
              <a:gd name="T29" fmla="*/ 2147483647 h 413"/>
              <a:gd name="T30" fmla="*/ 2147483647 w 332"/>
              <a:gd name="T31" fmla="*/ 2147483647 h 413"/>
              <a:gd name="T32" fmla="*/ 2147483647 w 332"/>
              <a:gd name="T33" fmla="*/ 2147483647 h 413"/>
              <a:gd name="T34" fmla="*/ 2147483647 w 332"/>
              <a:gd name="T35" fmla="*/ 2147483647 h 413"/>
              <a:gd name="T36" fmla="*/ 2147483647 w 332"/>
              <a:gd name="T37" fmla="*/ 2147483647 h 413"/>
              <a:gd name="T38" fmla="*/ 2147483647 w 332"/>
              <a:gd name="T39" fmla="*/ 2147483647 h 413"/>
              <a:gd name="T40" fmla="*/ 2147483647 w 332"/>
              <a:gd name="T41" fmla="*/ 2147483647 h 413"/>
              <a:gd name="T42" fmla="*/ 2147483647 w 332"/>
              <a:gd name="T43" fmla="*/ 2147483647 h 413"/>
              <a:gd name="T44" fmla="*/ 2147483647 w 332"/>
              <a:gd name="T45" fmla="*/ 2147483647 h 413"/>
              <a:gd name="T46" fmla="*/ 2147483647 w 332"/>
              <a:gd name="T47" fmla="*/ 2147483647 h 413"/>
              <a:gd name="T48" fmla="*/ 2147483647 w 332"/>
              <a:gd name="T49" fmla="*/ 2147483647 h 413"/>
              <a:gd name="T50" fmla="*/ 2147483647 w 332"/>
              <a:gd name="T51" fmla="*/ 2147483647 h 413"/>
              <a:gd name="T52" fmla="*/ 2147483647 w 332"/>
              <a:gd name="T53" fmla="*/ 2147483647 h 413"/>
              <a:gd name="T54" fmla="*/ 2147483647 w 332"/>
              <a:gd name="T55" fmla="*/ 2147483647 h 413"/>
              <a:gd name="T56" fmla="*/ 0 w 332"/>
              <a:gd name="T57" fmla="*/ 2147483647 h 413"/>
              <a:gd name="T58" fmla="*/ 2147483647 w 332"/>
              <a:gd name="T59" fmla="*/ 2147483647 h 413"/>
              <a:gd name="T60" fmla="*/ 2147483647 w 332"/>
              <a:gd name="T61" fmla="*/ 2147483647 h 413"/>
              <a:gd name="T62" fmla="*/ 2147483647 w 332"/>
              <a:gd name="T63" fmla="*/ 2147483647 h 413"/>
              <a:gd name="T64" fmla="*/ 2147483647 w 332"/>
              <a:gd name="T65" fmla="*/ 2147483647 h 413"/>
              <a:gd name="T66" fmla="*/ 2147483647 w 332"/>
              <a:gd name="T67" fmla="*/ 2147483647 h 413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332"/>
              <a:gd name="T103" fmla="*/ 0 h 413"/>
              <a:gd name="T104" fmla="*/ 332 w 332"/>
              <a:gd name="T105" fmla="*/ 413 h 413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332" h="413">
                <a:moveTo>
                  <a:pt x="76" y="211"/>
                </a:moveTo>
                <a:lnTo>
                  <a:pt x="90" y="211"/>
                </a:lnTo>
                <a:lnTo>
                  <a:pt x="95" y="220"/>
                </a:lnTo>
                <a:lnTo>
                  <a:pt x="109" y="225"/>
                </a:lnTo>
                <a:lnTo>
                  <a:pt x="126" y="219"/>
                </a:lnTo>
                <a:lnTo>
                  <a:pt x="132" y="205"/>
                </a:lnTo>
                <a:lnTo>
                  <a:pt x="151" y="203"/>
                </a:lnTo>
                <a:lnTo>
                  <a:pt x="161" y="203"/>
                </a:lnTo>
                <a:lnTo>
                  <a:pt x="197" y="242"/>
                </a:lnTo>
                <a:lnTo>
                  <a:pt x="203" y="261"/>
                </a:lnTo>
                <a:lnTo>
                  <a:pt x="206" y="301"/>
                </a:lnTo>
                <a:lnTo>
                  <a:pt x="220" y="315"/>
                </a:lnTo>
                <a:lnTo>
                  <a:pt x="226" y="315"/>
                </a:lnTo>
                <a:lnTo>
                  <a:pt x="242" y="335"/>
                </a:lnTo>
                <a:lnTo>
                  <a:pt x="242" y="349"/>
                </a:lnTo>
                <a:lnTo>
                  <a:pt x="239" y="387"/>
                </a:lnTo>
                <a:lnTo>
                  <a:pt x="229" y="400"/>
                </a:lnTo>
                <a:lnTo>
                  <a:pt x="235" y="406"/>
                </a:lnTo>
                <a:lnTo>
                  <a:pt x="260" y="413"/>
                </a:lnTo>
                <a:lnTo>
                  <a:pt x="268" y="412"/>
                </a:lnTo>
                <a:lnTo>
                  <a:pt x="268" y="398"/>
                </a:lnTo>
                <a:lnTo>
                  <a:pt x="282" y="391"/>
                </a:lnTo>
                <a:lnTo>
                  <a:pt x="299" y="387"/>
                </a:lnTo>
                <a:lnTo>
                  <a:pt x="311" y="395"/>
                </a:lnTo>
                <a:lnTo>
                  <a:pt x="332" y="379"/>
                </a:lnTo>
                <a:lnTo>
                  <a:pt x="332" y="350"/>
                </a:lnTo>
                <a:lnTo>
                  <a:pt x="317" y="307"/>
                </a:lnTo>
                <a:lnTo>
                  <a:pt x="299" y="291"/>
                </a:lnTo>
                <a:lnTo>
                  <a:pt x="291" y="291"/>
                </a:lnTo>
                <a:lnTo>
                  <a:pt x="286" y="279"/>
                </a:lnTo>
                <a:lnTo>
                  <a:pt x="279" y="256"/>
                </a:lnTo>
                <a:lnTo>
                  <a:pt x="260" y="244"/>
                </a:lnTo>
                <a:lnTo>
                  <a:pt x="225" y="203"/>
                </a:lnTo>
                <a:lnTo>
                  <a:pt x="222" y="191"/>
                </a:lnTo>
                <a:lnTo>
                  <a:pt x="171" y="160"/>
                </a:lnTo>
                <a:lnTo>
                  <a:pt x="176" y="140"/>
                </a:lnTo>
                <a:lnTo>
                  <a:pt x="197" y="140"/>
                </a:lnTo>
                <a:lnTo>
                  <a:pt x="208" y="129"/>
                </a:lnTo>
                <a:lnTo>
                  <a:pt x="210" y="120"/>
                </a:lnTo>
                <a:lnTo>
                  <a:pt x="189" y="90"/>
                </a:lnTo>
                <a:lnTo>
                  <a:pt x="181" y="79"/>
                </a:lnTo>
                <a:lnTo>
                  <a:pt x="135" y="81"/>
                </a:lnTo>
                <a:lnTo>
                  <a:pt x="122" y="67"/>
                </a:lnTo>
                <a:lnTo>
                  <a:pt x="124" y="50"/>
                </a:lnTo>
                <a:lnTo>
                  <a:pt x="118" y="42"/>
                </a:lnTo>
                <a:lnTo>
                  <a:pt x="92" y="7"/>
                </a:lnTo>
                <a:lnTo>
                  <a:pt x="70" y="0"/>
                </a:lnTo>
                <a:lnTo>
                  <a:pt x="62" y="8"/>
                </a:lnTo>
                <a:lnTo>
                  <a:pt x="62" y="32"/>
                </a:lnTo>
                <a:lnTo>
                  <a:pt x="70" y="45"/>
                </a:lnTo>
                <a:lnTo>
                  <a:pt x="64" y="61"/>
                </a:lnTo>
                <a:lnTo>
                  <a:pt x="47" y="64"/>
                </a:lnTo>
                <a:lnTo>
                  <a:pt x="42" y="42"/>
                </a:lnTo>
                <a:lnTo>
                  <a:pt x="37" y="53"/>
                </a:lnTo>
                <a:lnTo>
                  <a:pt x="16" y="67"/>
                </a:lnTo>
                <a:lnTo>
                  <a:pt x="17" y="79"/>
                </a:lnTo>
                <a:lnTo>
                  <a:pt x="5" y="81"/>
                </a:lnTo>
                <a:lnTo>
                  <a:pt x="0" y="90"/>
                </a:lnTo>
                <a:lnTo>
                  <a:pt x="0" y="100"/>
                </a:lnTo>
                <a:lnTo>
                  <a:pt x="5" y="100"/>
                </a:lnTo>
                <a:lnTo>
                  <a:pt x="14" y="110"/>
                </a:lnTo>
                <a:lnTo>
                  <a:pt x="16" y="134"/>
                </a:lnTo>
                <a:lnTo>
                  <a:pt x="16" y="138"/>
                </a:lnTo>
                <a:lnTo>
                  <a:pt x="42" y="144"/>
                </a:lnTo>
                <a:lnTo>
                  <a:pt x="41" y="185"/>
                </a:lnTo>
                <a:lnTo>
                  <a:pt x="31" y="227"/>
                </a:lnTo>
                <a:lnTo>
                  <a:pt x="34" y="242"/>
                </a:lnTo>
                <a:lnTo>
                  <a:pt x="76" y="211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396" name="Freeform 85"/>
          <p:cNvSpPr>
            <a:spLocks noChangeAspect="1"/>
          </p:cNvSpPr>
          <p:nvPr/>
        </p:nvSpPr>
        <p:spPr bwMode="gray">
          <a:xfrm>
            <a:off x="5449888" y="2338388"/>
            <a:ext cx="911225" cy="484187"/>
          </a:xfrm>
          <a:custGeom>
            <a:avLst/>
            <a:gdLst>
              <a:gd name="T0" fmla="*/ 2147483647 w 1874"/>
              <a:gd name="T1" fmla="*/ 2147483647 h 999"/>
              <a:gd name="T2" fmla="*/ 2147483647 w 1874"/>
              <a:gd name="T3" fmla="*/ 2147483647 h 999"/>
              <a:gd name="T4" fmla="*/ 2147483647 w 1874"/>
              <a:gd name="T5" fmla="*/ 2147483647 h 999"/>
              <a:gd name="T6" fmla="*/ 2147483647 w 1874"/>
              <a:gd name="T7" fmla="*/ 2147483647 h 999"/>
              <a:gd name="T8" fmla="*/ 2147483647 w 1874"/>
              <a:gd name="T9" fmla="*/ 2147483647 h 999"/>
              <a:gd name="T10" fmla="*/ 2147483647 w 1874"/>
              <a:gd name="T11" fmla="*/ 2147483647 h 999"/>
              <a:gd name="T12" fmla="*/ 2147483647 w 1874"/>
              <a:gd name="T13" fmla="*/ 2147483647 h 999"/>
              <a:gd name="T14" fmla="*/ 2147483647 w 1874"/>
              <a:gd name="T15" fmla="*/ 2147483647 h 999"/>
              <a:gd name="T16" fmla="*/ 2147483647 w 1874"/>
              <a:gd name="T17" fmla="*/ 2147483647 h 999"/>
              <a:gd name="T18" fmla="*/ 2147483647 w 1874"/>
              <a:gd name="T19" fmla="*/ 2147483647 h 999"/>
              <a:gd name="T20" fmla="*/ 2147483647 w 1874"/>
              <a:gd name="T21" fmla="*/ 2147483647 h 999"/>
              <a:gd name="T22" fmla="*/ 2147483647 w 1874"/>
              <a:gd name="T23" fmla="*/ 2147483647 h 999"/>
              <a:gd name="T24" fmla="*/ 2147483647 w 1874"/>
              <a:gd name="T25" fmla="*/ 2147483647 h 999"/>
              <a:gd name="T26" fmla="*/ 2147483647 w 1874"/>
              <a:gd name="T27" fmla="*/ 2147483647 h 999"/>
              <a:gd name="T28" fmla="*/ 2147483647 w 1874"/>
              <a:gd name="T29" fmla="*/ 2147483647 h 999"/>
              <a:gd name="T30" fmla="*/ 2147483647 w 1874"/>
              <a:gd name="T31" fmla="*/ 2147483647 h 999"/>
              <a:gd name="T32" fmla="*/ 2147483647 w 1874"/>
              <a:gd name="T33" fmla="*/ 2147483647 h 999"/>
              <a:gd name="T34" fmla="*/ 2147483647 w 1874"/>
              <a:gd name="T35" fmla="*/ 2147483647 h 999"/>
              <a:gd name="T36" fmla="*/ 2147483647 w 1874"/>
              <a:gd name="T37" fmla="*/ 2147483647 h 999"/>
              <a:gd name="T38" fmla="*/ 2147483647 w 1874"/>
              <a:gd name="T39" fmla="*/ 2147483647 h 999"/>
              <a:gd name="T40" fmla="*/ 2147483647 w 1874"/>
              <a:gd name="T41" fmla="*/ 2147483647 h 999"/>
              <a:gd name="T42" fmla="*/ 2147483647 w 1874"/>
              <a:gd name="T43" fmla="*/ 2147483647 h 999"/>
              <a:gd name="T44" fmla="*/ 2147483647 w 1874"/>
              <a:gd name="T45" fmla="*/ 2147483647 h 999"/>
              <a:gd name="T46" fmla="*/ 2147483647 w 1874"/>
              <a:gd name="T47" fmla="*/ 2147483647 h 999"/>
              <a:gd name="T48" fmla="*/ 2147483647 w 1874"/>
              <a:gd name="T49" fmla="*/ 2147483647 h 999"/>
              <a:gd name="T50" fmla="*/ 2147483647 w 1874"/>
              <a:gd name="T51" fmla="*/ 2147483647 h 999"/>
              <a:gd name="T52" fmla="*/ 2147483647 w 1874"/>
              <a:gd name="T53" fmla="*/ 2147483647 h 999"/>
              <a:gd name="T54" fmla="*/ 2147483647 w 1874"/>
              <a:gd name="T55" fmla="*/ 2147483647 h 999"/>
              <a:gd name="T56" fmla="*/ 2147483647 w 1874"/>
              <a:gd name="T57" fmla="*/ 2147483647 h 999"/>
              <a:gd name="T58" fmla="*/ 2147483647 w 1874"/>
              <a:gd name="T59" fmla="*/ 2147483647 h 999"/>
              <a:gd name="T60" fmla="*/ 2147483647 w 1874"/>
              <a:gd name="T61" fmla="*/ 2147483647 h 999"/>
              <a:gd name="T62" fmla="*/ 2147483647 w 1874"/>
              <a:gd name="T63" fmla="*/ 2147483647 h 999"/>
              <a:gd name="T64" fmla="*/ 2147483647 w 1874"/>
              <a:gd name="T65" fmla="*/ 2147483647 h 999"/>
              <a:gd name="T66" fmla="*/ 2147483647 w 1874"/>
              <a:gd name="T67" fmla="*/ 2147483647 h 999"/>
              <a:gd name="T68" fmla="*/ 2147483647 w 1874"/>
              <a:gd name="T69" fmla="*/ 2147483647 h 999"/>
              <a:gd name="T70" fmla="*/ 2147483647 w 1874"/>
              <a:gd name="T71" fmla="*/ 2147483647 h 999"/>
              <a:gd name="T72" fmla="*/ 2147483647 w 1874"/>
              <a:gd name="T73" fmla="*/ 2147483647 h 999"/>
              <a:gd name="T74" fmla="*/ 2147483647 w 1874"/>
              <a:gd name="T75" fmla="*/ 2147483647 h 999"/>
              <a:gd name="T76" fmla="*/ 2147483647 w 1874"/>
              <a:gd name="T77" fmla="*/ 2147483647 h 999"/>
              <a:gd name="T78" fmla="*/ 2147483647 w 1874"/>
              <a:gd name="T79" fmla="*/ 2147483647 h 999"/>
              <a:gd name="T80" fmla="*/ 2147483647 w 1874"/>
              <a:gd name="T81" fmla="*/ 2147483647 h 999"/>
              <a:gd name="T82" fmla="*/ 2147483647 w 1874"/>
              <a:gd name="T83" fmla="*/ 2147483647 h 999"/>
              <a:gd name="T84" fmla="*/ 2147483647 w 1874"/>
              <a:gd name="T85" fmla="*/ 2147483647 h 999"/>
              <a:gd name="T86" fmla="*/ 2147483647 w 1874"/>
              <a:gd name="T87" fmla="*/ 2147483647 h 999"/>
              <a:gd name="T88" fmla="*/ 2147483647 w 1874"/>
              <a:gd name="T89" fmla="*/ 2147483647 h 999"/>
              <a:gd name="T90" fmla="*/ 2147483647 w 1874"/>
              <a:gd name="T91" fmla="*/ 2147483647 h 999"/>
              <a:gd name="T92" fmla="*/ 2147483647 w 1874"/>
              <a:gd name="T93" fmla="*/ 2147483647 h 999"/>
              <a:gd name="T94" fmla="*/ 2147483647 w 1874"/>
              <a:gd name="T95" fmla="*/ 2147483647 h 999"/>
              <a:gd name="T96" fmla="*/ 2147483647 w 1874"/>
              <a:gd name="T97" fmla="*/ 2147483647 h 999"/>
              <a:gd name="T98" fmla="*/ 2147483647 w 1874"/>
              <a:gd name="T99" fmla="*/ 2147483647 h 999"/>
              <a:gd name="T100" fmla="*/ 2147483647 w 1874"/>
              <a:gd name="T101" fmla="*/ 2147483647 h 999"/>
              <a:gd name="T102" fmla="*/ 2147483647 w 1874"/>
              <a:gd name="T103" fmla="*/ 2147483647 h 999"/>
              <a:gd name="T104" fmla="*/ 2147483647 w 1874"/>
              <a:gd name="T105" fmla="*/ 2147483647 h 999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874"/>
              <a:gd name="T160" fmla="*/ 0 h 999"/>
              <a:gd name="T161" fmla="*/ 1874 w 1874"/>
              <a:gd name="T162" fmla="*/ 999 h 999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1874" h="999">
                <a:moveTo>
                  <a:pt x="999" y="33"/>
                </a:moveTo>
                <a:lnTo>
                  <a:pt x="1002" y="15"/>
                </a:lnTo>
                <a:lnTo>
                  <a:pt x="1036" y="0"/>
                </a:lnTo>
                <a:lnTo>
                  <a:pt x="1126" y="16"/>
                </a:lnTo>
                <a:lnTo>
                  <a:pt x="1131" y="49"/>
                </a:lnTo>
                <a:lnTo>
                  <a:pt x="1141" y="58"/>
                </a:lnTo>
                <a:lnTo>
                  <a:pt x="1129" y="89"/>
                </a:lnTo>
                <a:lnTo>
                  <a:pt x="1136" y="101"/>
                </a:lnTo>
                <a:lnTo>
                  <a:pt x="1177" y="97"/>
                </a:lnTo>
                <a:lnTo>
                  <a:pt x="1178" y="83"/>
                </a:lnTo>
                <a:lnTo>
                  <a:pt x="1194" y="101"/>
                </a:lnTo>
                <a:lnTo>
                  <a:pt x="1192" y="115"/>
                </a:lnTo>
                <a:lnTo>
                  <a:pt x="1206" y="117"/>
                </a:lnTo>
                <a:lnTo>
                  <a:pt x="1199" y="105"/>
                </a:lnTo>
                <a:lnTo>
                  <a:pt x="1206" y="101"/>
                </a:lnTo>
                <a:lnTo>
                  <a:pt x="1236" y="117"/>
                </a:lnTo>
                <a:lnTo>
                  <a:pt x="1251" y="108"/>
                </a:lnTo>
                <a:lnTo>
                  <a:pt x="1253" y="122"/>
                </a:lnTo>
                <a:lnTo>
                  <a:pt x="1234" y="140"/>
                </a:lnTo>
                <a:lnTo>
                  <a:pt x="1239" y="152"/>
                </a:lnTo>
                <a:lnTo>
                  <a:pt x="1287" y="148"/>
                </a:lnTo>
                <a:lnTo>
                  <a:pt x="1339" y="98"/>
                </a:lnTo>
                <a:lnTo>
                  <a:pt x="1393" y="80"/>
                </a:lnTo>
                <a:lnTo>
                  <a:pt x="1397" y="92"/>
                </a:lnTo>
                <a:lnTo>
                  <a:pt x="1381" y="100"/>
                </a:lnTo>
                <a:lnTo>
                  <a:pt x="1384" y="113"/>
                </a:lnTo>
                <a:lnTo>
                  <a:pt x="1448" y="171"/>
                </a:lnTo>
                <a:lnTo>
                  <a:pt x="1548" y="355"/>
                </a:lnTo>
                <a:lnTo>
                  <a:pt x="1578" y="320"/>
                </a:lnTo>
                <a:lnTo>
                  <a:pt x="1600" y="333"/>
                </a:lnTo>
                <a:lnTo>
                  <a:pt x="1610" y="358"/>
                </a:lnTo>
                <a:lnTo>
                  <a:pt x="1664" y="358"/>
                </a:lnTo>
                <a:lnTo>
                  <a:pt x="1706" y="341"/>
                </a:lnTo>
                <a:lnTo>
                  <a:pt x="1785" y="436"/>
                </a:lnTo>
                <a:lnTo>
                  <a:pt x="1831" y="448"/>
                </a:lnTo>
                <a:lnTo>
                  <a:pt x="1849" y="431"/>
                </a:lnTo>
                <a:lnTo>
                  <a:pt x="1874" y="470"/>
                </a:lnTo>
                <a:lnTo>
                  <a:pt x="1868" y="496"/>
                </a:lnTo>
                <a:lnTo>
                  <a:pt x="1844" y="526"/>
                </a:lnTo>
                <a:lnTo>
                  <a:pt x="1816" y="530"/>
                </a:lnTo>
                <a:lnTo>
                  <a:pt x="1802" y="567"/>
                </a:lnTo>
                <a:lnTo>
                  <a:pt x="1802" y="617"/>
                </a:lnTo>
                <a:lnTo>
                  <a:pt x="1769" y="632"/>
                </a:lnTo>
                <a:lnTo>
                  <a:pt x="1754" y="620"/>
                </a:lnTo>
                <a:lnTo>
                  <a:pt x="1724" y="623"/>
                </a:lnTo>
                <a:lnTo>
                  <a:pt x="1701" y="612"/>
                </a:lnTo>
                <a:lnTo>
                  <a:pt x="1681" y="611"/>
                </a:lnTo>
                <a:lnTo>
                  <a:pt x="1666" y="649"/>
                </a:lnTo>
                <a:lnTo>
                  <a:pt x="1649" y="694"/>
                </a:lnTo>
                <a:lnTo>
                  <a:pt x="1647" y="711"/>
                </a:lnTo>
                <a:lnTo>
                  <a:pt x="1655" y="738"/>
                </a:lnTo>
                <a:lnTo>
                  <a:pt x="1600" y="744"/>
                </a:lnTo>
                <a:lnTo>
                  <a:pt x="1578" y="753"/>
                </a:lnTo>
                <a:lnTo>
                  <a:pt x="1542" y="765"/>
                </a:lnTo>
                <a:lnTo>
                  <a:pt x="1556" y="784"/>
                </a:lnTo>
                <a:lnTo>
                  <a:pt x="1559" y="815"/>
                </a:lnTo>
                <a:lnTo>
                  <a:pt x="1576" y="860"/>
                </a:lnTo>
                <a:lnTo>
                  <a:pt x="1576" y="872"/>
                </a:lnTo>
                <a:lnTo>
                  <a:pt x="1565" y="880"/>
                </a:lnTo>
                <a:lnTo>
                  <a:pt x="1556" y="920"/>
                </a:lnTo>
                <a:lnTo>
                  <a:pt x="1520" y="909"/>
                </a:lnTo>
                <a:lnTo>
                  <a:pt x="1507" y="892"/>
                </a:lnTo>
                <a:lnTo>
                  <a:pt x="1409" y="878"/>
                </a:lnTo>
                <a:lnTo>
                  <a:pt x="1327" y="883"/>
                </a:lnTo>
                <a:lnTo>
                  <a:pt x="1296" y="878"/>
                </a:lnTo>
                <a:lnTo>
                  <a:pt x="1273" y="863"/>
                </a:lnTo>
                <a:lnTo>
                  <a:pt x="1243" y="878"/>
                </a:lnTo>
                <a:lnTo>
                  <a:pt x="1234" y="911"/>
                </a:lnTo>
                <a:lnTo>
                  <a:pt x="1191" y="894"/>
                </a:lnTo>
                <a:lnTo>
                  <a:pt x="1149" y="888"/>
                </a:lnTo>
                <a:lnTo>
                  <a:pt x="1129" y="894"/>
                </a:lnTo>
                <a:lnTo>
                  <a:pt x="1123" y="917"/>
                </a:lnTo>
                <a:lnTo>
                  <a:pt x="1110" y="934"/>
                </a:lnTo>
                <a:lnTo>
                  <a:pt x="1099" y="934"/>
                </a:lnTo>
                <a:lnTo>
                  <a:pt x="1087" y="951"/>
                </a:lnTo>
                <a:lnTo>
                  <a:pt x="1056" y="966"/>
                </a:lnTo>
                <a:lnTo>
                  <a:pt x="1024" y="999"/>
                </a:lnTo>
                <a:lnTo>
                  <a:pt x="985" y="983"/>
                </a:lnTo>
                <a:lnTo>
                  <a:pt x="938" y="988"/>
                </a:lnTo>
                <a:lnTo>
                  <a:pt x="929" y="949"/>
                </a:lnTo>
                <a:lnTo>
                  <a:pt x="903" y="945"/>
                </a:lnTo>
                <a:lnTo>
                  <a:pt x="901" y="919"/>
                </a:lnTo>
                <a:lnTo>
                  <a:pt x="908" y="917"/>
                </a:lnTo>
                <a:lnTo>
                  <a:pt x="908" y="881"/>
                </a:lnTo>
                <a:lnTo>
                  <a:pt x="895" y="883"/>
                </a:lnTo>
                <a:lnTo>
                  <a:pt x="880" y="855"/>
                </a:lnTo>
                <a:lnTo>
                  <a:pt x="850" y="831"/>
                </a:lnTo>
                <a:lnTo>
                  <a:pt x="816" y="834"/>
                </a:lnTo>
                <a:lnTo>
                  <a:pt x="782" y="838"/>
                </a:lnTo>
                <a:lnTo>
                  <a:pt x="748" y="841"/>
                </a:lnTo>
                <a:lnTo>
                  <a:pt x="714" y="844"/>
                </a:lnTo>
                <a:lnTo>
                  <a:pt x="691" y="823"/>
                </a:lnTo>
                <a:lnTo>
                  <a:pt x="669" y="801"/>
                </a:lnTo>
                <a:lnTo>
                  <a:pt x="646" y="778"/>
                </a:lnTo>
                <a:lnTo>
                  <a:pt x="623" y="755"/>
                </a:lnTo>
                <a:lnTo>
                  <a:pt x="578" y="722"/>
                </a:lnTo>
                <a:lnTo>
                  <a:pt x="553" y="711"/>
                </a:lnTo>
                <a:lnTo>
                  <a:pt x="524" y="722"/>
                </a:lnTo>
                <a:lnTo>
                  <a:pt x="494" y="733"/>
                </a:lnTo>
                <a:lnTo>
                  <a:pt x="464" y="742"/>
                </a:lnTo>
                <a:lnTo>
                  <a:pt x="435" y="753"/>
                </a:lnTo>
                <a:lnTo>
                  <a:pt x="435" y="812"/>
                </a:lnTo>
                <a:lnTo>
                  <a:pt x="435" y="866"/>
                </a:lnTo>
                <a:lnTo>
                  <a:pt x="437" y="923"/>
                </a:lnTo>
                <a:lnTo>
                  <a:pt x="437" y="980"/>
                </a:lnTo>
                <a:lnTo>
                  <a:pt x="425" y="983"/>
                </a:lnTo>
                <a:lnTo>
                  <a:pt x="402" y="978"/>
                </a:lnTo>
                <a:lnTo>
                  <a:pt x="376" y="929"/>
                </a:lnTo>
                <a:lnTo>
                  <a:pt x="352" y="915"/>
                </a:lnTo>
                <a:lnTo>
                  <a:pt x="300" y="929"/>
                </a:lnTo>
                <a:lnTo>
                  <a:pt x="274" y="951"/>
                </a:lnTo>
                <a:lnTo>
                  <a:pt x="274" y="920"/>
                </a:lnTo>
                <a:lnTo>
                  <a:pt x="283" y="911"/>
                </a:lnTo>
                <a:lnTo>
                  <a:pt x="283" y="895"/>
                </a:lnTo>
                <a:lnTo>
                  <a:pt x="247" y="881"/>
                </a:lnTo>
                <a:lnTo>
                  <a:pt x="238" y="872"/>
                </a:lnTo>
                <a:lnTo>
                  <a:pt x="222" y="869"/>
                </a:lnTo>
                <a:lnTo>
                  <a:pt x="219" y="838"/>
                </a:lnTo>
                <a:lnTo>
                  <a:pt x="210" y="821"/>
                </a:lnTo>
                <a:lnTo>
                  <a:pt x="196" y="804"/>
                </a:lnTo>
                <a:lnTo>
                  <a:pt x="178" y="797"/>
                </a:lnTo>
                <a:lnTo>
                  <a:pt x="168" y="784"/>
                </a:lnTo>
                <a:lnTo>
                  <a:pt x="190" y="776"/>
                </a:lnTo>
                <a:lnTo>
                  <a:pt x="230" y="784"/>
                </a:lnTo>
                <a:lnTo>
                  <a:pt x="222" y="753"/>
                </a:lnTo>
                <a:lnTo>
                  <a:pt x="227" y="742"/>
                </a:lnTo>
                <a:lnTo>
                  <a:pt x="252" y="742"/>
                </a:lnTo>
                <a:lnTo>
                  <a:pt x="262" y="728"/>
                </a:lnTo>
                <a:lnTo>
                  <a:pt x="278" y="728"/>
                </a:lnTo>
                <a:lnTo>
                  <a:pt x="304" y="739"/>
                </a:lnTo>
                <a:lnTo>
                  <a:pt x="326" y="731"/>
                </a:lnTo>
                <a:lnTo>
                  <a:pt x="359" y="747"/>
                </a:lnTo>
                <a:lnTo>
                  <a:pt x="377" y="747"/>
                </a:lnTo>
                <a:lnTo>
                  <a:pt x="380" y="739"/>
                </a:lnTo>
                <a:lnTo>
                  <a:pt x="374" y="731"/>
                </a:lnTo>
                <a:lnTo>
                  <a:pt x="383" y="731"/>
                </a:lnTo>
                <a:lnTo>
                  <a:pt x="377" y="719"/>
                </a:lnTo>
                <a:lnTo>
                  <a:pt x="355" y="694"/>
                </a:lnTo>
                <a:lnTo>
                  <a:pt x="345" y="692"/>
                </a:lnTo>
                <a:lnTo>
                  <a:pt x="337" y="679"/>
                </a:lnTo>
                <a:lnTo>
                  <a:pt x="332" y="658"/>
                </a:lnTo>
                <a:lnTo>
                  <a:pt x="313" y="641"/>
                </a:lnTo>
                <a:lnTo>
                  <a:pt x="312" y="631"/>
                </a:lnTo>
                <a:lnTo>
                  <a:pt x="284" y="611"/>
                </a:lnTo>
                <a:lnTo>
                  <a:pt x="247" y="620"/>
                </a:lnTo>
                <a:lnTo>
                  <a:pt x="245" y="611"/>
                </a:lnTo>
                <a:lnTo>
                  <a:pt x="205" y="606"/>
                </a:lnTo>
                <a:lnTo>
                  <a:pt x="176" y="632"/>
                </a:lnTo>
                <a:lnTo>
                  <a:pt x="98" y="649"/>
                </a:lnTo>
                <a:lnTo>
                  <a:pt x="117" y="662"/>
                </a:lnTo>
                <a:lnTo>
                  <a:pt x="103" y="668"/>
                </a:lnTo>
                <a:lnTo>
                  <a:pt x="69" y="648"/>
                </a:lnTo>
                <a:lnTo>
                  <a:pt x="76" y="636"/>
                </a:lnTo>
                <a:lnTo>
                  <a:pt x="100" y="636"/>
                </a:lnTo>
                <a:lnTo>
                  <a:pt x="93" y="589"/>
                </a:lnTo>
                <a:lnTo>
                  <a:pt x="72" y="563"/>
                </a:lnTo>
                <a:lnTo>
                  <a:pt x="38" y="570"/>
                </a:lnTo>
                <a:lnTo>
                  <a:pt x="23" y="530"/>
                </a:lnTo>
                <a:lnTo>
                  <a:pt x="0" y="521"/>
                </a:lnTo>
                <a:lnTo>
                  <a:pt x="10" y="484"/>
                </a:lnTo>
                <a:lnTo>
                  <a:pt x="26" y="472"/>
                </a:lnTo>
                <a:lnTo>
                  <a:pt x="13" y="456"/>
                </a:lnTo>
                <a:lnTo>
                  <a:pt x="21" y="417"/>
                </a:lnTo>
                <a:lnTo>
                  <a:pt x="37" y="406"/>
                </a:lnTo>
                <a:lnTo>
                  <a:pt x="46" y="374"/>
                </a:lnTo>
                <a:lnTo>
                  <a:pt x="85" y="426"/>
                </a:lnTo>
                <a:lnTo>
                  <a:pt x="106" y="411"/>
                </a:lnTo>
                <a:lnTo>
                  <a:pt x="93" y="365"/>
                </a:lnTo>
                <a:lnTo>
                  <a:pt x="128" y="348"/>
                </a:lnTo>
                <a:lnTo>
                  <a:pt x="134" y="329"/>
                </a:lnTo>
                <a:lnTo>
                  <a:pt x="170" y="316"/>
                </a:lnTo>
                <a:lnTo>
                  <a:pt x="191" y="291"/>
                </a:lnTo>
                <a:lnTo>
                  <a:pt x="216" y="287"/>
                </a:lnTo>
                <a:lnTo>
                  <a:pt x="238" y="303"/>
                </a:lnTo>
                <a:lnTo>
                  <a:pt x="249" y="284"/>
                </a:lnTo>
                <a:lnTo>
                  <a:pt x="267" y="283"/>
                </a:lnTo>
                <a:lnTo>
                  <a:pt x="278" y="299"/>
                </a:lnTo>
                <a:lnTo>
                  <a:pt x="323" y="301"/>
                </a:lnTo>
                <a:lnTo>
                  <a:pt x="354" y="333"/>
                </a:lnTo>
                <a:lnTo>
                  <a:pt x="369" y="371"/>
                </a:lnTo>
                <a:lnTo>
                  <a:pt x="376" y="366"/>
                </a:lnTo>
                <a:lnTo>
                  <a:pt x="372" y="341"/>
                </a:lnTo>
                <a:lnTo>
                  <a:pt x="383" y="335"/>
                </a:lnTo>
                <a:lnTo>
                  <a:pt x="423" y="369"/>
                </a:lnTo>
                <a:lnTo>
                  <a:pt x="470" y="335"/>
                </a:lnTo>
                <a:lnTo>
                  <a:pt x="504" y="346"/>
                </a:lnTo>
                <a:lnTo>
                  <a:pt x="516" y="337"/>
                </a:lnTo>
                <a:lnTo>
                  <a:pt x="540" y="329"/>
                </a:lnTo>
                <a:lnTo>
                  <a:pt x="567" y="363"/>
                </a:lnTo>
                <a:lnTo>
                  <a:pt x="595" y="374"/>
                </a:lnTo>
                <a:lnTo>
                  <a:pt x="625" y="350"/>
                </a:lnTo>
                <a:lnTo>
                  <a:pt x="667" y="362"/>
                </a:lnTo>
                <a:lnTo>
                  <a:pt x="685" y="354"/>
                </a:lnTo>
                <a:lnTo>
                  <a:pt x="697" y="315"/>
                </a:lnTo>
                <a:lnTo>
                  <a:pt x="694" y="309"/>
                </a:lnTo>
                <a:lnTo>
                  <a:pt x="669" y="307"/>
                </a:lnTo>
                <a:lnTo>
                  <a:pt x="638" y="289"/>
                </a:lnTo>
                <a:lnTo>
                  <a:pt x="623" y="266"/>
                </a:lnTo>
                <a:lnTo>
                  <a:pt x="665" y="244"/>
                </a:lnTo>
                <a:lnTo>
                  <a:pt x="669" y="230"/>
                </a:lnTo>
                <a:lnTo>
                  <a:pt x="654" y="208"/>
                </a:lnTo>
                <a:lnTo>
                  <a:pt x="672" y="190"/>
                </a:lnTo>
                <a:lnTo>
                  <a:pt x="721" y="182"/>
                </a:lnTo>
                <a:lnTo>
                  <a:pt x="679" y="165"/>
                </a:lnTo>
                <a:lnTo>
                  <a:pt x="676" y="154"/>
                </a:lnTo>
                <a:lnTo>
                  <a:pt x="693" y="145"/>
                </a:lnTo>
                <a:lnTo>
                  <a:pt x="669" y="143"/>
                </a:lnTo>
                <a:lnTo>
                  <a:pt x="676" y="125"/>
                </a:lnTo>
                <a:lnTo>
                  <a:pt x="665" y="115"/>
                </a:lnTo>
                <a:lnTo>
                  <a:pt x="738" y="118"/>
                </a:lnTo>
                <a:lnTo>
                  <a:pt x="790" y="91"/>
                </a:lnTo>
                <a:lnTo>
                  <a:pt x="807" y="98"/>
                </a:lnTo>
                <a:lnTo>
                  <a:pt x="843" y="77"/>
                </a:lnTo>
                <a:lnTo>
                  <a:pt x="870" y="61"/>
                </a:lnTo>
                <a:lnTo>
                  <a:pt x="999" y="33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397" name="Freeform 86"/>
          <p:cNvSpPr>
            <a:spLocks noChangeAspect="1"/>
          </p:cNvSpPr>
          <p:nvPr/>
        </p:nvSpPr>
        <p:spPr bwMode="gray">
          <a:xfrm>
            <a:off x="5414963" y="2797175"/>
            <a:ext cx="122237" cy="98425"/>
          </a:xfrm>
          <a:custGeom>
            <a:avLst/>
            <a:gdLst>
              <a:gd name="T0" fmla="*/ 2147483647 w 249"/>
              <a:gd name="T1" fmla="*/ 2147483647 h 205"/>
              <a:gd name="T2" fmla="*/ 2147483647 w 249"/>
              <a:gd name="T3" fmla="*/ 2147483647 h 205"/>
              <a:gd name="T4" fmla="*/ 2147483647 w 249"/>
              <a:gd name="T5" fmla="*/ 2147483647 h 205"/>
              <a:gd name="T6" fmla="*/ 2147483647 w 249"/>
              <a:gd name="T7" fmla="*/ 2147483647 h 205"/>
              <a:gd name="T8" fmla="*/ 2147483647 w 249"/>
              <a:gd name="T9" fmla="*/ 2147483647 h 205"/>
              <a:gd name="T10" fmla="*/ 2147483647 w 249"/>
              <a:gd name="T11" fmla="*/ 2147483647 h 205"/>
              <a:gd name="T12" fmla="*/ 2147483647 w 249"/>
              <a:gd name="T13" fmla="*/ 2147483647 h 205"/>
              <a:gd name="T14" fmla="*/ 2147483647 w 249"/>
              <a:gd name="T15" fmla="*/ 2147483647 h 205"/>
              <a:gd name="T16" fmla="*/ 2147483647 w 249"/>
              <a:gd name="T17" fmla="*/ 2147483647 h 205"/>
              <a:gd name="T18" fmla="*/ 2147483647 w 249"/>
              <a:gd name="T19" fmla="*/ 2147483647 h 205"/>
              <a:gd name="T20" fmla="*/ 2147483647 w 249"/>
              <a:gd name="T21" fmla="*/ 2147483647 h 205"/>
              <a:gd name="T22" fmla="*/ 2147483647 w 249"/>
              <a:gd name="T23" fmla="*/ 2147483647 h 205"/>
              <a:gd name="T24" fmla="*/ 2147483647 w 249"/>
              <a:gd name="T25" fmla="*/ 2147483647 h 205"/>
              <a:gd name="T26" fmla="*/ 2147483647 w 249"/>
              <a:gd name="T27" fmla="*/ 2147483647 h 205"/>
              <a:gd name="T28" fmla="*/ 2147483647 w 249"/>
              <a:gd name="T29" fmla="*/ 2147483647 h 205"/>
              <a:gd name="T30" fmla="*/ 2147483647 w 249"/>
              <a:gd name="T31" fmla="*/ 2147483647 h 205"/>
              <a:gd name="T32" fmla="*/ 2147483647 w 249"/>
              <a:gd name="T33" fmla="*/ 2147483647 h 205"/>
              <a:gd name="T34" fmla="*/ 2147483647 w 249"/>
              <a:gd name="T35" fmla="*/ 0 h 205"/>
              <a:gd name="T36" fmla="*/ 2147483647 w 249"/>
              <a:gd name="T37" fmla="*/ 2147483647 h 205"/>
              <a:gd name="T38" fmla="*/ 2147483647 w 249"/>
              <a:gd name="T39" fmla="*/ 2147483647 h 205"/>
              <a:gd name="T40" fmla="*/ 2147483647 w 249"/>
              <a:gd name="T41" fmla="*/ 2147483647 h 205"/>
              <a:gd name="T42" fmla="*/ 2147483647 w 249"/>
              <a:gd name="T43" fmla="*/ 2147483647 h 205"/>
              <a:gd name="T44" fmla="*/ 2147483647 w 249"/>
              <a:gd name="T45" fmla="*/ 2147483647 h 205"/>
              <a:gd name="T46" fmla="*/ 2147483647 w 249"/>
              <a:gd name="T47" fmla="*/ 2147483647 h 205"/>
              <a:gd name="T48" fmla="*/ 0 w 249"/>
              <a:gd name="T49" fmla="*/ 2147483647 h 205"/>
              <a:gd name="T50" fmla="*/ 2147483647 w 249"/>
              <a:gd name="T51" fmla="*/ 2147483647 h 205"/>
              <a:gd name="T52" fmla="*/ 2147483647 w 249"/>
              <a:gd name="T53" fmla="*/ 2147483647 h 205"/>
              <a:gd name="T54" fmla="*/ 2147483647 w 249"/>
              <a:gd name="T55" fmla="*/ 2147483647 h 205"/>
              <a:gd name="T56" fmla="*/ 2147483647 w 249"/>
              <a:gd name="T57" fmla="*/ 2147483647 h 205"/>
              <a:gd name="T58" fmla="*/ 2147483647 w 249"/>
              <a:gd name="T59" fmla="*/ 2147483647 h 205"/>
              <a:gd name="T60" fmla="*/ 2147483647 w 249"/>
              <a:gd name="T61" fmla="*/ 2147483647 h 205"/>
              <a:gd name="T62" fmla="*/ 2147483647 w 249"/>
              <a:gd name="T63" fmla="*/ 2147483647 h 205"/>
              <a:gd name="T64" fmla="*/ 2147483647 w 249"/>
              <a:gd name="T65" fmla="*/ 2147483647 h 205"/>
              <a:gd name="T66" fmla="*/ 2147483647 w 249"/>
              <a:gd name="T67" fmla="*/ 2147483647 h 205"/>
              <a:gd name="T68" fmla="*/ 2147483647 w 249"/>
              <a:gd name="T69" fmla="*/ 2147483647 h 205"/>
              <a:gd name="T70" fmla="*/ 2147483647 w 249"/>
              <a:gd name="T71" fmla="*/ 2147483647 h 205"/>
              <a:gd name="T72" fmla="*/ 2147483647 w 249"/>
              <a:gd name="T73" fmla="*/ 2147483647 h 205"/>
              <a:gd name="T74" fmla="*/ 2147483647 w 249"/>
              <a:gd name="T75" fmla="*/ 2147483647 h 205"/>
              <a:gd name="T76" fmla="*/ 2147483647 w 249"/>
              <a:gd name="T77" fmla="*/ 2147483647 h 205"/>
              <a:gd name="T78" fmla="*/ 2147483647 w 249"/>
              <a:gd name="T79" fmla="*/ 2147483647 h 205"/>
              <a:gd name="T80" fmla="*/ 2147483647 w 249"/>
              <a:gd name="T81" fmla="*/ 2147483647 h 205"/>
              <a:gd name="T82" fmla="*/ 2147483647 w 249"/>
              <a:gd name="T83" fmla="*/ 2147483647 h 205"/>
              <a:gd name="T84" fmla="*/ 2147483647 w 249"/>
              <a:gd name="T85" fmla="*/ 2147483647 h 205"/>
              <a:gd name="T86" fmla="*/ 2147483647 w 249"/>
              <a:gd name="T87" fmla="*/ 2147483647 h 205"/>
              <a:gd name="T88" fmla="*/ 2147483647 w 249"/>
              <a:gd name="T89" fmla="*/ 2147483647 h 205"/>
              <a:gd name="T90" fmla="*/ 2147483647 w 249"/>
              <a:gd name="T91" fmla="*/ 2147483647 h 205"/>
              <a:gd name="T92" fmla="*/ 2147483647 w 249"/>
              <a:gd name="T93" fmla="*/ 2147483647 h 205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249"/>
              <a:gd name="T142" fmla="*/ 0 h 205"/>
              <a:gd name="T143" fmla="*/ 249 w 249"/>
              <a:gd name="T144" fmla="*/ 205 h 205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249" h="205">
                <a:moveTo>
                  <a:pt x="183" y="205"/>
                </a:moveTo>
                <a:lnTo>
                  <a:pt x="183" y="166"/>
                </a:lnTo>
                <a:lnTo>
                  <a:pt x="190" y="163"/>
                </a:lnTo>
                <a:lnTo>
                  <a:pt x="200" y="172"/>
                </a:lnTo>
                <a:lnTo>
                  <a:pt x="200" y="164"/>
                </a:lnTo>
                <a:lnTo>
                  <a:pt x="213" y="107"/>
                </a:lnTo>
                <a:lnTo>
                  <a:pt x="229" y="93"/>
                </a:lnTo>
                <a:lnTo>
                  <a:pt x="241" y="92"/>
                </a:lnTo>
                <a:lnTo>
                  <a:pt x="249" y="100"/>
                </a:lnTo>
                <a:lnTo>
                  <a:pt x="243" y="84"/>
                </a:lnTo>
                <a:lnTo>
                  <a:pt x="232" y="78"/>
                </a:lnTo>
                <a:lnTo>
                  <a:pt x="215" y="79"/>
                </a:lnTo>
                <a:lnTo>
                  <a:pt x="186" y="28"/>
                </a:lnTo>
                <a:lnTo>
                  <a:pt x="161" y="5"/>
                </a:lnTo>
                <a:lnTo>
                  <a:pt x="127" y="41"/>
                </a:lnTo>
                <a:lnTo>
                  <a:pt x="107" y="39"/>
                </a:lnTo>
                <a:lnTo>
                  <a:pt x="100" y="19"/>
                </a:lnTo>
                <a:lnTo>
                  <a:pt x="66" y="0"/>
                </a:lnTo>
                <a:lnTo>
                  <a:pt x="56" y="16"/>
                </a:lnTo>
                <a:lnTo>
                  <a:pt x="73" y="34"/>
                </a:lnTo>
                <a:lnTo>
                  <a:pt x="76" y="41"/>
                </a:lnTo>
                <a:lnTo>
                  <a:pt x="73" y="45"/>
                </a:lnTo>
                <a:lnTo>
                  <a:pt x="46" y="41"/>
                </a:lnTo>
                <a:lnTo>
                  <a:pt x="22" y="27"/>
                </a:lnTo>
                <a:lnTo>
                  <a:pt x="0" y="36"/>
                </a:lnTo>
                <a:lnTo>
                  <a:pt x="10" y="53"/>
                </a:lnTo>
                <a:lnTo>
                  <a:pt x="22" y="56"/>
                </a:lnTo>
                <a:lnTo>
                  <a:pt x="22" y="81"/>
                </a:lnTo>
                <a:lnTo>
                  <a:pt x="42" y="100"/>
                </a:lnTo>
                <a:lnTo>
                  <a:pt x="40" y="112"/>
                </a:lnTo>
                <a:lnTo>
                  <a:pt x="34" y="113"/>
                </a:lnTo>
                <a:lnTo>
                  <a:pt x="35" y="120"/>
                </a:lnTo>
                <a:lnTo>
                  <a:pt x="56" y="137"/>
                </a:lnTo>
                <a:lnTo>
                  <a:pt x="69" y="138"/>
                </a:lnTo>
                <a:lnTo>
                  <a:pt x="65" y="152"/>
                </a:lnTo>
                <a:lnTo>
                  <a:pt x="69" y="155"/>
                </a:lnTo>
                <a:lnTo>
                  <a:pt x="69" y="163"/>
                </a:lnTo>
                <a:lnTo>
                  <a:pt x="63" y="164"/>
                </a:lnTo>
                <a:lnTo>
                  <a:pt x="71" y="181"/>
                </a:lnTo>
                <a:lnTo>
                  <a:pt x="82" y="183"/>
                </a:lnTo>
                <a:lnTo>
                  <a:pt x="105" y="151"/>
                </a:lnTo>
                <a:lnTo>
                  <a:pt x="136" y="137"/>
                </a:lnTo>
                <a:lnTo>
                  <a:pt x="150" y="146"/>
                </a:lnTo>
                <a:lnTo>
                  <a:pt x="156" y="174"/>
                </a:lnTo>
                <a:lnTo>
                  <a:pt x="141" y="186"/>
                </a:lnTo>
                <a:lnTo>
                  <a:pt x="167" y="205"/>
                </a:lnTo>
                <a:lnTo>
                  <a:pt x="183" y="205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398" name="Freeform 87"/>
          <p:cNvSpPr>
            <a:spLocks noChangeAspect="1"/>
          </p:cNvSpPr>
          <p:nvPr/>
        </p:nvSpPr>
        <p:spPr bwMode="gray">
          <a:xfrm>
            <a:off x="6376988" y="2462213"/>
            <a:ext cx="711200" cy="346075"/>
          </a:xfrm>
          <a:custGeom>
            <a:avLst/>
            <a:gdLst>
              <a:gd name="T0" fmla="*/ 2147483647 w 1459"/>
              <a:gd name="T1" fmla="*/ 2147483647 h 713"/>
              <a:gd name="T2" fmla="*/ 2147483647 w 1459"/>
              <a:gd name="T3" fmla="*/ 2147483647 h 713"/>
              <a:gd name="T4" fmla="*/ 2147483647 w 1459"/>
              <a:gd name="T5" fmla="*/ 2147483647 h 713"/>
              <a:gd name="T6" fmla="*/ 2147483647 w 1459"/>
              <a:gd name="T7" fmla="*/ 2147483647 h 713"/>
              <a:gd name="T8" fmla="*/ 2147483647 w 1459"/>
              <a:gd name="T9" fmla="*/ 2147483647 h 713"/>
              <a:gd name="T10" fmla="*/ 2147483647 w 1459"/>
              <a:gd name="T11" fmla="*/ 2147483647 h 713"/>
              <a:gd name="T12" fmla="*/ 2147483647 w 1459"/>
              <a:gd name="T13" fmla="*/ 2147483647 h 713"/>
              <a:gd name="T14" fmla="*/ 2147483647 w 1459"/>
              <a:gd name="T15" fmla="*/ 2147483647 h 713"/>
              <a:gd name="T16" fmla="*/ 2147483647 w 1459"/>
              <a:gd name="T17" fmla="*/ 2147483647 h 713"/>
              <a:gd name="T18" fmla="*/ 2147483647 w 1459"/>
              <a:gd name="T19" fmla="*/ 2147483647 h 713"/>
              <a:gd name="T20" fmla="*/ 2147483647 w 1459"/>
              <a:gd name="T21" fmla="*/ 2147483647 h 713"/>
              <a:gd name="T22" fmla="*/ 2147483647 w 1459"/>
              <a:gd name="T23" fmla="*/ 2147483647 h 713"/>
              <a:gd name="T24" fmla="*/ 2147483647 w 1459"/>
              <a:gd name="T25" fmla="*/ 2147483647 h 713"/>
              <a:gd name="T26" fmla="*/ 2147483647 w 1459"/>
              <a:gd name="T27" fmla="*/ 2147483647 h 713"/>
              <a:gd name="T28" fmla="*/ 2147483647 w 1459"/>
              <a:gd name="T29" fmla="*/ 2147483647 h 713"/>
              <a:gd name="T30" fmla="*/ 2147483647 w 1459"/>
              <a:gd name="T31" fmla="*/ 2147483647 h 713"/>
              <a:gd name="T32" fmla="*/ 2147483647 w 1459"/>
              <a:gd name="T33" fmla="*/ 2147483647 h 713"/>
              <a:gd name="T34" fmla="*/ 2147483647 w 1459"/>
              <a:gd name="T35" fmla="*/ 2147483647 h 713"/>
              <a:gd name="T36" fmla="*/ 2147483647 w 1459"/>
              <a:gd name="T37" fmla="*/ 2147483647 h 713"/>
              <a:gd name="T38" fmla="*/ 2147483647 w 1459"/>
              <a:gd name="T39" fmla="*/ 2147483647 h 713"/>
              <a:gd name="T40" fmla="*/ 2147483647 w 1459"/>
              <a:gd name="T41" fmla="*/ 2147483647 h 713"/>
              <a:gd name="T42" fmla="*/ 2147483647 w 1459"/>
              <a:gd name="T43" fmla="*/ 2147483647 h 713"/>
              <a:gd name="T44" fmla="*/ 2147483647 w 1459"/>
              <a:gd name="T45" fmla="*/ 2147483647 h 713"/>
              <a:gd name="T46" fmla="*/ 2147483647 w 1459"/>
              <a:gd name="T47" fmla="*/ 2147483647 h 713"/>
              <a:gd name="T48" fmla="*/ 2147483647 w 1459"/>
              <a:gd name="T49" fmla="*/ 2147483647 h 713"/>
              <a:gd name="T50" fmla="*/ 2147483647 w 1459"/>
              <a:gd name="T51" fmla="*/ 2147483647 h 713"/>
              <a:gd name="T52" fmla="*/ 2147483647 w 1459"/>
              <a:gd name="T53" fmla="*/ 2147483647 h 713"/>
              <a:gd name="T54" fmla="*/ 2147483647 w 1459"/>
              <a:gd name="T55" fmla="*/ 2147483647 h 713"/>
              <a:gd name="T56" fmla="*/ 2147483647 w 1459"/>
              <a:gd name="T57" fmla="*/ 2147483647 h 713"/>
              <a:gd name="T58" fmla="*/ 2147483647 w 1459"/>
              <a:gd name="T59" fmla="*/ 2147483647 h 713"/>
              <a:gd name="T60" fmla="*/ 2147483647 w 1459"/>
              <a:gd name="T61" fmla="*/ 2147483647 h 713"/>
              <a:gd name="T62" fmla="*/ 2147483647 w 1459"/>
              <a:gd name="T63" fmla="*/ 2147483647 h 713"/>
              <a:gd name="T64" fmla="*/ 2147483647 w 1459"/>
              <a:gd name="T65" fmla="*/ 2147483647 h 713"/>
              <a:gd name="T66" fmla="*/ 2147483647 w 1459"/>
              <a:gd name="T67" fmla="*/ 2147483647 h 713"/>
              <a:gd name="T68" fmla="*/ 2147483647 w 1459"/>
              <a:gd name="T69" fmla="*/ 2147483647 h 713"/>
              <a:gd name="T70" fmla="*/ 2147483647 w 1459"/>
              <a:gd name="T71" fmla="*/ 2147483647 h 713"/>
              <a:gd name="T72" fmla="*/ 2147483647 w 1459"/>
              <a:gd name="T73" fmla="*/ 2147483647 h 713"/>
              <a:gd name="T74" fmla="*/ 2147483647 w 1459"/>
              <a:gd name="T75" fmla="*/ 2147483647 h 713"/>
              <a:gd name="T76" fmla="*/ 2147483647 w 1459"/>
              <a:gd name="T77" fmla="*/ 2147483647 h 713"/>
              <a:gd name="T78" fmla="*/ 2147483647 w 1459"/>
              <a:gd name="T79" fmla="*/ 2147483647 h 713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1459"/>
              <a:gd name="T121" fmla="*/ 0 h 713"/>
              <a:gd name="T122" fmla="*/ 1459 w 1459"/>
              <a:gd name="T123" fmla="*/ 713 h 713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1459" h="713">
                <a:moveTo>
                  <a:pt x="1315" y="160"/>
                </a:moveTo>
                <a:lnTo>
                  <a:pt x="1283" y="215"/>
                </a:lnTo>
                <a:lnTo>
                  <a:pt x="1286" y="244"/>
                </a:lnTo>
                <a:lnTo>
                  <a:pt x="1275" y="275"/>
                </a:lnTo>
                <a:lnTo>
                  <a:pt x="1277" y="293"/>
                </a:lnTo>
                <a:lnTo>
                  <a:pt x="1287" y="321"/>
                </a:lnTo>
                <a:lnTo>
                  <a:pt x="1343" y="329"/>
                </a:lnTo>
                <a:lnTo>
                  <a:pt x="1362" y="321"/>
                </a:lnTo>
                <a:lnTo>
                  <a:pt x="1402" y="295"/>
                </a:lnTo>
                <a:lnTo>
                  <a:pt x="1419" y="318"/>
                </a:lnTo>
                <a:lnTo>
                  <a:pt x="1442" y="338"/>
                </a:lnTo>
                <a:lnTo>
                  <a:pt x="1448" y="349"/>
                </a:lnTo>
                <a:lnTo>
                  <a:pt x="1447" y="367"/>
                </a:lnTo>
                <a:lnTo>
                  <a:pt x="1458" y="374"/>
                </a:lnTo>
                <a:lnTo>
                  <a:pt x="1459" y="386"/>
                </a:lnTo>
                <a:lnTo>
                  <a:pt x="1402" y="389"/>
                </a:lnTo>
                <a:lnTo>
                  <a:pt x="1340" y="394"/>
                </a:lnTo>
                <a:lnTo>
                  <a:pt x="1283" y="451"/>
                </a:lnTo>
                <a:lnTo>
                  <a:pt x="1261" y="465"/>
                </a:lnTo>
                <a:lnTo>
                  <a:pt x="1243" y="464"/>
                </a:lnTo>
                <a:lnTo>
                  <a:pt x="1210" y="499"/>
                </a:lnTo>
                <a:lnTo>
                  <a:pt x="1187" y="515"/>
                </a:lnTo>
                <a:lnTo>
                  <a:pt x="1155" y="510"/>
                </a:lnTo>
                <a:lnTo>
                  <a:pt x="1131" y="494"/>
                </a:lnTo>
                <a:lnTo>
                  <a:pt x="1113" y="499"/>
                </a:lnTo>
                <a:lnTo>
                  <a:pt x="1092" y="544"/>
                </a:lnTo>
                <a:lnTo>
                  <a:pt x="1111" y="567"/>
                </a:lnTo>
                <a:lnTo>
                  <a:pt x="1113" y="577"/>
                </a:lnTo>
                <a:lnTo>
                  <a:pt x="1028" y="649"/>
                </a:lnTo>
                <a:lnTo>
                  <a:pt x="974" y="663"/>
                </a:lnTo>
                <a:lnTo>
                  <a:pt x="952" y="657"/>
                </a:lnTo>
                <a:lnTo>
                  <a:pt x="916" y="660"/>
                </a:lnTo>
                <a:lnTo>
                  <a:pt x="860" y="675"/>
                </a:lnTo>
                <a:lnTo>
                  <a:pt x="853" y="683"/>
                </a:lnTo>
                <a:lnTo>
                  <a:pt x="784" y="713"/>
                </a:lnTo>
                <a:lnTo>
                  <a:pt x="760" y="699"/>
                </a:lnTo>
                <a:lnTo>
                  <a:pt x="737" y="697"/>
                </a:lnTo>
                <a:lnTo>
                  <a:pt x="674" y="675"/>
                </a:lnTo>
                <a:lnTo>
                  <a:pt x="635" y="646"/>
                </a:lnTo>
                <a:lnTo>
                  <a:pt x="598" y="635"/>
                </a:lnTo>
                <a:lnTo>
                  <a:pt x="427" y="643"/>
                </a:lnTo>
                <a:lnTo>
                  <a:pt x="413" y="638"/>
                </a:lnTo>
                <a:lnTo>
                  <a:pt x="379" y="601"/>
                </a:lnTo>
                <a:lnTo>
                  <a:pt x="344" y="541"/>
                </a:lnTo>
                <a:lnTo>
                  <a:pt x="235" y="496"/>
                </a:lnTo>
                <a:lnTo>
                  <a:pt x="206" y="501"/>
                </a:lnTo>
                <a:lnTo>
                  <a:pt x="132" y="477"/>
                </a:lnTo>
                <a:lnTo>
                  <a:pt x="141" y="451"/>
                </a:lnTo>
                <a:lnTo>
                  <a:pt x="137" y="396"/>
                </a:lnTo>
                <a:lnTo>
                  <a:pt x="112" y="327"/>
                </a:lnTo>
                <a:lnTo>
                  <a:pt x="105" y="313"/>
                </a:lnTo>
                <a:lnTo>
                  <a:pt x="64" y="301"/>
                </a:lnTo>
                <a:lnTo>
                  <a:pt x="58" y="312"/>
                </a:lnTo>
                <a:lnTo>
                  <a:pt x="45" y="301"/>
                </a:lnTo>
                <a:lnTo>
                  <a:pt x="37" y="284"/>
                </a:lnTo>
                <a:lnTo>
                  <a:pt x="11" y="264"/>
                </a:lnTo>
                <a:lnTo>
                  <a:pt x="0" y="230"/>
                </a:lnTo>
                <a:lnTo>
                  <a:pt x="24" y="198"/>
                </a:lnTo>
                <a:lnTo>
                  <a:pt x="184" y="114"/>
                </a:lnTo>
                <a:lnTo>
                  <a:pt x="296" y="126"/>
                </a:lnTo>
                <a:lnTo>
                  <a:pt x="325" y="159"/>
                </a:lnTo>
                <a:lnTo>
                  <a:pt x="460" y="157"/>
                </a:lnTo>
                <a:lnTo>
                  <a:pt x="469" y="152"/>
                </a:lnTo>
                <a:lnTo>
                  <a:pt x="467" y="123"/>
                </a:lnTo>
                <a:lnTo>
                  <a:pt x="475" y="109"/>
                </a:lnTo>
                <a:lnTo>
                  <a:pt x="464" y="54"/>
                </a:lnTo>
                <a:lnTo>
                  <a:pt x="526" y="0"/>
                </a:lnTo>
                <a:lnTo>
                  <a:pt x="650" y="49"/>
                </a:lnTo>
                <a:lnTo>
                  <a:pt x="662" y="105"/>
                </a:lnTo>
                <a:lnTo>
                  <a:pt x="700" y="131"/>
                </a:lnTo>
                <a:lnTo>
                  <a:pt x="726" y="139"/>
                </a:lnTo>
                <a:lnTo>
                  <a:pt x="796" y="112"/>
                </a:lnTo>
                <a:lnTo>
                  <a:pt x="820" y="118"/>
                </a:lnTo>
                <a:lnTo>
                  <a:pt x="930" y="169"/>
                </a:lnTo>
                <a:lnTo>
                  <a:pt x="964" y="199"/>
                </a:lnTo>
                <a:lnTo>
                  <a:pt x="1062" y="216"/>
                </a:lnTo>
                <a:lnTo>
                  <a:pt x="1160" y="190"/>
                </a:lnTo>
                <a:lnTo>
                  <a:pt x="1232" y="143"/>
                </a:lnTo>
                <a:lnTo>
                  <a:pt x="1286" y="168"/>
                </a:lnTo>
                <a:lnTo>
                  <a:pt x="1315" y="160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399" name="Freeform 88"/>
          <p:cNvSpPr>
            <a:spLocks noChangeAspect="1"/>
          </p:cNvSpPr>
          <p:nvPr/>
        </p:nvSpPr>
        <p:spPr bwMode="gray">
          <a:xfrm>
            <a:off x="6704013" y="3498850"/>
            <a:ext cx="117475" cy="96838"/>
          </a:xfrm>
          <a:custGeom>
            <a:avLst/>
            <a:gdLst>
              <a:gd name="T0" fmla="*/ 2147483647 w 244"/>
              <a:gd name="T1" fmla="*/ 0 h 198"/>
              <a:gd name="T2" fmla="*/ 2147483647 w 244"/>
              <a:gd name="T3" fmla="*/ 2147483647 h 198"/>
              <a:gd name="T4" fmla="*/ 2147483647 w 244"/>
              <a:gd name="T5" fmla="*/ 2147483647 h 198"/>
              <a:gd name="T6" fmla="*/ 2147483647 w 244"/>
              <a:gd name="T7" fmla="*/ 2147483647 h 198"/>
              <a:gd name="T8" fmla="*/ 2147483647 w 244"/>
              <a:gd name="T9" fmla="*/ 2147483647 h 198"/>
              <a:gd name="T10" fmla="*/ 2147483647 w 244"/>
              <a:gd name="T11" fmla="*/ 2147483647 h 198"/>
              <a:gd name="T12" fmla="*/ 2147483647 w 244"/>
              <a:gd name="T13" fmla="*/ 2147483647 h 198"/>
              <a:gd name="T14" fmla="*/ 2147483647 w 244"/>
              <a:gd name="T15" fmla="*/ 2147483647 h 198"/>
              <a:gd name="T16" fmla="*/ 2147483647 w 244"/>
              <a:gd name="T17" fmla="*/ 2147483647 h 198"/>
              <a:gd name="T18" fmla="*/ 2147483647 w 244"/>
              <a:gd name="T19" fmla="*/ 2147483647 h 198"/>
              <a:gd name="T20" fmla="*/ 2147483647 w 244"/>
              <a:gd name="T21" fmla="*/ 2147483647 h 198"/>
              <a:gd name="T22" fmla="*/ 2147483647 w 244"/>
              <a:gd name="T23" fmla="*/ 2147483647 h 198"/>
              <a:gd name="T24" fmla="*/ 2147483647 w 244"/>
              <a:gd name="T25" fmla="*/ 2147483647 h 198"/>
              <a:gd name="T26" fmla="*/ 2147483647 w 244"/>
              <a:gd name="T27" fmla="*/ 2147483647 h 198"/>
              <a:gd name="T28" fmla="*/ 2147483647 w 244"/>
              <a:gd name="T29" fmla="*/ 2147483647 h 198"/>
              <a:gd name="T30" fmla="*/ 2147483647 w 244"/>
              <a:gd name="T31" fmla="*/ 2147483647 h 198"/>
              <a:gd name="T32" fmla="*/ 2147483647 w 244"/>
              <a:gd name="T33" fmla="*/ 2147483647 h 198"/>
              <a:gd name="T34" fmla="*/ 2147483647 w 244"/>
              <a:gd name="T35" fmla="*/ 2147483647 h 198"/>
              <a:gd name="T36" fmla="*/ 2147483647 w 244"/>
              <a:gd name="T37" fmla="*/ 2147483647 h 198"/>
              <a:gd name="T38" fmla="*/ 2147483647 w 244"/>
              <a:gd name="T39" fmla="*/ 2147483647 h 198"/>
              <a:gd name="T40" fmla="*/ 2147483647 w 244"/>
              <a:gd name="T41" fmla="*/ 2147483647 h 198"/>
              <a:gd name="T42" fmla="*/ 2147483647 w 244"/>
              <a:gd name="T43" fmla="*/ 2147483647 h 198"/>
              <a:gd name="T44" fmla="*/ 2147483647 w 244"/>
              <a:gd name="T45" fmla="*/ 2147483647 h 198"/>
              <a:gd name="T46" fmla="*/ 2147483647 w 244"/>
              <a:gd name="T47" fmla="*/ 2147483647 h 198"/>
              <a:gd name="T48" fmla="*/ 0 w 244"/>
              <a:gd name="T49" fmla="*/ 2147483647 h 198"/>
              <a:gd name="T50" fmla="*/ 2147483647 w 244"/>
              <a:gd name="T51" fmla="*/ 2147483647 h 198"/>
              <a:gd name="T52" fmla="*/ 2147483647 w 244"/>
              <a:gd name="T53" fmla="*/ 2147483647 h 198"/>
              <a:gd name="T54" fmla="*/ 2147483647 w 244"/>
              <a:gd name="T55" fmla="*/ 2147483647 h 198"/>
              <a:gd name="T56" fmla="*/ 2147483647 w 244"/>
              <a:gd name="T57" fmla="*/ 2147483647 h 198"/>
              <a:gd name="T58" fmla="*/ 2147483647 w 244"/>
              <a:gd name="T59" fmla="*/ 2147483647 h 198"/>
              <a:gd name="T60" fmla="*/ 2147483647 w 244"/>
              <a:gd name="T61" fmla="*/ 2147483647 h 198"/>
              <a:gd name="T62" fmla="*/ 2147483647 w 244"/>
              <a:gd name="T63" fmla="*/ 2147483647 h 198"/>
              <a:gd name="T64" fmla="*/ 2147483647 w 244"/>
              <a:gd name="T65" fmla="*/ 2147483647 h 198"/>
              <a:gd name="T66" fmla="*/ 2147483647 w 244"/>
              <a:gd name="T67" fmla="*/ 2147483647 h 198"/>
              <a:gd name="T68" fmla="*/ 2147483647 w 244"/>
              <a:gd name="T69" fmla="*/ 2147483647 h 198"/>
              <a:gd name="T70" fmla="*/ 2147483647 w 244"/>
              <a:gd name="T71" fmla="*/ 2147483647 h 198"/>
              <a:gd name="T72" fmla="*/ 2147483647 w 244"/>
              <a:gd name="T73" fmla="*/ 2147483647 h 198"/>
              <a:gd name="T74" fmla="*/ 2147483647 w 244"/>
              <a:gd name="T75" fmla="*/ 2147483647 h 198"/>
              <a:gd name="T76" fmla="*/ 2147483647 w 244"/>
              <a:gd name="T77" fmla="*/ 2147483647 h 198"/>
              <a:gd name="T78" fmla="*/ 2147483647 w 244"/>
              <a:gd name="T79" fmla="*/ 0 h 198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244"/>
              <a:gd name="T121" fmla="*/ 0 h 198"/>
              <a:gd name="T122" fmla="*/ 244 w 244"/>
              <a:gd name="T123" fmla="*/ 198 h 198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244" h="198">
                <a:moveTo>
                  <a:pt x="237" y="0"/>
                </a:moveTo>
                <a:lnTo>
                  <a:pt x="235" y="30"/>
                </a:lnTo>
                <a:lnTo>
                  <a:pt x="244" y="56"/>
                </a:lnTo>
                <a:lnTo>
                  <a:pt x="241" y="109"/>
                </a:lnTo>
                <a:lnTo>
                  <a:pt x="235" y="115"/>
                </a:lnTo>
                <a:lnTo>
                  <a:pt x="229" y="114"/>
                </a:lnTo>
                <a:lnTo>
                  <a:pt x="213" y="124"/>
                </a:lnTo>
                <a:lnTo>
                  <a:pt x="191" y="131"/>
                </a:lnTo>
                <a:lnTo>
                  <a:pt x="190" y="139"/>
                </a:lnTo>
                <a:lnTo>
                  <a:pt x="167" y="143"/>
                </a:lnTo>
                <a:lnTo>
                  <a:pt x="165" y="169"/>
                </a:lnTo>
                <a:lnTo>
                  <a:pt x="137" y="183"/>
                </a:lnTo>
                <a:lnTo>
                  <a:pt x="125" y="182"/>
                </a:lnTo>
                <a:lnTo>
                  <a:pt x="120" y="193"/>
                </a:lnTo>
                <a:lnTo>
                  <a:pt x="100" y="198"/>
                </a:lnTo>
                <a:lnTo>
                  <a:pt x="88" y="193"/>
                </a:lnTo>
                <a:lnTo>
                  <a:pt x="59" y="195"/>
                </a:lnTo>
                <a:lnTo>
                  <a:pt x="63" y="171"/>
                </a:lnTo>
                <a:lnTo>
                  <a:pt x="57" y="168"/>
                </a:lnTo>
                <a:lnTo>
                  <a:pt x="40" y="180"/>
                </a:lnTo>
                <a:lnTo>
                  <a:pt x="37" y="154"/>
                </a:lnTo>
                <a:lnTo>
                  <a:pt x="29" y="144"/>
                </a:lnTo>
                <a:lnTo>
                  <a:pt x="26" y="118"/>
                </a:lnTo>
                <a:lnTo>
                  <a:pt x="9" y="98"/>
                </a:lnTo>
                <a:lnTo>
                  <a:pt x="0" y="72"/>
                </a:lnTo>
                <a:lnTo>
                  <a:pt x="1" y="56"/>
                </a:lnTo>
                <a:lnTo>
                  <a:pt x="12" y="42"/>
                </a:lnTo>
                <a:lnTo>
                  <a:pt x="42" y="16"/>
                </a:lnTo>
                <a:lnTo>
                  <a:pt x="80" y="19"/>
                </a:lnTo>
                <a:lnTo>
                  <a:pt x="117" y="17"/>
                </a:lnTo>
                <a:lnTo>
                  <a:pt x="125" y="24"/>
                </a:lnTo>
                <a:lnTo>
                  <a:pt x="134" y="21"/>
                </a:lnTo>
                <a:lnTo>
                  <a:pt x="140" y="27"/>
                </a:lnTo>
                <a:lnTo>
                  <a:pt x="165" y="34"/>
                </a:lnTo>
                <a:lnTo>
                  <a:pt x="173" y="33"/>
                </a:lnTo>
                <a:lnTo>
                  <a:pt x="173" y="19"/>
                </a:lnTo>
                <a:lnTo>
                  <a:pt x="187" y="12"/>
                </a:lnTo>
                <a:lnTo>
                  <a:pt x="204" y="8"/>
                </a:lnTo>
                <a:lnTo>
                  <a:pt x="216" y="16"/>
                </a:lnTo>
                <a:lnTo>
                  <a:pt x="237" y="0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00" name="Freeform 89"/>
          <p:cNvSpPr>
            <a:spLocks noChangeAspect="1"/>
          </p:cNvSpPr>
          <p:nvPr/>
        </p:nvSpPr>
        <p:spPr bwMode="gray">
          <a:xfrm>
            <a:off x="6399213" y="3173413"/>
            <a:ext cx="74612" cy="41275"/>
          </a:xfrm>
          <a:custGeom>
            <a:avLst/>
            <a:gdLst>
              <a:gd name="T0" fmla="*/ 2147483647 w 156"/>
              <a:gd name="T1" fmla="*/ 2147483647 h 81"/>
              <a:gd name="T2" fmla="*/ 2147483647 w 156"/>
              <a:gd name="T3" fmla="*/ 2147483647 h 81"/>
              <a:gd name="T4" fmla="*/ 2147483647 w 156"/>
              <a:gd name="T5" fmla="*/ 2147483647 h 81"/>
              <a:gd name="T6" fmla="*/ 2147483647 w 156"/>
              <a:gd name="T7" fmla="*/ 2147483647 h 81"/>
              <a:gd name="T8" fmla="*/ 2147483647 w 156"/>
              <a:gd name="T9" fmla="*/ 0 h 81"/>
              <a:gd name="T10" fmla="*/ 2147483647 w 156"/>
              <a:gd name="T11" fmla="*/ 0 h 81"/>
              <a:gd name="T12" fmla="*/ 2147483647 w 156"/>
              <a:gd name="T13" fmla="*/ 2147483647 h 81"/>
              <a:gd name="T14" fmla="*/ 2147483647 w 156"/>
              <a:gd name="T15" fmla="*/ 2147483647 h 81"/>
              <a:gd name="T16" fmla="*/ 0 w 156"/>
              <a:gd name="T17" fmla="*/ 2147483647 h 81"/>
              <a:gd name="T18" fmla="*/ 2147483647 w 156"/>
              <a:gd name="T19" fmla="*/ 2147483647 h 81"/>
              <a:gd name="T20" fmla="*/ 2147483647 w 156"/>
              <a:gd name="T21" fmla="*/ 2147483647 h 81"/>
              <a:gd name="T22" fmla="*/ 2147483647 w 156"/>
              <a:gd name="T23" fmla="*/ 2147483647 h 81"/>
              <a:gd name="T24" fmla="*/ 2147483647 w 156"/>
              <a:gd name="T25" fmla="*/ 2147483647 h 81"/>
              <a:gd name="T26" fmla="*/ 2147483647 w 156"/>
              <a:gd name="T27" fmla="*/ 2147483647 h 81"/>
              <a:gd name="T28" fmla="*/ 2147483647 w 156"/>
              <a:gd name="T29" fmla="*/ 2147483647 h 81"/>
              <a:gd name="T30" fmla="*/ 2147483647 w 156"/>
              <a:gd name="T31" fmla="*/ 2147483647 h 8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56"/>
              <a:gd name="T49" fmla="*/ 0 h 81"/>
              <a:gd name="T50" fmla="*/ 156 w 156"/>
              <a:gd name="T51" fmla="*/ 81 h 81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56" h="81">
                <a:moveTo>
                  <a:pt x="137" y="25"/>
                </a:moveTo>
                <a:lnTo>
                  <a:pt x="120" y="13"/>
                </a:lnTo>
                <a:lnTo>
                  <a:pt x="105" y="14"/>
                </a:lnTo>
                <a:lnTo>
                  <a:pt x="80" y="9"/>
                </a:lnTo>
                <a:lnTo>
                  <a:pt x="71" y="0"/>
                </a:lnTo>
                <a:lnTo>
                  <a:pt x="54" y="0"/>
                </a:lnTo>
                <a:lnTo>
                  <a:pt x="34" y="13"/>
                </a:lnTo>
                <a:lnTo>
                  <a:pt x="7" y="47"/>
                </a:lnTo>
                <a:lnTo>
                  <a:pt x="0" y="57"/>
                </a:lnTo>
                <a:lnTo>
                  <a:pt x="5" y="73"/>
                </a:lnTo>
                <a:lnTo>
                  <a:pt x="40" y="81"/>
                </a:lnTo>
                <a:lnTo>
                  <a:pt x="148" y="68"/>
                </a:lnTo>
                <a:lnTo>
                  <a:pt x="156" y="65"/>
                </a:lnTo>
                <a:lnTo>
                  <a:pt x="156" y="47"/>
                </a:lnTo>
                <a:lnTo>
                  <a:pt x="136" y="37"/>
                </a:lnTo>
                <a:lnTo>
                  <a:pt x="137" y="25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01" name="Freeform 90"/>
          <p:cNvSpPr>
            <a:spLocks noChangeAspect="1"/>
          </p:cNvSpPr>
          <p:nvPr/>
        </p:nvSpPr>
        <p:spPr bwMode="gray">
          <a:xfrm>
            <a:off x="5961063" y="2755900"/>
            <a:ext cx="246062" cy="119063"/>
          </a:xfrm>
          <a:custGeom>
            <a:avLst/>
            <a:gdLst>
              <a:gd name="T0" fmla="*/ 2147483647 w 508"/>
              <a:gd name="T1" fmla="*/ 2147483647 h 243"/>
              <a:gd name="T2" fmla="*/ 2147483647 w 508"/>
              <a:gd name="T3" fmla="*/ 2147483647 h 243"/>
              <a:gd name="T4" fmla="*/ 2147483647 w 508"/>
              <a:gd name="T5" fmla="*/ 2147483647 h 243"/>
              <a:gd name="T6" fmla="*/ 2147483647 w 508"/>
              <a:gd name="T7" fmla="*/ 2147483647 h 243"/>
              <a:gd name="T8" fmla="*/ 2147483647 w 508"/>
              <a:gd name="T9" fmla="*/ 2147483647 h 243"/>
              <a:gd name="T10" fmla="*/ 2147483647 w 508"/>
              <a:gd name="T11" fmla="*/ 2147483647 h 243"/>
              <a:gd name="T12" fmla="*/ 2147483647 w 508"/>
              <a:gd name="T13" fmla="*/ 0 h 243"/>
              <a:gd name="T14" fmla="*/ 2147483647 w 508"/>
              <a:gd name="T15" fmla="*/ 2147483647 h 243"/>
              <a:gd name="T16" fmla="*/ 2147483647 w 508"/>
              <a:gd name="T17" fmla="*/ 2147483647 h 243"/>
              <a:gd name="T18" fmla="*/ 2147483647 w 508"/>
              <a:gd name="T19" fmla="*/ 2147483647 h 243"/>
              <a:gd name="T20" fmla="*/ 2147483647 w 508"/>
              <a:gd name="T21" fmla="*/ 2147483647 h 243"/>
              <a:gd name="T22" fmla="*/ 2147483647 w 508"/>
              <a:gd name="T23" fmla="*/ 2147483647 h 243"/>
              <a:gd name="T24" fmla="*/ 2147483647 w 508"/>
              <a:gd name="T25" fmla="*/ 2147483647 h 243"/>
              <a:gd name="T26" fmla="*/ 2147483647 w 508"/>
              <a:gd name="T27" fmla="*/ 2147483647 h 243"/>
              <a:gd name="T28" fmla="*/ 2147483647 w 508"/>
              <a:gd name="T29" fmla="*/ 2147483647 h 243"/>
              <a:gd name="T30" fmla="*/ 2147483647 w 508"/>
              <a:gd name="T31" fmla="*/ 2147483647 h 243"/>
              <a:gd name="T32" fmla="*/ 2147483647 w 508"/>
              <a:gd name="T33" fmla="*/ 2147483647 h 243"/>
              <a:gd name="T34" fmla="*/ 2147483647 w 508"/>
              <a:gd name="T35" fmla="*/ 2147483647 h 243"/>
              <a:gd name="T36" fmla="*/ 2147483647 w 508"/>
              <a:gd name="T37" fmla="*/ 2147483647 h 243"/>
              <a:gd name="T38" fmla="*/ 2147483647 w 508"/>
              <a:gd name="T39" fmla="*/ 2147483647 h 243"/>
              <a:gd name="T40" fmla="*/ 2147483647 w 508"/>
              <a:gd name="T41" fmla="*/ 2147483647 h 243"/>
              <a:gd name="T42" fmla="*/ 2147483647 w 508"/>
              <a:gd name="T43" fmla="*/ 2147483647 h 243"/>
              <a:gd name="T44" fmla="*/ 2147483647 w 508"/>
              <a:gd name="T45" fmla="*/ 2147483647 h 243"/>
              <a:gd name="T46" fmla="*/ 2147483647 w 508"/>
              <a:gd name="T47" fmla="*/ 2147483647 h 243"/>
              <a:gd name="T48" fmla="*/ 2147483647 w 508"/>
              <a:gd name="T49" fmla="*/ 2147483647 h 243"/>
              <a:gd name="T50" fmla="*/ 2147483647 w 508"/>
              <a:gd name="T51" fmla="*/ 2147483647 h 243"/>
              <a:gd name="T52" fmla="*/ 2147483647 w 508"/>
              <a:gd name="T53" fmla="*/ 2147483647 h 243"/>
              <a:gd name="T54" fmla="*/ 2147483647 w 508"/>
              <a:gd name="T55" fmla="*/ 2147483647 h 243"/>
              <a:gd name="T56" fmla="*/ 2147483647 w 508"/>
              <a:gd name="T57" fmla="*/ 2147483647 h 243"/>
              <a:gd name="T58" fmla="*/ 2147483647 w 508"/>
              <a:gd name="T59" fmla="*/ 2147483647 h 243"/>
              <a:gd name="T60" fmla="*/ 2147483647 w 508"/>
              <a:gd name="T61" fmla="*/ 2147483647 h 243"/>
              <a:gd name="T62" fmla="*/ 2147483647 w 508"/>
              <a:gd name="T63" fmla="*/ 2147483647 h 243"/>
              <a:gd name="T64" fmla="*/ 2147483647 w 508"/>
              <a:gd name="T65" fmla="*/ 2147483647 h 243"/>
              <a:gd name="T66" fmla="*/ 2147483647 w 508"/>
              <a:gd name="T67" fmla="*/ 2147483647 h 243"/>
              <a:gd name="T68" fmla="*/ 2147483647 w 508"/>
              <a:gd name="T69" fmla="*/ 2147483647 h 243"/>
              <a:gd name="T70" fmla="*/ 2147483647 w 508"/>
              <a:gd name="T71" fmla="*/ 2147483647 h 243"/>
              <a:gd name="T72" fmla="*/ 2147483647 w 508"/>
              <a:gd name="T73" fmla="*/ 2147483647 h 243"/>
              <a:gd name="T74" fmla="*/ 0 w 508"/>
              <a:gd name="T75" fmla="*/ 2147483647 h 243"/>
              <a:gd name="T76" fmla="*/ 0 w 508"/>
              <a:gd name="T77" fmla="*/ 2147483647 h 243"/>
              <a:gd name="T78" fmla="*/ 2147483647 w 508"/>
              <a:gd name="T79" fmla="*/ 2147483647 h 243"/>
              <a:gd name="T80" fmla="*/ 2147483647 w 508"/>
              <a:gd name="T81" fmla="*/ 2147483647 h 243"/>
              <a:gd name="T82" fmla="*/ 2147483647 w 508"/>
              <a:gd name="T83" fmla="*/ 2147483647 h 243"/>
              <a:gd name="T84" fmla="*/ 2147483647 w 508"/>
              <a:gd name="T85" fmla="*/ 2147483647 h 243"/>
              <a:gd name="T86" fmla="*/ 2147483647 w 508"/>
              <a:gd name="T87" fmla="*/ 2147483647 h 243"/>
              <a:gd name="T88" fmla="*/ 2147483647 w 508"/>
              <a:gd name="T89" fmla="*/ 2147483647 h 243"/>
              <a:gd name="T90" fmla="*/ 2147483647 w 508"/>
              <a:gd name="T91" fmla="*/ 2147483647 h 243"/>
              <a:gd name="T92" fmla="*/ 2147483647 w 508"/>
              <a:gd name="T93" fmla="*/ 2147483647 h 243"/>
              <a:gd name="T94" fmla="*/ 2147483647 w 508"/>
              <a:gd name="T95" fmla="*/ 2147483647 h 243"/>
              <a:gd name="T96" fmla="*/ 2147483647 w 508"/>
              <a:gd name="T97" fmla="*/ 2147483647 h 243"/>
              <a:gd name="T98" fmla="*/ 2147483647 w 508"/>
              <a:gd name="T99" fmla="*/ 2147483647 h 243"/>
              <a:gd name="T100" fmla="*/ 2147483647 w 508"/>
              <a:gd name="T101" fmla="*/ 2147483647 h 243"/>
              <a:gd name="T102" fmla="*/ 2147483647 w 508"/>
              <a:gd name="T103" fmla="*/ 2147483647 h 243"/>
              <a:gd name="T104" fmla="*/ 2147483647 w 508"/>
              <a:gd name="T105" fmla="*/ 2147483647 h 243"/>
              <a:gd name="T106" fmla="*/ 2147483647 w 508"/>
              <a:gd name="T107" fmla="*/ 2147483647 h 243"/>
              <a:gd name="T108" fmla="*/ 2147483647 w 508"/>
              <a:gd name="T109" fmla="*/ 2147483647 h 243"/>
              <a:gd name="T110" fmla="*/ 2147483647 w 508"/>
              <a:gd name="T111" fmla="*/ 2147483647 h 243"/>
              <a:gd name="T112" fmla="*/ 2147483647 w 508"/>
              <a:gd name="T113" fmla="*/ 2147483647 h 243"/>
              <a:gd name="T114" fmla="*/ 2147483647 w 508"/>
              <a:gd name="T115" fmla="*/ 2147483647 h 243"/>
              <a:gd name="T116" fmla="*/ 2147483647 w 508"/>
              <a:gd name="T117" fmla="*/ 2147483647 h 243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508"/>
              <a:gd name="T178" fmla="*/ 0 h 243"/>
              <a:gd name="T179" fmla="*/ 508 w 508"/>
              <a:gd name="T180" fmla="*/ 243 h 243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508" h="243">
                <a:moveTo>
                  <a:pt x="75" y="54"/>
                </a:moveTo>
                <a:lnTo>
                  <a:pt x="81" y="31"/>
                </a:lnTo>
                <a:lnTo>
                  <a:pt x="101" y="25"/>
                </a:lnTo>
                <a:lnTo>
                  <a:pt x="143" y="31"/>
                </a:lnTo>
                <a:lnTo>
                  <a:pt x="186" y="48"/>
                </a:lnTo>
                <a:lnTo>
                  <a:pt x="195" y="15"/>
                </a:lnTo>
                <a:lnTo>
                  <a:pt x="225" y="0"/>
                </a:lnTo>
                <a:lnTo>
                  <a:pt x="248" y="15"/>
                </a:lnTo>
                <a:lnTo>
                  <a:pt x="279" y="20"/>
                </a:lnTo>
                <a:lnTo>
                  <a:pt x="361" y="15"/>
                </a:lnTo>
                <a:lnTo>
                  <a:pt x="459" y="29"/>
                </a:lnTo>
                <a:lnTo>
                  <a:pt x="472" y="46"/>
                </a:lnTo>
                <a:lnTo>
                  <a:pt x="508" y="57"/>
                </a:lnTo>
                <a:lnTo>
                  <a:pt x="505" y="79"/>
                </a:lnTo>
                <a:lnTo>
                  <a:pt x="434" y="113"/>
                </a:lnTo>
                <a:lnTo>
                  <a:pt x="415" y="136"/>
                </a:lnTo>
                <a:lnTo>
                  <a:pt x="352" y="149"/>
                </a:lnTo>
                <a:lnTo>
                  <a:pt x="339" y="175"/>
                </a:lnTo>
                <a:lnTo>
                  <a:pt x="328" y="181"/>
                </a:lnTo>
                <a:lnTo>
                  <a:pt x="296" y="183"/>
                </a:lnTo>
                <a:lnTo>
                  <a:pt x="291" y="173"/>
                </a:lnTo>
                <a:lnTo>
                  <a:pt x="283" y="171"/>
                </a:lnTo>
                <a:lnTo>
                  <a:pt x="260" y="173"/>
                </a:lnTo>
                <a:lnTo>
                  <a:pt x="256" y="184"/>
                </a:lnTo>
                <a:lnTo>
                  <a:pt x="220" y="201"/>
                </a:lnTo>
                <a:lnTo>
                  <a:pt x="212" y="217"/>
                </a:lnTo>
                <a:lnTo>
                  <a:pt x="212" y="226"/>
                </a:lnTo>
                <a:lnTo>
                  <a:pt x="195" y="221"/>
                </a:lnTo>
                <a:lnTo>
                  <a:pt x="194" y="235"/>
                </a:lnTo>
                <a:lnTo>
                  <a:pt x="163" y="234"/>
                </a:lnTo>
                <a:lnTo>
                  <a:pt x="137" y="243"/>
                </a:lnTo>
                <a:lnTo>
                  <a:pt x="117" y="240"/>
                </a:lnTo>
                <a:lnTo>
                  <a:pt x="113" y="227"/>
                </a:lnTo>
                <a:lnTo>
                  <a:pt x="100" y="223"/>
                </a:lnTo>
                <a:lnTo>
                  <a:pt x="75" y="230"/>
                </a:lnTo>
                <a:lnTo>
                  <a:pt x="58" y="221"/>
                </a:lnTo>
                <a:lnTo>
                  <a:pt x="3" y="226"/>
                </a:lnTo>
                <a:lnTo>
                  <a:pt x="0" y="218"/>
                </a:lnTo>
                <a:lnTo>
                  <a:pt x="0" y="200"/>
                </a:lnTo>
                <a:lnTo>
                  <a:pt x="19" y="192"/>
                </a:lnTo>
                <a:lnTo>
                  <a:pt x="39" y="192"/>
                </a:lnTo>
                <a:lnTo>
                  <a:pt x="58" y="198"/>
                </a:lnTo>
                <a:lnTo>
                  <a:pt x="78" y="181"/>
                </a:lnTo>
                <a:lnTo>
                  <a:pt x="120" y="183"/>
                </a:lnTo>
                <a:lnTo>
                  <a:pt x="134" y="169"/>
                </a:lnTo>
                <a:lnTo>
                  <a:pt x="152" y="166"/>
                </a:lnTo>
                <a:lnTo>
                  <a:pt x="178" y="147"/>
                </a:lnTo>
                <a:lnTo>
                  <a:pt x="135" y="133"/>
                </a:lnTo>
                <a:lnTo>
                  <a:pt x="118" y="122"/>
                </a:lnTo>
                <a:lnTo>
                  <a:pt x="118" y="115"/>
                </a:lnTo>
                <a:lnTo>
                  <a:pt x="109" y="107"/>
                </a:lnTo>
                <a:lnTo>
                  <a:pt x="96" y="128"/>
                </a:lnTo>
                <a:lnTo>
                  <a:pt x="71" y="122"/>
                </a:lnTo>
                <a:lnTo>
                  <a:pt x="64" y="110"/>
                </a:lnTo>
                <a:lnTo>
                  <a:pt x="45" y="107"/>
                </a:lnTo>
                <a:lnTo>
                  <a:pt x="45" y="100"/>
                </a:lnTo>
                <a:lnTo>
                  <a:pt x="90" y="66"/>
                </a:lnTo>
                <a:lnTo>
                  <a:pt x="88" y="59"/>
                </a:lnTo>
                <a:lnTo>
                  <a:pt x="75" y="54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02" name="Freeform 91"/>
          <p:cNvSpPr>
            <a:spLocks noChangeAspect="1"/>
          </p:cNvSpPr>
          <p:nvPr/>
        </p:nvSpPr>
        <p:spPr bwMode="gray">
          <a:xfrm>
            <a:off x="5584825" y="2770188"/>
            <a:ext cx="317500" cy="219075"/>
          </a:xfrm>
          <a:custGeom>
            <a:avLst/>
            <a:gdLst>
              <a:gd name="T0" fmla="*/ 2147483647 w 654"/>
              <a:gd name="T1" fmla="*/ 2147483647 h 452"/>
              <a:gd name="T2" fmla="*/ 2147483647 w 654"/>
              <a:gd name="T3" fmla="*/ 2147483647 h 452"/>
              <a:gd name="T4" fmla="*/ 2147483647 w 654"/>
              <a:gd name="T5" fmla="*/ 2147483647 h 452"/>
              <a:gd name="T6" fmla="*/ 2147483647 w 654"/>
              <a:gd name="T7" fmla="*/ 2147483647 h 452"/>
              <a:gd name="T8" fmla="*/ 2147483647 w 654"/>
              <a:gd name="T9" fmla="*/ 2147483647 h 452"/>
              <a:gd name="T10" fmla="*/ 2147483647 w 654"/>
              <a:gd name="T11" fmla="*/ 2147483647 h 452"/>
              <a:gd name="T12" fmla="*/ 2147483647 w 654"/>
              <a:gd name="T13" fmla="*/ 2147483647 h 452"/>
              <a:gd name="T14" fmla="*/ 2147483647 w 654"/>
              <a:gd name="T15" fmla="*/ 2147483647 h 452"/>
              <a:gd name="T16" fmla="*/ 2147483647 w 654"/>
              <a:gd name="T17" fmla="*/ 2147483647 h 452"/>
              <a:gd name="T18" fmla="*/ 2147483647 w 654"/>
              <a:gd name="T19" fmla="*/ 2147483647 h 452"/>
              <a:gd name="T20" fmla="*/ 2147483647 w 654"/>
              <a:gd name="T21" fmla="*/ 2147483647 h 452"/>
              <a:gd name="T22" fmla="*/ 2147483647 w 654"/>
              <a:gd name="T23" fmla="*/ 2147483647 h 452"/>
              <a:gd name="T24" fmla="*/ 2147483647 w 654"/>
              <a:gd name="T25" fmla="*/ 2147483647 h 452"/>
              <a:gd name="T26" fmla="*/ 2147483647 w 654"/>
              <a:gd name="T27" fmla="*/ 2147483647 h 452"/>
              <a:gd name="T28" fmla="*/ 2147483647 w 654"/>
              <a:gd name="T29" fmla="*/ 2147483647 h 452"/>
              <a:gd name="T30" fmla="*/ 2147483647 w 654"/>
              <a:gd name="T31" fmla="*/ 2147483647 h 452"/>
              <a:gd name="T32" fmla="*/ 2147483647 w 654"/>
              <a:gd name="T33" fmla="*/ 2147483647 h 452"/>
              <a:gd name="T34" fmla="*/ 2147483647 w 654"/>
              <a:gd name="T35" fmla="*/ 2147483647 h 452"/>
              <a:gd name="T36" fmla="*/ 2147483647 w 654"/>
              <a:gd name="T37" fmla="*/ 2147483647 h 452"/>
              <a:gd name="T38" fmla="*/ 2147483647 w 654"/>
              <a:gd name="T39" fmla="*/ 2147483647 h 452"/>
              <a:gd name="T40" fmla="*/ 2147483647 w 654"/>
              <a:gd name="T41" fmla="*/ 2147483647 h 452"/>
              <a:gd name="T42" fmla="*/ 2147483647 w 654"/>
              <a:gd name="T43" fmla="*/ 2147483647 h 452"/>
              <a:gd name="T44" fmla="*/ 2147483647 w 654"/>
              <a:gd name="T45" fmla="*/ 2147483647 h 452"/>
              <a:gd name="T46" fmla="*/ 2147483647 w 654"/>
              <a:gd name="T47" fmla="*/ 2147483647 h 452"/>
              <a:gd name="T48" fmla="*/ 2147483647 w 654"/>
              <a:gd name="T49" fmla="*/ 2147483647 h 452"/>
              <a:gd name="T50" fmla="*/ 2147483647 w 654"/>
              <a:gd name="T51" fmla="*/ 2147483647 h 452"/>
              <a:gd name="T52" fmla="*/ 2147483647 w 654"/>
              <a:gd name="T53" fmla="*/ 2147483647 h 452"/>
              <a:gd name="T54" fmla="*/ 2147483647 w 654"/>
              <a:gd name="T55" fmla="*/ 2147483647 h 452"/>
              <a:gd name="T56" fmla="*/ 2147483647 w 654"/>
              <a:gd name="T57" fmla="*/ 2147483647 h 452"/>
              <a:gd name="T58" fmla="*/ 2147483647 w 654"/>
              <a:gd name="T59" fmla="*/ 2147483647 h 452"/>
              <a:gd name="T60" fmla="*/ 2147483647 w 654"/>
              <a:gd name="T61" fmla="*/ 2147483647 h 452"/>
              <a:gd name="T62" fmla="*/ 2147483647 w 654"/>
              <a:gd name="T63" fmla="*/ 2147483647 h 452"/>
              <a:gd name="T64" fmla="*/ 2147483647 w 654"/>
              <a:gd name="T65" fmla="*/ 2147483647 h 452"/>
              <a:gd name="T66" fmla="*/ 2147483647 w 654"/>
              <a:gd name="T67" fmla="*/ 2147483647 h 452"/>
              <a:gd name="T68" fmla="*/ 2147483647 w 654"/>
              <a:gd name="T69" fmla="*/ 2147483647 h 452"/>
              <a:gd name="T70" fmla="*/ 2147483647 w 654"/>
              <a:gd name="T71" fmla="*/ 2147483647 h 452"/>
              <a:gd name="T72" fmla="*/ 2147483647 w 654"/>
              <a:gd name="T73" fmla="*/ 2147483647 h 452"/>
              <a:gd name="T74" fmla="*/ 2147483647 w 654"/>
              <a:gd name="T75" fmla="*/ 2147483647 h 452"/>
              <a:gd name="T76" fmla="*/ 2147483647 w 654"/>
              <a:gd name="T77" fmla="*/ 2147483647 h 452"/>
              <a:gd name="T78" fmla="*/ 2147483647 w 654"/>
              <a:gd name="T79" fmla="*/ 2147483647 h 452"/>
              <a:gd name="T80" fmla="*/ 2147483647 w 654"/>
              <a:gd name="T81" fmla="*/ 2147483647 h 452"/>
              <a:gd name="T82" fmla="*/ 2147483647 w 654"/>
              <a:gd name="T83" fmla="*/ 2147483647 h 452"/>
              <a:gd name="T84" fmla="*/ 2147483647 w 654"/>
              <a:gd name="T85" fmla="*/ 2147483647 h 452"/>
              <a:gd name="T86" fmla="*/ 2147483647 w 654"/>
              <a:gd name="T87" fmla="*/ 2147483647 h 452"/>
              <a:gd name="T88" fmla="*/ 2147483647 w 654"/>
              <a:gd name="T89" fmla="*/ 2147483647 h 452"/>
              <a:gd name="T90" fmla="*/ 2147483647 w 654"/>
              <a:gd name="T91" fmla="*/ 2147483647 h 452"/>
              <a:gd name="T92" fmla="*/ 2147483647 w 654"/>
              <a:gd name="T93" fmla="*/ 2147483647 h 452"/>
              <a:gd name="T94" fmla="*/ 2147483647 w 654"/>
              <a:gd name="T95" fmla="*/ 2147483647 h 452"/>
              <a:gd name="T96" fmla="*/ 2147483647 w 654"/>
              <a:gd name="T97" fmla="*/ 2147483647 h 452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654"/>
              <a:gd name="T148" fmla="*/ 0 h 452"/>
              <a:gd name="T149" fmla="*/ 654 w 654"/>
              <a:gd name="T150" fmla="*/ 452 h 452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654" h="452">
                <a:moveTo>
                  <a:pt x="68" y="321"/>
                </a:moveTo>
                <a:lnTo>
                  <a:pt x="95" y="318"/>
                </a:lnTo>
                <a:lnTo>
                  <a:pt x="136" y="284"/>
                </a:lnTo>
                <a:lnTo>
                  <a:pt x="176" y="284"/>
                </a:lnTo>
                <a:lnTo>
                  <a:pt x="183" y="273"/>
                </a:lnTo>
                <a:lnTo>
                  <a:pt x="213" y="273"/>
                </a:lnTo>
                <a:lnTo>
                  <a:pt x="232" y="291"/>
                </a:lnTo>
                <a:lnTo>
                  <a:pt x="276" y="310"/>
                </a:lnTo>
                <a:lnTo>
                  <a:pt x="315" y="315"/>
                </a:lnTo>
                <a:lnTo>
                  <a:pt x="326" y="337"/>
                </a:lnTo>
                <a:lnTo>
                  <a:pt x="380" y="371"/>
                </a:lnTo>
                <a:lnTo>
                  <a:pt x="402" y="371"/>
                </a:lnTo>
                <a:lnTo>
                  <a:pt x="408" y="417"/>
                </a:lnTo>
                <a:lnTo>
                  <a:pt x="406" y="428"/>
                </a:lnTo>
                <a:lnTo>
                  <a:pt x="419" y="439"/>
                </a:lnTo>
                <a:lnTo>
                  <a:pt x="439" y="439"/>
                </a:lnTo>
                <a:lnTo>
                  <a:pt x="454" y="452"/>
                </a:lnTo>
                <a:lnTo>
                  <a:pt x="476" y="451"/>
                </a:lnTo>
                <a:lnTo>
                  <a:pt x="491" y="440"/>
                </a:lnTo>
                <a:lnTo>
                  <a:pt x="499" y="425"/>
                </a:lnTo>
                <a:lnTo>
                  <a:pt x="494" y="415"/>
                </a:lnTo>
                <a:lnTo>
                  <a:pt x="522" y="411"/>
                </a:lnTo>
                <a:lnTo>
                  <a:pt x="559" y="389"/>
                </a:lnTo>
                <a:lnTo>
                  <a:pt x="567" y="347"/>
                </a:lnTo>
                <a:lnTo>
                  <a:pt x="576" y="335"/>
                </a:lnTo>
                <a:lnTo>
                  <a:pt x="603" y="335"/>
                </a:lnTo>
                <a:lnTo>
                  <a:pt x="606" y="324"/>
                </a:lnTo>
                <a:lnTo>
                  <a:pt x="613" y="320"/>
                </a:lnTo>
                <a:lnTo>
                  <a:pt x="637" y="330"/>
                </a:lnTo>
                <a:lnTo>
                  <a:pt x="647" y="329"/>
                </a:lnTo>
                <a:lnTo>
                  <a:pt x="647" y="303"/>
                </a:lnTo>
                <a:lnTo>
                  <a:pt x="654" y="291"/>
                </a:lnTo>
                <a:lnTo>
                  <a:pt x="649" y="286"/>
                </a:lnTo>
                <a:lnTo>
                  <a:pt x="620" y="271"/>
                </a:lnTo>
                <a:lnTo>
                  <a:pt x="600" y="274"/>
                </a:lnTo>
                <a:lnTo>
                  <a:pt x="561" y="237"/>
                </a:lnTo>
                <a:lnTo>
                  <a:pt x="533" y="228"/>
                </a:lnTo>
                <a:lnTo>
                  <a:pt x="510" y="205"/>
                </a:lnTo>
                <a:lnTo>
                  <a:pt x="469" y="182"/>
                </a:lnTo>
                <a:lnTo>
                  <a:pt x="459" y="163"/>
                </a:lnTo>
                <a:lnTo>
                  <a:pt x="456" y="142"/>
                </a:lnTo>
                <a:lnTo>
                  <a:pt x="442" y="127"/>
                </a:lnTo>
                <a:lnTo>
                  <a:pt x="436" y="101"/>
                </a:lnTo>
                <a:lnTo>
                  <a:pt x="420" y="90"/>
                </a:lnTo>
                <a:lnTo>
                  <a:pt x="406" y="101"/>
                </a:lnTo>
                <a:lnTo>
                  <a:pt x="352" y="88"/>
                </a:lnTo>
                <a:lnTo>
                  <a:pt x="349" y="83"/>
                </a:lnTo>
                <a:lnTo>
                  <a:pt x="351" y="63"/>
                </a:lnTo>
                <a:lnTo>
                  <a:pt x="355" y="61"/>
                </a:lnTo>
                <a:lnTo>
                  <a:pt x="346" y="52"/>
                </a:lnTo>
                <a:lnTo>
                  <a:pt x="344" y="33"/>
                </a:lnTo>
                <a:lnTo>
                  <a:pt x="315" y="29"/>
                </a:lnTo>
                <a:lnTo>
                  <a:pt x="283" y="0"/>
                </a:lnTo>
                <a:lnTo>
                  <a:pt x="276" y="8"/>
                </a:lnTo>
                <a:lnTo>
                  <a:pt x="262" y="12"/>
                </a:lnTo>
                <a:lnTo>
                  <a:pt x="275" y="29"/>
                </a:lnTo>
                <a:lnTo>
                  <a:pt x="258" y="19"/>
                </a:lnTo>
                <a:lnTo>
                  <a:pt x="250" y="22"/>
                </a:lnTo>
                <a:lnTo>
                  <a:pt x="249" y="33"/>
                </a:lnTo>
                <a:lnTo>
                  <a:pt x="222" y="39"/>
                </a:lnTo>
                <a:lnTo>
                  <a:pt x="208" y="55"/>
                </a:lnTo>
                <a:lnTo>
                  <a:pt x="205" y="59"/>
                </a:lnTo>
                <a:lnTo>
                  <a:pt x="213" y="92"/>
                </a:lnTo>
                <a:lnTo>
                  <a:pt x="207" y="97"/>
                </a:lnTo>
                <a:lnTo>
                  <a:pt x="163" y="90"/>
                </a:lnTo>
                <a:lnTo>
                  <a:pt x="151" y="93"/>
                </a:lnTo>
                <a:lnTo>
                  <a:pt x="128" y="88"/>
                </a:lnTo>
                <a:lnTo>
                  <a:pt x="102" y="39"/>
                </a:lnTo>
                <a:lnTo>
                  <a:pt x="78" y="25"/>
                </a:lnTo>
                <a:lnTo>
                  <a:pt x="26" y="39"/>
                </a:lnTo>
                <a:lnTo>
                  <a:pt x="0" y="61"/>
                </a:lnTo>
                <a:lnTo>
                  <a:pt x="4" y="78"/>
                </a:lnTo>
                <a:lnTo>
                  <a:pt x="17" y="101"/>
                </a:lnTo>
                <a:lnTo>
                  <a:pt x="13" y="69"/>
                </a:lnTo>
                <a:lnTo>
                  <a:pt x="21" y="61"/>
                </a:lnTo>
                <a:lnTo>
                  <a:pt x="49" y="49"/>
                </a:lnTo>
                <a:lnTo>
                  <a:pt x="61" y="50"/>
                </a:lnTo>
                <a:lnTo>
                  <a:pt x="75" y="78"/>
                </a:lnTo>
                <a:lnTo>
                  <a:pt x="106" y="106"/>
                </a:lnTo>
                <a:lnTo>
                  <a:pt x="95" y="122"/>
                </a:lnTo>
                <a:lnTo>
                  <a:pt x="83" y="126"/>
                </a:lnTo>
                <a:lnTo>
                  <a:pt x="92" y="132"/>
                </a:lnTo>
                <a:lnTo>
                  <a:pt x="85" y="135"/>
                </a:lnTo>
                <a:lnTo>
                  <a:pt x="29" y="127"/>
                </a:lnTo>
                <a:lnTo>
                  <a:pt x="19" y="109"/>
                </a:lnTo>
                <a:lnTo>
                  <a:pt x="21" y="132"/>
                </a:lnTo>
                <a:lnTo>
                  <a:pt x="13" y="154"/>
                </a:lnTo>
                <a:lnTo>
                  <a:pt x="19" y="180"/>
                </a:lnTo>
                <a:lnTo>
                  <a:pt x="44" y="169"/>
                </a:lnTo>
                <a:lnTo>
                  <a:pt x="61" y="174"/>
                </a:lnTo>
                <a:lnTo>
                  <a:pt x="66" y="185"/>
                </a:lnTo>
                <a:lnTo>
                  <a:pt x="52" y="176"/>
                </a:lnTo>
                <a:lnTo>
                  <a:pt x="44" y="185"/>
                </a:lnTo>
                <a:lnTo>
                  <a:pt x="66" y="196"/>
                </a:lnTo>
                <a:lnTo>
                  <a:pt x="43" y="211"/>
                </a:lnTo>
                <a:lnTo>
                  <a:pt x="73" y="232"/>
                </a:lnTo>
                <a:lnTo>
                  <a:pt x="63" y="262"/>
                </a:lnTo>
                <a:lnTo>
                  <a:pt x="68" y="321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03" name="Freeform 92"/>
          <p:cNvSpPr>
            <a:spLocks noChangeAspect="1"/>
          </p:cNvSpPr>
          <p:nvPr/>
        </p:nvSpPr>
        <p:spPr bwMode="gray">
          <a:xfrm>
            <a:off x="5378450" y="2814638"/>
            <a:ext cx="71438" cy="71437"/>
          </a:xfrm>
          <a:custGeom>
            <a:avLst/>
            <a:gdLst>
              <a:gd name="T0" fmla="*/ 2147483647 w 144"/>
              <a:gd name="T1" fmla="*/ 2147483647 h 149"/>
              <a:gd name="T2" fmla="*/ 2147483647 w 144"/>
              <a:gd name="T3" fmla="*/ 2147483647 h 149"/>
              <a:gd name="T4" fmla="*/ 2147483647 w 144"/>
              <a:gd name="T5" fmla="*/ 2147483647 h 149"/>
              <a:gd name="T6" fmla="*/ 2147483647 w 144"/>
              <a:gd name="T7" fmla="*/ 2147483647 h 149"/>
              <a:gd name="T8" fmla="*/ 2147483647 w 144"/>
              <a:gd name="T9" fmla="*/ 2147483647 h 149"/>
              <a:gd name="T10" fmla="*/ 2147483647 w 144"/>
              <a:gd name="T11" fmla="*/ 2147483647 h 149"/>
              <a:gd name="T12" fmla="*/ 2147483647 w 144"/>
              <a:gd name="T13" fmla="*/ 2147483647 h 149"/>
              <a:gd name="T14" fmla="*/ 2147483647 w 144"/>
              <a:gd name="T15" fmla="*/ 2147483647 h 149"/>
              <a:gd name="T16" fmla="*/ 2147483647 w 144"/>
              <a:gd name="T17" fmla="*/ 2147483647 h 149"/>
              <a:gd name="T18" fmla="*/ 2147483647 w 144"/>
              <a:gd name="T19" fmla="*/ 2147483647 h 149"/>
              <a:gd name="T20" fmla="*/ 2147483647 w 144"/>
              <a:gd name="T21" fmla="*/ 2147483647 h 149"/>
              <a:gd name="T22" fmla="*/ 2147483647 w 144"/>
              <a:gd name="T23" fmla="*/ 2147483647 h 149"/>
              <a:gd name="T24" fmla="*/ 2147483647 w 144"/>
              <a:gd name="T25" fmla="*/ 2147483647 h 149"/>
              <a:gd name="T26" fmla="*/ 2147483647 w 144"/>
              <a:gd name="T27" fmla="*/ 2147483647 h 149"/>
              <a:gd name="T28" fmla="*/ 2147483647 w 144"/>
              <a:gd name="T29" fmla="*/ 2147483647 h 149"/>
              <a:gd name="T30" fmla="*/ 2147483647 w 144"/>
              <a:gd name="T31" fmla="*/ 2147483647 h 149"/>
              <a:gd name="T32" fmla="*/ 2147483647 w 144"/>
              <a:gd name="T33" fmla="*/ 2147483647 h 149"/>
              <a:gd name="T34" fmla="*/ 2147483647 w 144"/>
              <a:gd name="T35" fmla="*/ 2147483647 h 149"/>
              <a:gd name="T36" fmla="*/ 2147483647 w 144"/>
              <a:gd name="T37" fmla="*/ 2147483647 h 149"/>
              <a:gd name="T38" fmla="*/ 2147483647 w 144"/>
              <a:gd name="T39" fmla="*/ 2147483647 h 149"/>
              <a:gd name="T40" fmla="*/ 2147483647 w 144"/>
              <a:gd name="T41" fmla="*/ 2147483647 h 149"/>
              <a:gd name="T42" fmla="*/ 2147483647 w 144"/>
              <a:gd name="T43" fmla="*/ 0 h 149"/>
              <a:gd name="T44" fmla="*/ 0 w 144"/>
              <a:gd name="T45" fmla="*/ 2147483647 h 149"/>
              <a:gd name="T46" fmla="*/ 2147483647 w 144"/>
              <a:gd name="T47" fmla="*/ 2147483647 h 149"/>
              <a:gd name="T48" fmla="*/ 2147483647 w 144"/>
              <a:gd name="T49" fmla="*/ 2147483647 h 149"/>
              <a:gd name="T50" fmla="*/ 2147483647 w 144"/>
              <a:gd name="T51" fmla="*/ 2147483647 h 149"/>
              <a:gd name="T52" fmla="*/ 2147483647 w 144"/>
              <a:gd name="T53" fmla="*/ 2147483647 h 149"/>
              <a:gd name="T54" fmla="*/ 2147483647 w 144"/>
              <a:gd name="T55" fmla="*/ 2147483647 h 149"/>
              <a:gd name="T56" fmla="*/ 2147483647 w 144"/>
              <a:gd name="T57" fmla="*/ 2147483647 h 14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144"/>
              <a:gd name="T88" fmla="*/ 0 h 149"/>
              <a:gd name="T89" fmla="*/ 144 w 144"/>
              <a:gd name="T90" fmla="*/ 149 h 149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144" h="149">
                <a:moveTo>
                  <a:pt x="65" y="99"/>
                </a:moveTo>
                <a:lnTo>
                  <a:pt x="73" y="96"/>
                </a:lnTo>
                <a:lnTo>
                  <a:pt x="90" y="107"/>
                </a:lnTo>
                <a:lnTo>
                  <a:pt x="108" y="107"/>
                </a:lnTo>
                <a:lnTo>
                  <a:pt x="119" y="125"/>
                </a:lnTo>
                <a:lnTo>
                  <a:pt x="121" y="145"/>
                </a:lnTo>
                <a:lnTo>
                  <a:pt x="125" y="149"/>
                </a:lnTo>
                <a:lnTo>
                  <a:pt x="144" y="145"/>
                </a:lnTo>
                <a:lnTo>
                  <a:pt x="136" y="128"/>
                </a:lnTo>
                <a:lnTo>
                  <a:pt x="142" y="127"/>
                </a:lnTo>
                <a:lnTo>
                  <a:pt x="142" y="119"/>
                </a:lnTo>
                <a:lnTo>
                  <a:pt x="138" y="116"/>
                </a:lnTo>
                <a:lnTo>
                  <a:pt x="142" y="102"/>
                </a:lnTo>
                <a:lnTo>
                  <a:pt x="129" y="101"/>
                </a:lnTo>
                <a:lnTo>
                  <a:pt x="108" y="84"/>
                </a:lnTo>
                <a:lnTo>
                  <a:pt x="107" y="77"/>
                </a:lnTo>
                <a:lnTo>
                  <a:pt x="113" y="76"/>
                </a:lnTo>
                <a:lnTo>
                  <a:pt x="115" y="64"/>
                </a:lnTo>
                <a:lnTo>
                  <a:pt x="95" y="45"/>
                </a:lnTo>
                <a:lnTo>
                  <a:pt x="95" y="20"/>
                </a:lnTo>
                <a:lnTo>
                  <a:pt x="83" y="17"/>
                </a:lnTo>
                <a:lnTo>
                  <a:pt x="73" y="0"/>
                </a:lnTo>
                <a:lnTo>
                  <a:pt x="0" y="11"/>
                </a:lnTo>
                <a:lnTo>
                  <a:pt x="8" y="18"/>
                </a:lnTo>
                <a:lnTo>
                  <a:pt x="14" y="30"/>
                </a:lnTo>
                <a:lnTo>
                  <a:pt x="19" y="59"/>
                </a:lnTo>
                <a:lnTo>
                  <a:pt x="24" y="67"/>
                </a:lnTo>
                <a:lnTo>
                  <a:pt x="59" y="91"/>
                </a:lnTo>
                <a:lnTo>
                  <a:pt x="65" y="99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04" name="Freeform 93"/>
          <p:cNvSpPr>
            <a:spLocks noChangeAspect="1"/>
          </p:cNvSpPr>
          <p:nvPr/>
        </p:nvSpPr>
        <p:spPr bwMode="gray">
          <a:xfrm>
            <a:off x="5410200" y="2860675"/>
            <a:ext cx="28575" cy="23813"/>
          </a:xfrm>
          <a:custGeom>
            <a:avLst/>
            <a:gdLst>
              <a:gd name="T0" fmla="*/ 0 w 56"/>
              <a:gd name="T1" fmla="*/ 2147483647 h 49"/>
              <a:gd name="T2" fmla="*/ 2147483647 w 56"/>
              <a:gd name="T3" fmla="*/ 0 h 49"/>
              <a:gd name="T4" fmla="*/ 2147483647 w 56"/>
              <a:gd name="T5" fmla="*/ 2147483647 h 49"/>
              <a:gd name="T6" fmla="*/ 2147483647 w 56"/>
              <a:gd name="T7" fmla="*/ 2147483647 h 49"/>
              <a:gd name="T8" fmla="*/ 2147483647 w 56"/>
              <a:gd name="T9" fmla="*/ 2147483647 h 49"/>
              <a:gd name="T10" fmla="*/ 2147483647 w 56"/>
              <a:gd name="T11" fmla="*/ 2147483647 h 49"/>
              <a:gd name="T12" fmla="*/ 2147483647 w 56"/>
              <a:gd name="T13" fmla="*/ 2147483647 h 49"/>
              <a:gd name="T14" fmla="*/ 0 w 56"/>
              <a:gd name="T15" fmla="*/ 2147483647 h 4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6"/>
              <a:gd name="T25" fmla="*/ 0 h 49"/>
              <a:gd name="T26" fmla="*/ 56 w 56"/>
              <a:gd name="T27" fmla="*/ 49 h 4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6" h="49">
                <a:moveTo>
                  <a:pt x="0" y="3"/>
                </a:moveTo>
                <a:lnTo>
                  <a:pt x="8" y="0"/>
                </a:lnTo>
                <a:lnTo>
                  <a:pt x="25" y="11"/>
                </a:lnTo>
                <a:lnTo>
                  <a:pt x="43" y="11"/>
                </a:lnTo>
                <a:lnTo>
                  <a:pt x="54" y="29"/>
                </a:lnTo>
                <a:lnTo>
                  <a:pt x="56" y="49"/>
                </a:lnTo>
                <a:lnTo>
                  <a:pt x="31" y="48"/>
                </a:lnTo>
                <a:lnTo>
                  <a:pt x="0" y="3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05" name="Freeform 94"/>
          <p:cNvSpPr>
            <a:spLocks noChangeAspect="1"/>
          </p:cNvSpPr>
          <p:nvPr/>
        </p:nvSpPr>
        <p:spPr bwMode="gray">
          <a:xfrm>
            <a:off x="5275263" y="2925763"/>
            <a:ext cx="222250" cy="227012"/>
          </a:xfrm>
          <a:custGeom>
            <a:avLst/>
            <a:gdLst>
              <a:gd name="T0" fmla="*/ 2147483647 w 458"/>
              <a:gd name="T1" fmla="*/ 2147483647 h 463"/>
              <a:gd name="T2" fmla="*/ 2147483647 w 458"/>
              <a:gd name="T3" fmla="*/ 2147483647 h 463"/>
              <a:gd name="T4" fmla="*/ 2147483647 w 458"/>
              <a:gd name="T5" fmla="*/ 2147483647 h 463"/>
              <a:gd name="T6" fmla="*/ 2147483647 w 458"/>
              <a:gd name="T7" fmla="*/ 2147483647 h 463"/>
              <a:gd name="T8" fmla="*/ 2147483647 w 458"/>
              <a:gd name="T9" fmla="*/ 2147483647 h 463"/>
              <a:gd name="T10" fmla="*/ 2147483647 w 458"/>
              <a:gd name="T11" fmla="*/ 2147483647 h 463"/>
              <a:gd name="T12" fmla="*/ 2147483647 w 458"/>
              <a:gd name="T13" fmla="*/ 2147483647 h 463"/>
              <a:gd name="T14" fmla="*/ 2147483647 w 458"/>
              <a:gd name="T15" fmla="*/ 2147483647 h 463"/>
              <a:gd name="T16" fmla="*/ 2147483647 w 458"/>
              <a:gd name="T17" fmla="*/ 2147483647 h 463"/>
              <a:gd name="T18" fmla="*/ 2147483647 w 458"/>
              <a:gd name="T19" fmla="*/ 2147483647 h 463"/>
              <a:gd name="T20" fmla="*/ 2147483647 w 458"/>
              <a:gd name="T21" fmla="*/ 2147483647 h 463"/>
              <a:gd name="T22" fmla="*/ 2147483647 w 458"/>
              <a:gd name="T23" fmla="*/ 2147483647 h 463"/>
              <a:gd name="T24" fmla="*/ 2147483647 w 458"/>
              <a:gd name="T25" fmla="*/ 2147483647 h 463"/>
              <a:gd name="T26" fmla="*/ 2147483647 w 458"/>
              <a:gd name="T27" fmla="*/ 2147483647 h 463"/>
              <a:gd name="T28" fmla="*/ 2147483647 w 458"/>
              <a:gd name="T29" fmla="*/ 2147483647 h 463"/>
              <a:gd name="T30" fmla="*/ 2147483647 w 458"/>
              <a:gd name="T31" fmla="*/ 2147483647 h 463"/>
              <a:gd name="T32" fmla="*/ 2147483647 w 458"/>
              <a:gd name="T33" fmla="*/ 2147483647 h 463"/>
              <a:gd name="T34" fmla="*/ 2147483647 w 458"/>
              <a:gd name="T35" fmla="*/ 2147483647 h 463"/>
              <a:gd name="T36" fmla="*/ 2147483647 w 458"/>
              <a:gd name="T37" fmla="*/ 2147483647 h 463"/>
              <a:gd name="T38" fmla="*/ 2147483647 w 458"/>
              <a:gd name="T39" fmla="*/ 2147483647 h 463"/>
              <a:gd name="T40" fmla="*/ 2147483647 w 458"/>
              <a:gd name="T41" fmla="*/ 2147483647 h 463"/>
              <a:gd name="T42" fmla="*/ 2147483647 w 458"/>
              <a:gd name="T43" fmla="*/ 2147483647 h 463"/>
              <a:gd name="T44" fmla="*/ 2147483647 w 458"/>
              <a:gd name="T45" fmla="*/ 2147483647 h 463"/>
              <a:gd name="T46" fmla="*/ 2147483647 w 458"/>
              <a:gd name="T47" fmla="*/ 2147483647 h 463"/>
              <a:gd name="T48" fmla="*/ 2147483647 w 458"/>
              <a:gd name="T49" fmla="*/ 2147483647 h 463"/>
              <a:gd name="T50" fmla="*/ 2147483647 w 458"/>
              <a:gd name="T51" fmla="*/ 2147483647 h 463"/>
              <a:gd name="T52" fmla="*/ 2147483647 w 458"/>
              <a:gd name="T53" fmla="*/ 2147483647 h 463"/>
              <a:gd name="T54" fmla="*/ 2147483647 w 458"/>
              <a:gd name="T55" fmla="*/ 2147483647 h 463"/>
              <a:gd name="T56" fmla="*/ 2147483647 w 458"/>
              <a:gd name="T57" fmla="*/ 2147483647 h 463"/>
              <a:gd name="T58" fmla="*/ 2147483647 w 458"/>
              <a:gd name="T59" fmla="*/ 2147483647 h 463"/>
              <a:gd name="T60" fmla="*/ 2147483647 w 458"/>
              <a:gd name="T61" fmla="*/ 2147483647 h 463"/>
              <a:gd name="T62" fmla="*/ 2147483647 w 458"/>
              <a:gd name="T63" fmla="*/ 2147483647 h 463"/>
              <a:gd name="T64" fmla="*/ 2147483647 w 458"/>
              <a:gd name="T65" fmla="*/ 2147483647 h 463"/>
              <a:gd name="T66" fmla="*/ 2147483647 w 458"/>
              <a:gd name="T67" fmla="*/ 0 h 463"/>
              <a:gd name="T68" fmla="*/ 2147483647 w 458"/>
              <a:gd name="T69" fmla="*/ 2147483647 h 463"/>
              <a:gd name="T70" fmla="*/ 2147483647 w 458"/>
              <a:gd name="T71" fmla="*/ 2147483647 h 463"/>
              <a:gd name="T72" fmla="*/ 2147483647 w 458"/>
              <a:gd name="T73" fmla="*/ 2147483647 h 463"/>
              <a:gd name="T74" fmla="*/ 2147483647 w 458"/>
              <a:gd name="T75" fmla="*/ 2147483647 h 463"/>
              <a:gd name="T76" fmla="*/ 2147483647 w 458"/>
              <a:gd name="T77" fmla="*/ 2147483647 h 463"/>
              <a:gd name="T78" fmla="*/ 2147483647 w 458"/>
              <a:gd name="T79" fmla="*/ 2147483647 h 463"/>
              <a:gd name="T80" fmla="*/ 0 w 458"/>
              <a:gd name="T81" fmla="*/ 2147483647 h 463"/>
              <a:gd name="T82" fmla="*/ 2147483647 w 458"/>
              <a:gd name="T83" fmla="*/ 2147483647 h 463"/>
              <a:gd name="T84" fmla="*/ 2147483647 w 458"/>
              <a:gd name="T85" fmla="*/ 2147483647 h 463"/>
              <a:gd name="T86" fmla="*/ 2147483647 w 458"/>
              <a:gd name="T87" fmla="*/ 2147483647 h 463"/>
              <a:gd name="T88" fmla="*/ 2147483647 w 458"/>
              <a:gd name="T89" fmla="*/ 2147483647 h 463"/>
              <a:gd name="T90" fmla="*/ 2147483647 w 458"/>
              <a:gd name="T91" fmla="*/ 2147483647 h 463"/>
              <a:gd name="T92" fmla="*/ 2147483647 w 458"/>
              <a:gd name="T93" fmla="*/ 2147483647 h 463"/>
              <a:gd name="T94" fmla="*/ 2147483647 w 458"/>
              <a:gd name="T95" fmla="*/ 2147483647 h 463"/>
              <a:gd name="T96" fmla="*/ 2147483647 w 458"/>
              <a:gd name="T97" fmla="*/ 2147483647 h 463"/>
              <a:gd name="T98" fmla="*/ 2147483647 w 458"/>
              <a:gd name="T99" fmla="*/ 2147483647 h 463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458"/>
              <a:gd name="T151" fmla="*/ 0 h 463"/>
              <a:gd name="T152" fmla="*/ 458 w 458"/>
              <a:gd name="T153" fmla="*/ 463 h 463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458" h="463">
                <a:moveTo>
                  <a:pt x="364" y="463"/>
                </a:moveTo>
                <a:lnTo>
                  <a:pt x="378" y="449"/>
                </a:lnTo>
                <a:lnTo>
                  <a:pt x="396" y="418"/>
                </a:lnTo>
                <a:lnTo>
                  <a:pt x="408" y="412"/>
                </a:lnTo>
                <a:lnTo>
                  <a:pt x="430" y="415"/>
                </a:lnTo>
                <a:lnTo>
                  <a:pt x="433" y="413"/>
                </a:lnTo>
                <a:lnTo>
                  <a:pt x="450" y="421"/>
                </a:lnTo>
                <a:lnTo>
                  <a:pt x="458" y="413"/>
                </a:lnTo>
                <a:lnTo>
                  <a:pt x="430" y="392"/>
                </a:lnTo>
                <a:lnTo>
                  <a:pt x="424" y="368"/>
                </a:lnTo>
                <a:lnTo>
                  <a:pt x="412" y="361"/>
                </a:lnTo>
                <a:lnTo>
                  <a:pt x="415" y="322"/>
                </a:lnTo>
                <a:lnTo>
                  <a:pt x="398" y="286"/>
                </a:lnTo>
                <a:lnTo>
                  <a:pt x="337" y="248"/>
                </a:lnTo>
                <a:lnTo>
                  <a:pt x="337" y="238"/>
                </a:lnTo>
                <a:lnTo>
                  <a:pt x="322" y="215"/>
                </a:lnTo>
                <a:lnTo>
                  <a:pt x="310" y="212"/>
                </a:lnTo>
                <a:lnTo>
                  <a:pt x="308" y="198"/>
                </a:lnTo>
                <a:lnTo>
                  <a:pt x="317" y="170"/>
                </a:lnTo>
                <a:lnTo>
                  <a:pt x="327" y="161"/>
                </a:lnTo>
                <a:lnTo>
                  <a:pt x="327" y="156"/>
                </a:lnTo>
                <a:lnTo>
                  <a:pt x="345" y="130"/>
                </a:lnTo>
                <a:lnTo>
                  <a:pt x="340" y="113"/>
                </a:lnTo>
                <a:lnTo>
                  <a:pt x="353" y="96"/>
                </a:lnTo>
                <a:lnTo>
                  <a:pt x="320" y="90"/>
                </a:lnTo>
                <a:lnTo>
                  <a:pt x="311" y="82"/>
                </a:lnTo>
                <a:lnTo>
                  <a:pt x="305" y="63"/>
                </a:lnTo>
                <a:lnTo>
                  <a:pt x="286" y="42"/>
                </a:lnTo>
                <a:lnTo>
                  <a:pt x="283" y="12"/>
                </a:lnTo>
                <a:lnTo>
                  <a:pt x="276" y="19"/>
                </a:lnTo>
                <a:lnTo>
                  <a:pt x="265" y="17"/>
                </a:lnTo>
                <a:lnTo>
                  <a:pt x="256" y="8"/>
                </a:lnTo>
                <a:lnTo>
                  <a:pt x="217" y="8"/>
                </a:lnTo>
                <a:lnTo>
                  <a:pt x="198" y="0"/>
                </a:lnTo>
                <a:lnTo>
                  <a:pt x="172" y="25"/>
                </a:lnTo>
                <a:lnTo>
                  <a:pt x="164" y="28"/>
                </a:lnTo>
                <a:lnTo>
                  <a:pt x="149" y="51"/>
                </a:lnTo>
                <a:lnTo>
                  <a:pt x="124" y="62"/>
                </a:lnTo>
                <a:lnTo>
                  <a:pt x="116" y="152"/>
                </a:lnTo>
                <a:lnTo>
                  <a:pt x="110" y="173"/>
                </a:lnTo>
                <a:lnTo>
                  <a:pt x="0" y="238"/>
                </a:lnTo>
                <a:lnTo>
                  <a:pt x="20" y="299"/>
                </a:lnTo>
                <a:lnTo>
                  <a:pt x="90" y="317"/>
                </a:lnTo>
                <a:lnTo>
                  <a:pt x="142" y="356"/>
                </a:lnTo>
                <a:lnTo>
                  <a:pt x="190" y="373"/>
                </a:lnTo>
                <a:lnTo>
                  <a:pt x="201" y="393"/>
                </a:lnTo>
                <a:lnTo>
                  <a:pt x="226" y="395"/>
                </a:lnTo>
                <a:lnTo>
                  <a:pt x="229" y="432"/>
                </a:lnTo>
                <a:lnTo>
                  <a:pt x="281" y="458"/>
                </a:lnTo>
                <a:lnTo>
                  <a:pt x="364" y="463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06" name="Freeform 95"/>
          <p:cNvSpPr>
            <a:spLocks noChangeAspect="1"/>
          </p:cNvSpPr>
          <p:nvPr/>
        </p:nvSpPr>
        <p:spPr bwMode="gray">
          <a:xfrm>
            <a:off x="5451475" y="3127375"/>
            <a:ext cx="41275" cy="38100"/>
          </a:xfrm>
          <a:custGeom>
            <a:avLst/>
            <a:gdLst>
              <a:gd name="T0" fmla="*/ 2147483647 w 82"/>
              <a:gd name="T1" fmla="*/ 2147483647 h 80"/>
              <a:gd name="T2" fmla="*/ 2147483647 w 82"/>
              <a:gd name="T3" fmla="*/ 2147483647 h 80"/>
              <a:gd name="T4" fmla="*/ 2147483647 w 82"/>
              <a:gd name="T5" fmla="*/ 2147483647 h 80"/>
              <a:gd name="T6" fmla="*/ 2147483647 w 82"/>
              <a:gd name="T7" fmla="*/ 2147483647 h 80"/>
              <a:gd name="T8" fmla="*/ 2147483647 w 82"/>
              <a:gd name="T9" fmla="*/ 2147483647 h 80"/>
              <a:gd name="T10" fmla="*/ 2147483647 w 82"/>
              <a:gd name="T11" fmla="*/ 0 h 80"/>
              <a:gd name="T12" fmla="*/ 2147483647 w 82"/>
              <a:gd name="T13" fmla="*/ 2147483647 h 80"/>
              <a:gd name="T14" fmla="*/ 2147483647 w 82"/>
              <a:gd name="T15" fmla="*/ 2147483647 h 80"/>
              <a:gd name="T16" fmla="*/ 0 w 82"/>
              <a:gd name="T17" fmla="*/ 2147483647 h 80"/>
              <a:gd name="T18" fmla="*/ 2147483647 w 82"/>
              <a:gd name="T19" fmla="*/ 2147483647 h 80"/>
              <a:gd name="T20" fmla="*/ 2147483647 w 82"/>
              <a:gd name="T21" fmla="*/ 2147483647 h 80"/>
              <a:gd name="T22" fmla="*/ 2147483647 w 82"/>
              <a:gd name="T23" fmla="*/ 2147483647 h 8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82"/>
              <a:gd name="T37" fmla="*/ 0 h 80"/>
              <a:gd name="T38" fmla="*/ 82 w 82"/>
              <a:gd name="T39" fmla="*/ 80 h 80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82" h="80">
                <a:moveTo>
                  <a:pt x="82" y="80"/>
                </a:moveTo>
                <a:lnTo>
                  <a:pt x="68" y="44"/>
                </a:lnTo>
                <a:lnTo>
                  <a:pt x="52" y="39"/>
                </a:lnTo>
                <a:lnTo>
                  <a:pt x="78" y="22"/>
                </a:lnTo>
                <a:lnTo>
                  <a:pt x="66" y="3"/>
                </a:lnTo>
                <a:lnTo>
                  <a:pt x="44" y="0"/>
                </a:lnTo>
                <a:lnTo>
                  <a:pt x="32" y="6"/>
                </a:lnTo>
                <a:lnTo>
                  <a:pt x="14" y="37"/>
                </a:lnTo>
                <a:lnTo>
                  <a:pt x="0" y="51"/>
                </a:lnTo>
                <a:lnTo>
                  <a:pt x="40" y="61"/>
                </a:lnTo>
                <a:lnTo>
                  <a:pt x="52" y="80"/>
                </a:lnTo>
                <a:lnTo>
                  <a:pt x="82" y="80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07" name="Freeform 96"/>
          <p:cNvSpPr>
            <a:spLocks noChangeAspect="1"/>
          </p:cNvSpPr>
          <p:nvPr/>
        </p:nvSpPr>
        <p:spPr bwMode="gray">
          <a:xfrm>
            <a:off x="5665788" y="3224213"/>
            <a:ext cx="7937" cy="14287"/>
          </a:xfrm>
          <a:custGeom>
            <a:avLst/>
            <a:gdLst>
              <a:gd name="T0" fmla="*/ 2147483647 w 17"/>
              <a:gd name="T1" fmla="*/ 2147483647 h 31"/>
              <a:gd name="T2" fmla="*/ 2147483647 w 17"/>
              <a:gd name="T3" fmla="*/ 2147483647 h 31"/>
              <a:gd name="T4" fmla="*/ 0 w 17"/>
              <a:gd name="T5" fmla="*/ 2147483647 h 31"/>
              <a:gd name="T6" fmla="*/ 2147483647 w 17"/>
              <a:gd name="T7" fmla="*/ 2147483647 h 31"/>
              <a:gd name="T8" fmla="*/ 2147483647 w 17"/>
              <a:gd name="T9" fmla="*/ 0 h 31"/>
              <a:gd name="T10" fmla="*/ 2147483647 w 17"/>
              <a:gd name="T11" fmla="*/ 2147483647 h 3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7"/>
              <a:gd name="T19" fmla="*/ 0 h 31"/>
              <a:gd name="T20" fmla="*/ 17 w 17"/>
              <a:gd name="T21" fmla="*/ 31 h 3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7" h="31">
                <a:moveTo>
                  <a:pt x="9" y="31"/>
                </a:moveTo>
                <a:lnTo>
                  <a:pt x="1" y="29"/>
                </a:lnTo>
                <a:lnTo>
                  <a:pt x="0" y="10"/>
                </a:lnTo>
                <a:lnTo>
                  <a:pt x="6" y="1"/>
                </a:lnTo>
                <a:lnTo>
                  <a:pt x="17" y="0"/>
                </a:lnTo>
                <a:lnTo>
                  <a:pt x="9" y="31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08" name="Freeform 97"/>
          <p:cNvSpPr>
            <a:spLocks noChangeAspect="1"/>
          </p:cNvSpPr>
          <p:nvPr/>
        </p:nvSpPr>
        <p:spPr bwMode="gray">
          <a:xfrm>
            <a:off x="5546725" y="3225800"/>
            <a:ext cx="17463" cy="41275"/>
          </a:xfrm>
          <a:custGeom>
            <a:avLst/>
            <a:gdLst>
              <a:gd name="T0" fmla="*/ 2147483647 w 37"/>
              <a:gd name="T1" fmla="*/ 2147483647 h 82"/>
              <a:gd name="T2" fmla="*/ 2147483647 w 37"/>
              <a:gd name="T3" fmla="*/ 2147483647 h 82"/>
              <a:gd name="T4" fmla="*/ 2147483647 w 37"/>
              <a:gd name="T5" fmla="*/ 2147483647 h 82"/>
              <a:gd name="T6" fmla="*/ 2147483647 w 37"/>
              <a:gd name="T7" fmla="*/ 2147483647 h 82"/>
              <a:gd name="T8" fmla="*/ 2147483647 w 37"/>
              <a:gd name="T9" fmla="*/ 2147483647 h 82"/>
              <a:gd name="T10" fmla="*/ 2147483647 w 37"/>
              <a:gd name="T11" fmla="*/ 0 h 82"/>
              <a:gd name="T12" fmla="*/ 0 w 37"/>
              <a:gd name="T13" fmla="*/ 2147483647 h 82"/>
              <a:gd name="T14" fmla="*/ 0 w 37"/>
              <a:gd name="T15" fmla="*/ 2147483647 h 82"/>
              <a:gd name="T16" fmla="*/ 2147483647 w 37"/>
              <a:gd name="T17" fmla="*/ 2147483647 h 8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7"/>
              <a:gd name="T28" fmla="*/ 0 h 82"/>
              <a:gd name="T29" fmla="*/ 37 w 37"/>
              <a:gd name="T30" fmla="*/ 82 h 8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7" h="82">
                <a:moveTo>
                  <a:pt x="12" y="82"/>
                </a:moveTo>
                <a:lnTo>
                  <a:pt x="29" y="76"/>
                </a:lnTo>
                <a:lnTo>
                  <a:pt x="36" y="59"/>
                </a:lnTo>
                <a:lnTo>
                  <a:pt x="32" y="34"/>
                </a:lnTo>
                <a:lnTo>
                  <a:pt x="37" y="12"/>
                </a:lnTo>
                <a:lnTo>
                  <a:pt x="19" y="0"/>
                </a:lnTo>
                <a:lnTo>
                  <a:pt x="0" y="34"/>
                </a:lnTo>
                <a:lnTo>
                  <a:pt x="0" y="70"/>
                </a:lnTo>
                <a:lnTo>
                  <a:pt x="12" y="82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09" name="Freeform 98"/>
          <p:cNvSpPr>
            <a:spLocks noChangeAspect="1"/>
          </p:cNvSpPr>
          <p:nvPr/>
        </p:nvSpPr>
        <p:spPr bwMode="gray">
          <a:xfrm>
            <a:off x="5187950" y="3043238"/>
            <a:ext cx="96838" cy="106362"/>
          </a:xfrm>
          <a:custGeom>
            <a:avLst/>
            <a:gdLst>
              <a:gd name="T0" fmla="*/ 2147483647 w 199"/>
              <a:gd name="T1" fmla="*/ 2147483647 h 223"/>
              <a:gd name="T2" fmla="*/ 2147483647 w 199"/>
              <a:gd name="T3" fmla="*/ 2147483647 h 223"/>
              <a:gd name="T4" fmla="*/ 2147483647 w 199"/>
              <a:gd name="T5" fmla="*/ 2147483647 h 223"/>
              <a:gd name="T6" fmla="*/ 2147483647 w 199"/>
              <a:gd name="T7" fmla="*/ 2147483647 h 223"/>
              <a:gd name="T8" fmla="*/ 2147483647 w 199"/>
              <a:gd name="T9" fmla="*/ 2147483647 h 223"/>
              <a:gd name="T10" fmla="*/ 2147483647 w 199"/>
              <a:gd name="T11" fmla="*/ 2147483647 h 223"/>
              <a:gd name="T12" fmla="*/ 2147483647 w 199"/>
              <a:gd name="T13" fmla="*/ 2147483647 h 223"/>
              <a:gd name="T14" fmla="*/ 2147483647 w 199"/>
              <a:gd name="T15" fmla="*/ 2147483647 h 223"/>
              <a:gd name="T16" fmla="*/ 2147483647 w 199"/>
              <a:gd name="T17" fmla="*/ 2147483647 h 223"/>
              <a:gd name="T18" fmla="*/ 2147483647 w 199"/>
              <a:gd name="T19" fmla="*/ 2147483647 h 223"/>
              <a:gd name="T20" fmla="*/ 2147483647 w 199"/>
              <a:gd name="T21" fmla="*/ 2147483647 h 223"/>
              <a:gd name="T22" fmla="*/ 2147483647 w 199"/>
              <a:gd name="T23" fmla="*/ 0 h 223"/>
              <a:gd name="T24" fmla="*/ 2147483647 w 199"/>
              <a:gd name="T25" fmla="*/ 2147483647 h 223"/>
              <a:gd name="T26" fmla="*/ 2147483647 w 199"/>
              <a:gd name="T27" fmla="*/ 2147483647 h 223"/>
              <a:gd name="T28" fmla="*/ 2147483647 w 199"/>
              <a:gd name="T29" fmla="*/ 2147483647 h 223"/>
              <a:gd name="T30" fmla="*/ 2147483647 w 199"/>
              <a:gd name="T31" fmla="*/ 2147483647 h 223"/>
              <a:gd name="T32" fmla="*/ 2147483647 w 199"/>
              <a:gd name="T33" fmla="*/ 2147483647 h 223"/>
              <a:gd name="T34" fmla="*/ 2147483647 w 199"/>
              <a:gd name="T35" fmla="*/ 2147483647 h 223"/>
              <a:gd name="T36" fmla="*/ 2147483647 w 199"/>
              <a:gd name="T37" fmla="*/ 2147483647 h 223"/>
              <a:gd name="T38" fmla="*/ 2147483647 w 199"/>
              <a:gd name="T39" fmla="*/ 2147483647 h 223"/>
              <a:gd name="T40" fmla="*/ 2147483647 w 199"/>
              <a:gd name="T41" fmla="*/ 2147483647 h 223"/>
              <a:gd name="T42" fmla="*/ 2147483647 w 199"/>
              <a:gd name="T43" fmla="*/ 2147483647 h 223"/>
              <a:gd name="T44" fmla="*/ 2147483647 w 199"/>
              <a:gd name="T45" fmla="*/ 2147483647 h 223"/>
              <a:gd name="T46" fmla="*/ 0 w 199"/>
              <a:gd name="T47" fmla="*/ 2147483647 h 223"/>
              <a:gd name="T48" fmla="*/ 2147483647 w 199"/>
              <a:gd name="T49" fmla="*/ 2147483647 h 223"/>
              <a:gd name="T50" fmla="*/ 2147483647 w 199"/>
              <a:gd name="T51" fmla="*/ 2147483647 h 223"/>
              <a:gd name="T52" fmla="*/ 2147483647 w 199"/>
              <a:gd name="T53" fmla="*/ 2147483647 h 223"/>
              <a:gd name="T54" fmla="*/ 2147483647 w 199"/>
              <a:gd name="T55" fmla="*/ 2147483647 h 223"/>
              <a:gd name="T56" fmla="*/ 2147483647 w 199"/>
              <a:gd name="T57" fmla="*/ 2147483647 h 223"/>
              <a:gd name="T58" fmla="*/ 2147483647 w 199"/>
              <a:gd name="T59" fmla="*/ 2147483647 h 223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199"/>
              <a:gd name="T91" fmla="*/ 0 h 223"/>
              <a:gd name="T92" fmla="*/ 199 w 199"/>
              <a:gd name="T93" fmla="*/ 223 h 223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199" h="223">
                <a:moveTo>
                  <a:pt x="4" y="209"/>
                </a:moveTo>
                <a:lnTo>
                  <a:pt x="6" y="217"/>
                </a:lnTo>
                <a:lnTo>
                  <a:pt x="59" y="223"/>
                </a:lnTo>
                <a:lnTo>
                  <a:pt x="72" y="208"/>
                </a:lnTo>
                <a:lnTo>
                  <a:pt x="86" y="184"/>
                </a:lnTo>
                <a:lnTo>
                  <a:pt x="122" y="180"/>
                </a:lnTo>
                <a:lnTo>
                  <a:pt x="127" y="157"/>
                </a:lnTo>
                <a:lnTo>
                  <a:pt x="147" y="146"/>
                </a:lnTo>
                <a:lnTo>
                  <a:pt x="96" y="95"/>
                </a:lnTo>
                <a:lnTo>
                  <a:pt x="184" y="76"/>
                </a:lnTo>
                <a:lnTo>
                  <a:pt x="199" y="61"/>
                </a:lnTo>
                <a:lnTo>
                  <a:pt x="179" y="0"/>
                </a:lnTo>
                <a:lnTo>
                  <a:pt x="77" y="54"/>
                </a:lnTo>
                <a:lnTo>
                  <a:pt x="63" y="50"/>
                </a:lnTo>
                <a:lnTo>
                  <a:pt x="45" y="31"/>
                </a:lnTo>
                <a:lnTo>
                  <a:pt x="32" y="33"/>
                </a:lnTo>
                <a:lnTo>
                  <a:pt x="32" y="50"/>
                </a:lnTo>
                <a:lnTo>
                  <a:pt x="25" y="42"/>
                </a:lnTo>
                <a:lnTo>
                  <a:pt x="13" y="42"/>
                </a:lnTo>
                <a:lnTo>
                  <a:pt x="3" y="59"/>
                </a:lnTo>
                <a:lnTo>
                  <a:pt x="4" y="79"/>
                </a:lnTo>
                <a:lnTo>
                  <a:pt x="17" y="82"/>
                </a:lnTo>
                <a:lnTo>
                  <a:pt x="6" y="86"/>
                </a:lnTo>
                <a:lnTo>
                  <a:pt x="0" y="104"/>
                </a:lnTo>
                <a:lnTo>
                  <a:pt x="3" y="108"/>
                </a:lnTo>
                <a:lnTo>
                  <a:pt x="21" y="98"/>
                </a:lnTo>
                <a:lnTo>
                  <a:pt x="26" y="101"/>
                </a:lnTo>
                <a:lnTo>
                  <a:pt x="26" y="121"/>
                </a:lnTo>
                <a:lnTo>
                  <a:pt x="13" y="150"/>
                </a:lnTo>
                <a:lnTo>
                  <a:pt x="4" y="209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10" name="Freeform 99"/>
          <p:cNvSpPr>
            <a:spLocks noChangeAspect="1"/>
          </p:cNvSpPr>
          <p:nvPr/>
        </p:nvSpPr>
        <p:spPr bwMode="gray">
          <a:xfrm>
            <a:off x="5202238" y="2928938"/>
            <a:ext cx="155575" cy="139700"/>
          </a:xfrm>
          <a:custGeom>
            <a:avLst/>
            <a:gdLst>
              <a:gd name="T0" fmla="*/ 2147483647 w 319"/>
              <a:gd name="T1" fmla="*/ 2147483647 h 283"/>
              <a:gd name="T2" fmla="*/ 2147483647 w 319"/>
              <a:gd name="T3" fmla="*/ 2147483647 h 283"/>
              <a:gd name="T4" fmla="*/ 2147483647 w 319"/>
              <a:gd name="T5" fmla="*/ 0 h 283"/>
              <a:gd name="T6" fmla="*/ 2147483647 w 319"/>
              <a:gd name="T7" fmla="*/ 2147483647 h 283"/>
              <a:gd name="T8" fmla="*/ 2147483647 w 319"/>
              <a:gd name="T9" fmla="*/ 2147483647 h 283"/>
              <a:gd name="T10" fmla="*/ 2147483647 w 319"/>
              <a:gd name="T11" fmla="*/ 2147483647 h 283"/>
              <a:gd name="T12" fmla="*/ 2147483647 w 319"/>
              <a:gd name="T13" fmla="*/ 2147483647 h 283"/>
              <a:gd name="T14" fmla="*/ 2147483647 w 319"/>
              <a:gd name="T15" fmla="*/ 2147483647 h 283"/>
              <a:gd name="T16" fmla="*/ 2147483647 w 319"/>
              <a:gd name="T17" fmla="*/ 2147483647 h 283"/>
              <a:gd name="T18" fmla="*/ 2147483647 w 319"/>
              <a:gd name="T19" fmla="*/ 2147483647 h 283"/>
              <a:gd name="T20" fmla="*/ 2147483647 w 319"/>
              <a:gd name="T21" fmla="*/ 2147483647 h 283"/>
              <a:gd name="T22" fmla="*/ 2147483647 w 319"/>
              <a:gd name="T23" fmla="*/ 2147483647 h 283"/>
              <a:gd name="T24" fmla="*/ 2147483647 w 319"/>
              <a:gd name="T25" fmla="*/ 2147483647 h 283"/>
              <a:gd name="T26" fmla="*/ 2147483647 w 319"/>
              <a:gd name="T27" fmla="*/ 2147483647 h 283"/>
              <a:gd name="T28" fmla="*/ 2147483647 w 319"/>
              <a:gd name="T29" fmla="*/ 2147483647 h 283"/>
              <a:gd name="T30" fmla="*/ 2147483647 w 319"/>
              <a:gd name="T31" fmla="*/ 2147483647 h 283"/>
              <a:gd name="T32" fmla="*/ 2147483647 w 319"/>
              <a:gd name="T33" fmla="*/ 2147483647 h 283"/>
              <a:gd name="T34" fmla="*/ 2147483647 w 319"/>
              <a:gd name="T35" fmla="*/ 2147483647 h 283"/>
              <a:gd name="T36" fmla="*/ 2147483647 w 319"/>
              <a:gd name="T37" fmla="*/ 2147483647 h 283"/>
              <a:gd name="T38" fmla="*/ 2147483647 w 319"/>
              <a:gd name="T39" fmla="*/ 2147483647 h 283"/>
              <a:gd name="T40" fmla="*/ 2147483647 w 319"/>
              <a:gd name="T41" fmla="*/ 2147483647 h 283"/>
              <a:gd name="T42" fmla="*/ 2147483647 w 319"/>
              <a:gd name="T43" fmla="*/ 2147483647 h 283"/>
              <a:gd name="T44" fmla="*/ 2147483647 w 319"/>
              <a:gd name="T45" fmla="*/ 2147483647 h 283"/>
              <a:gd name="T46" fmla="*/ 2147483647 w 319"/>
              <a:gd name="T47" fmla="*/ 2147483647 h 283"/>
              <a:gd name="T48" fmla="*/ 2147483647 w 319"/>
              <a:gd name="T49" fmla="*/ 2147483647 h 283"/>
              <a:gd name="T50" fmla="*/ 2147483647 w 319"/>
              <a:gd name="T51" fmla="*/ 2147483647 h 283"/>
              <a:gd name="T52" fmla="*/ 2147483647 w 319"/>
              <a:gd name="T53" fmla="*/ 2147483647 h 283"/>
              <a:gd name="T54" fmla="*/ 2147483647 w 319"/>
              <a:gd name="T55" fmla="*/ 2147483647 h 283"/>
              <a:gd name="T56" fmla="*/ 2147483647 w 319"/>
              <a:gd name="T57" fmla="*/ 2147483647 h 283"/>
              <a:gd name="T58" fmla="*/ 2147483647 w 319"/>
              <a:gd name="T59" fmla="*/ 2147483647 h 283"/>
              <a:gd name="T60" fmla="*/ 2147483647 w 319"/>
              <a:gd name="T61" fmla="*/ 2147483647 h 283"/>
              <a:gd name="T62" fmla="*/ 2147483647 w 319"/>
              <a:gd name="T63" fmla="*/ 2147483647 h 283"/>
              <a:gd name="T64" fmla="*/ 0 w 319"/>
              <a:gd name="T65" fmla="*/ 2147483647 h 283"/>
              <a:gd name="T66" fmla="*/ 2147483647 w 319"/>
              <a:gd name="T67" fmla="*/ 2147483647 h 283"/>
              <a:gd name="T68" fmla="*/ 2147483647 w 319"/>
              <a:gd name="T69" fmla="*/ 2147483647 h 283"/>
              <a:gd name="T70" fmla="*/ 2147483647 w 319"/>
              <a:gd name="T71" fmla="*/ 2147483647 h 283"/>
              <a:gd name="T72" fmla="*/ 2147483647 w 319"/>
              <a:gd name="T73" fmla="*/ 2147483647 h 283"/>
              <a:gd name="T74" fmla="*/ 2147483647 w 319"/>
              <a:gd name="T75" fmla="*/ 2147483647 h 283"/>
              <a:gd name="T76" fmla="*/ 2147483647 w 319"/>
              <a:gd name="T77" fmla="*/ 2147483647 h 283"/>
              <a:gd name="T78" fmla="*/ 2147483647 w 319"/>
              <a:gd name="T79" fmla="*/ 2147483647 h 283"/>
              <a:gd name="T80" fmla="*/ 2147483647 w 319"/>
              <a:gd name="T81" fmla="*/ 2147483647 h 283"/>
              <a:gd name="T82" fmla="*/ 2147483647 w 319"/>
              <a:gd name="T83" fmla="*/ 2147483647 h 283"/>
              <a:gd name="T84" fmla="*/ 2147483647 w 319"/>
              <a:gd name="T85" fmla="*/ 2147483647 h 28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19"/>
              <a:gd name="T130" fmla="*/ 0 h 283"/>
              <a:gd name="T131" fmla="*/ 319 w 319"/>
              <a:gd name="T132" fmla="*/ 283 h 283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19" h="283">
                <a:moveTo>
                  <a:pt x="319" y="16"/>
                </a:moveTo>
                <a:lnTo>
                  <a:pt x="316" y="10"/>
                </a:lnTo>
                <a:lnTo>
                  <a:pt x="311" y="0"/>
                </a:lnTo>
                <a:lnTo>
                  <a:pt x="289" y="14"/>
                </a:lnTo>
                <a:lnTo>
                  <a:pt x="243" y="12"/>
                </a:lnTo>
                <a:lnTo>
                  <a:pt x="172" y="39"/>
                </a:lnTo>
                <a:lnTo>
                  <a:pt x="150" y="34"/>
                </a:lnTo>
                <a:lnTo>
                  <a:pt x="133" y="24"/>
                </a:lnTo>
                <a:lnTo>
                  <a:pt x="93" y="39"/>
                </a:lnTo>
                <a:lnTo>
                  <a:pt x="74" y="39"/>
                </a:lnTo>
                <a:lnTo>
                  <a:pt x="73" y="34"/>
                </a:lnTo>
                <a:lnTo>
                  <a:pt x="56" y="28"/>
                </a:lnTo>
                <a:lnTo>
                  <a:pt x="48" y="50"/>
                </a:lnTo>
                <a:lnTo>
                  <a:pt x="57" y="62"/>
                </a:lnTo>
                <a:lnTo>
                  <a:pt x="42" y="67"/>
                </a:lnTo>
                <a:lnTo>
                  <a:pt x="42" y="76"/>
                </a:lnTo>
                <a:lnTo>
                  <a:pt x="31" y="87"/>
                </a:lnTo>
                <a:lnTo>
                  <a:pt x="28" y="93"/>
                </a:lnTo>
                <a:lnTo>
                  <a:pt x="20" y="90"/>
                </a:lnTo>
                <a:lnTo>
                  <a:pt x="17" y="102"/>
                </a:lnTo>
                <a:lnTo>
                  <a:pt x="23" y="115"/>
                </a:lnTo>
                <a:lnTo>
                  <a:pt x="23" y="151"/>
                </a:lnTo>
                <a:lnTo>
                  <a:pt x="47" y="151"/>
                </a:lnTo>
                <a:lnTo>
                  <a:pt x="42" y="160"/>
                </a:lnTo>
                <a:lnTo>
                  <a:pt x="53" y="164"/>
                </a:lnTo>
                <a:lnTo>
                  <a:pt x="56" y="178"/>
                </a:lnTo>
                <a:lnTo>
                  <a:pt x="39" y="192"/>
                </a:lnTo>
                <a:lnTo>
                  <a:pt x="42" y="200"/>
                </a:lnTo>
                <a:lnTo>
                  <a:pt x="25" y="200"/>
                </a:lnTo>
                <a:lnTo>
                  <a:pt x="20" y="211"/>
                </a:lnTo>
                <a:lnTo>
                  <a:pt x="25" y="217"/>
                </a:lnTo>
                <a:lnTo>
                  <a:pt x="3" y="234"/>
                </a:lnTo>
                <a:lnTo>
                  <a:pt x="0" y="262"/>
                </a:lnTo>
                <a:lnTo>
                  <a:pt x="13" y="260"/>
                </a:lnTo>
                <a:lnTo>
                  <a:pt x="31" y="279"/>
                </a:lnTo>
                <a:lnTo>
                  <a:pt x="45" y="283"/>
                </a:lnTo>
                <a:lnTo>
                  <a:pt x="147" y="229"/>
                </a:lnTo>
                <a:lnTo>
                  <a:pt x="257" y="164"/>
                </a:lnTo>
                <a:lnTo>
                  <a:pt x="263" y="143"/>
                </a:lnTo>
                <a:lnTo>
                  <a:pt x="271" y="53"/>
                </a:lnTo>
                <a:lnTo>
                  <a:pt x="296" y="42"/>
                </a:lnTo>
                <a:lnTo>
                  <a:pt x="311" y="19"/>
                </a:lnTo>
                <a:lnTo>
                  <a:pt x="319" y="16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11" name="Freeform 100"/>
          <p:cNvSpPr>
            <a:spLocks noChangeAspect="1"/>
          </p:cNvSpPr>
          <p:nvPr/>
        </p:nvSpPr>
        <p:spPr bwMode="gray">
          <a:xfrm>
            <a:off x="5191125" y="3003550"/>
            <a:ext cx="39688" cy="46038"/>
          </a:xfrm>
          <a:custGeom>
            <a:avLst/>
            <a:gdLst>
              <a:gd name="T0" fmla="*/ 0 w 80"/>
              <a:gd name="T1" fmla="*/ 2147483647 h 91"/>
              <a:gd name="T2" fmla="*/ 2147483647 w 80"/>
              <a:gd name="T3" fmla="*/ 2147483647 h 91"/>
              <a:gd name="T4" fmla="*/ 2147483647 w 80"/>
              <a:gd name="T5" fmla="*/ 2147483647 h 91"/>
              <a:gd name="T6" fmla="*/ 2147483647 w 80"/>
              <a:gd name="T7" fmla="*/ 0 h 91"/>
              <a:gd name="T8" fmla="*/ 2147483647 w 80"/>
              <a:gd name="T9" fmla="*/ 0 h 91"/>
              <a:gd name="T10" fmla="*/ 2147483647 w 80"/>
              <a:gd name="T11" fmla="*/ 2147483647 h 91"/>
              <a:gd name="T12" fmla="*/ 2147483647 w 80"/>
              <a:gd name="T13" fmla="*/ 2147483647 h 91"/>
              <a:gd name="T14" fmla="*/ 2147483647 w 80"/>
              <a:gd name="T15" fmla="*/ 2147483647 h 91"/>
              <a:gd name="T16" fmla="*/ 2147483647 w 80"/>
              <a:gd name="T17" fmla="*/ 2147483647 h 91"/>
              <a:gd name="T18" fmla="*/ 2147483647 w 80"/>
              <a:gd name="T19" fmla="*/ 2147483647 h 91"/>
              <a:gd name="T20" fmla="*/ 2147483647 w 80"/>
              <a:gd name="T21" fmla="*/ 2147483647 h 91"/>
              <a:gd name="T22" fmla="*/ 2147483647 w 80"/>
              <a:gd name="T23" fmla="*/ 2147483647 h 91"/>
              <a:gd name="T24" fmla="*/ 2147483647 w 80"/>
              <a:gd name="T25" fmla="*/ 2147483647 h 91"/>
              <a:gd name="T26" fmla="*/ 2147483647 w 80"/>
              <a:gd name="T27" fmla="*/ 2147483647 h 91"/>
              <a:gd name="T28" fmla="*/ 2147483647 w 80"/>
              <a:gd name="T29" fmla="*/ 2147483647 h 91"/>
              <a:gd name="T30" fmla="*/ 2147483647 w 80"/>
              <a:gd name="T31" fmla="*/ 2147483647 h 91"/>
              <a:gd name="T32" fmla="*/ 0 w 80"/>
              <a:gd name="T33" fmla="*/ 2147483647 h 91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80"/>
              <a:gd name="T52" fmla="*/ 0 h 91"/>
              <a:gd name="T53" fmla="*/ 80 w 80"/>
              <a:gd name="T54" fmla="*/ 91 h 91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80" h="91">
                <a:moveTo>
                  <a:pt x="0" y="89"/>
                </a:moveTo>
                <a:lnTo>
                  <a:pt x="35" y="20"/>
                </a:lnTo>
                <a:lnTo>
                  <a:pt x="49" y="9"/>
                </a:lnTo>
                <a:lnTo>
                  <a:pt x="47" y="0"/>
                </a:lnTo>
                <a:lnTo>
                  <a:pt x="71" y="0"/>
                </a:lnTo>
                <a:lnTo>
                  <a:pt x="66" y="9"/>
                </a:lnTo>
                <a:lnTo>
                  <a:pt x="77" y="13"/>
                </a:lnTo>
                <a:lnTo>
                  <a:pt x="80" y="27"/>
                </a:lnTo>
                <a:lnTo>
                  <a:pt x="63" y="41"/>
                </a:lnTo>
                <a:lnTo>
                  <a:pt x="66" y="49"/>
                </a:lnTo>
                <a:lnTo>
                  <a:pt x="49" y="49"/>
                </a:lnTo>
                <a:lnTo>
                  <a:pt x="44" y="60"/>
                </a:lnTo>
                <a:lnTo>
                  <a:pt x="49" y="66"/>
                </a:lnTo>
                <a:lnTo>
                  <a:pt x="27" y="83"/>
                </a:lnTo>
                <a:lnTo>
                  <a:pt x="24" y="81"/>
                </a:lnTo>
                <a:lnTo>
                  <a:pt x="22" y="91"/>
                </a:lnTo>
                <a:lnTo>
                  <a:pt x="0" y="89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12" name="Freeform 101"/>
          <p:cNvSpPr>
            <a:spLocks noChangeAspect="1"/>
          </p:cNvSpPr>
          <p:nvPr/>
        </p:nvSpPr>
        <p:spPr bwMode="gray">
          <a:xfrm>
            <a:off x="5300663" y="2746375"/>
            <a:ext cx="150812" cy="73025"/>
          </a:xfrm>
          <a:custGeom>
            <a:avLst/>
            <a:gdLst>
              <a:gd name="T0" fmla="*/ 0 w 310"/>
              <a:gd name="T1" fmla="*/ 2147483647 h 152"/>
              <a:gd name="T2" fmla="*/ 2147483647 w 310"/>
              <a:gd name="T3" fmla="*/ 0 h 152"/>
              <a:gd name="T4" fmla="*/ 2147483647 w 310"/>
              <a:gd name="T5" fmla="*/ 2147483647 h 152"/>
              <a:gd name="T6" fmla="*/ 2147483647 w 310"/>
              <a:gd name="T7" fmla="*/ 2147483647 h 152"/>
              <a:gd name="T8" fmla="*/ 2147483647 w 310"/>
              <a:gd name="T9" fmla="*/ 2147483647 h 152"/>
              <a:gd name="T10" fmla="*/ 2147483647 w 310"/>
              <a:gd name="T11" fmla="*/ 2147483647 h 152"/>
              <a:gd name="T12" fmla="*/ 2147483647 w 310"/>
              <a:gd name="T13" fmla="*/ 2147483647 h 152"/>
              <a:gd name="T14" fmla="*/ 2147483647 w 310"/>
              <a:gd name="T15" fmla="*/ 2147483647 h 152"/>
              <a:gd name="T16" fmla="*/ 2147483647 w 310"/>
              <a:gd name="T17" fmla="*/ 2147483647 h 152"/>
              <a:gd name="T18" fmla="*/ 2147483647 w 310"/>
              <a:gd name="T19" fmla="*/ 2147483647 h 152"/>
              <a:gd name="T20" fmla="*/ 2147483647 w 310"/>
              <a:gd name="T21" fmla="*/ 2147483647 h 152"/>
              <a:gd name="T22" fmla="*/ 2147483647 w 310"/>
              <a:gd name="T23" fmla="*/ 2147483647 h 152"/>
              <a:gd name="T24" fmla="*/ 2147483647 w 310"/>
              <a:gd name="T25" fmla="*/ 2147483647 h 152"/>
              <a:gd name="T26" fmla="*/ 2147483647 w 310"/>
              <a:gd name="T27" fmla="*/ 2147483647 h 152"/>
              <a:gd name="T28" fmla="*/ 2147483647 w 310"/>
              <a:gd name="T29" fmla="*/ 2147483647 h 152"/>
              <a:gd name="T30" fmla="*/ 2147483647 w 310"/>
              <a:gd name="T31" fmla="*/ 2147483647 h 152"/>
              <a:gd name="T32" fmla="*/ 2147483647 w 310"/>
              <a:gd name="T33" fmla="*/ 2147483647 h 152"/>
              <a:gd name="T34" fmla="*/ 2147483647 w 310"/>
              <a:gd name="T35" fmla="*/ 2147483647 h 152"/>
              <a:gd name="T36" fmla="*/ 2147483647 w 310"/>
              <a:gd name="T37" fmla="*/ 2147483647 h 152"/>
              <a:gd name="T38" fmla="*/ 2147483647 w 310"/>
              <a:gd name="T39" fmla="*/ 2147483647 h 152"/>
              <a:gd name="T40" fmla="*/ 2147483647 w 310"/>
              <a:gd name="T41" fmla="*/ 2147483647 h 152"/>
              <a:gd name="T42" fmla="*/ 2147483647 w 310"/>
              <a:gd name="T43" fmla="*/ 2147483647 h 152"/>
              <a:gd name="T44" fmla="*/ 2147483647 w 310"/>
              <a:gd name="T45" fmla="*/ 2147483647 h 152"/>
              <a:gd name="T46" fmla="*/ 2147483647 w 310"/>
              <a:gd name="T47" fmla="*/ 2147483647 h 152"/>
              <a:gd name="T48" fmla="*/ 2147483647 w 310"/>
              <a:gd name="T49" fmla="*/ 2147483647 h 152"/>
              <a:gd name="T50" fmla="*/ 2147483647 w 310"/>
              <a:gd name="T51" fmla="*/ 2147483647 h 152"/>
              <a:gd name="T52" fmla="*/ 0 w 310"/>
              <a:gd name="T53" fmla="*/ 2147483647 h 152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310"/>
              <a:gd name="T82" fmla="*/ 0 h 152"/>
              <a:gd name="T83" fmla="*/ 310 w 310"/>
              <a:gd name="T84" fmla="*/ 152 h 152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310" h="152">
                <a:moveTo>
                  <a:pt x="0" y="5"/>
                </a:moveTo>
                <a:lnTo>
                  <a:pt x="34" y="0"/>
                </a:lnTo>
                <a:lnTo>
                  <a:pt x="84" y="20"/>
                </a:lnTo>
                <a:lnTo>
                  <a:pt x="139" y="24"/>
                </a:lnTo>
                <a:lnTo>
                  <a:pt x="189" y="61"/>
                </a:lnTo>
                <a:lnTo>
                  <a:pt x="244" y="54"/>
                </a:lnTo>
                <a:lnTo>
                  <a:pt x="268" y="65"/>
                </a:lnTo>
                <a:lnTo>
                  <a:pt x="268" y="85"/>
                </a:lnTo>
                <a:lnTo>
                  <a:pt x="300" y="105"/>
                </a:lnTo>
                <a:lnTo>
                  <a:pt x="290" y="121"/>
                </a:lnTo>
                <a:lnTo>
                  <a:pt x="307" y="139"/>
                </a:lnTo>
                <a:lnTo>
                  <a:pt x="310" y="146"/>
                </a:lnTo>
                <a:lnTo>
                  <a:pt x="307" y="150"/>
                </a:lnTo>
                <a:lnTo>
                  <a:pt x="280" y="146"/>
                </a:lnTo>
                <a:lnTo>
                  <a:pt x="256" y="132"/>
                </a:lnTo>
                <a:lnTo>
                  <a:pt x="234" y="141"/>
                </a:lnTo>
                <a:lnTo>
                  <a:pt x="161" y="152"/>
                </a:lnTo>
                <a:lnTo>
                  <a:pt x="136" y="125"/>
                </a:lnTo>
                <a:lnTo>
                  <a:pt x="115" y="133"/>
                </a:lnTo>
                <a:lnTo>
                  <a:pt x="82" y="130"/>
                </a:lnTo>
                <a:lnTo>
                  <a:pt x="76" y="125"/>
                </a:lnTo>
                <a:lnTo>
                  <a:pt x="85" y="118"/>
                </a:lnTo>
                <a:lnTo>
                  <a:pt x="87" y="96"/>
                </a:lnTo>
                <a:lnTo>
                  <a:pt x="68" y="51"/>
                </a:lnTo>
                <a:lnTo>
                  <a:pt x="50" y="34"/>
                </a:lnTo>
                <a:lnTo>
                  <a:pt x="20" y="25"/>
                </a:lnTo>
                <a:lnTo>
                  <a:pt x="0" y="5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13" name="Freeform 102"/>
          <p:cNvSpPr>
            <a:spLocks noChangeAspect="1"/>
          </p:cNvSpPr>
          <p:nvPr/>
        </p:nvSpPr>
        <p:spPr bwMode="gray">
          <a:xfrm>
            <a:off x="5181600" y="3071813"/>
            <a:ext cx="476250" cy="406400"/>
          </a:xfrm>
          <a:custGeom>
            <a:avLst/>
            <a:gdLst>
              <a:gd name="T0" fmla="*/ 2147483647 w 974"/>
              <a:gd name="T1" fmla="*/ 2147483647 h 835"/>
              <a:gd name="T2" fmla="*/ 2147483647 w 974"/>
              <a:gd name="T3" fmla="*/ 2147483647 h 835"/>
              <a:gd name="T4" fmla="*/ 2147483647 w 974"/>
              <a:gd name="T5" fmla="*/ 2147483647 h 835"/>
              <a:gd name="T6" fmla="*/ 2147483647 w 974"/>
              <a:gd name="T7" fmla="*/ 2147483647 h 835"/>
              <a:gd name="T8" fmla="*/ 2147483647 w 974"/>
              <a:gd name="T9" fmla="*/ 2147483647 h 835"/>
              <a:gd name="T10" fmla="*/ 2147483647 w 974"/>
              <a:gd name="T11" fmla="*/ 2147483647 h 835"/>
              <a:gd name="T12" fmla="*/ 2147483647 w 974"/>
              <a:gd name="T13" fmla="*/ 2147483647 h 835"/>
              <a:gd name="T14" fmla="*/ 2147483647 w 974"/>
              <a:gd name="T15" fmla="*/ 2147483647 h 835"/>
              <a:gd name="T16" fmla="*/ 2147483647 w 974"/>
              <a:gd name="T17" fmla="*/ 2147483647 h 835"/>
              <a:gd name="T18" fmla="*/ 2147483647 w 974"/>
              <a:gd name="T19" fmla="*/ 2147483647 h 835"/>
              <a:gd name="T20" fmla="*/ 2147483647 w 974"/>
              <a:gd name="T21" fmla="*/ 2147483647 h 835"/>
              <a:gd name="T22" fmla="*/ 2147483647 w 974"/>
              <a:gd name="T23" fmla="*/ 2147483647 h 835"/>
              <a:gd name="T24" fmla="*/ 2147483647 w 974"/>
              <a:gd name="T25" fmla="*/ 2147483647 h 835"/>
              <a:gd name="T26" fmla="*/ 2147483647 w 974"/>
              <a:gd name="T27" fmla="*/ 2147483647 h 835"/>
              <a:gd name="T28" fmla="*/ 2147483647 w 974"/>
              <a:gd name="T29" fmla="*/ 0 h 835"/>
              <a:gd name="T30" fmla="*/ 2147483647 w 974"/>
              <a:gd name="T31" fmla="*/ 2147483647 h 835"/>
              <a:gd name="T32" fmla="*/ 2147483647 w 974"/>
              <a:gd name="T33" fmla="*/ 2147483647 h 835"/>
              <a:gd name="T34" fmla="*/ 2147483647 w 974"/>
              <a:gd name="T35" fmla="*/ 2147483647 h 835"/>
              <a:gd name="T36" fmla="*/ 2147483647 w 974"/>
              <a:gd name="T37" fmla="*/ 2147483647 h 835"/>
              <a:gd name="T38" fmla="*/ 2147483647 w 974"/>
              <a:gd name="T39" fmla="*/ 2147483647 h 835"/>
              <a:gd name="T40" fmla="*/ 0 w 974"/>
              <a:gd name="T41" fmla="*/ 2147483647 h 835"/>
              <a:gd name="T42" fmla="*/ 2147483647 w 974"/>
              <a:gd name="T43" fmla="*/ 2147483647 h 835"/>
              <a:gd name="T44" fmla="*/ 2147483647 w 974"/>
              <a:gd name="T45" fmla="*/ 2147483647 h 835"/>
              <a:gd name="T46" fmla="*/ 2147483647 w 974"/>
              <a:gd name="T47" fmla="*/ 2147483647 h 835"/>
              <a:gd name="T48" fmla="*/ 2147483647 w 974"/>
              <a:gd name="T49" fmla="*/ 2147483647 h 835"/>
              <a:gd name="T50" fmla="*/ 2147483647 w 974"/>
              <a:gd name="T51" fmla="*/ 2147483647 h 835"/>
              <a:gd name="T52" fmla="*/ 2147483647 w 974"/>
              <a:gd name="T53" fmla="*/ 2147483647 h 835"/>
              <a:gd name="T54" fmla="*/ 2147483647 w 974"/>
              <a:gd name="T55" fmla="*/ 2147483647 h 835"/>
              <a:gd name="T56" fmla="*/ 2147483647 w 974"/>
              <a:gd name="T57" fmla="*/ 2147483647 h 835"/>
              <a:gd name="T58" fmla="*/ 2147483647 w 974"/>
              <a:gd name="T59" fmla="*/ 2147483647 h 835"/>
              <a:gd name="T60" fmla="*/ 2147483647 w 974"/>
              <a:gd name="T61" fmla="*/ 2147483647 h 835"/>
              <a:gd name="T62" fmla="*/ 2147483647 w 974"/>
              <a:gd name="T63" fmla="*/ 2147483647 h 835"/>
              <a:gd name="T64" fmla="*/ 2147483647 w 974"/>
              <a:gd name="T65" fmla="*/ 2147483647 h 835"/>
              <a:gd name="T66" fmla="*/ 2147483647 w 974"/>
              <a:gd name="T67" fmla="*/ 2147483647 h 835"/>
              <a:gd name="T68" fmla="*/ 2147483647 w 974"/>
              <a:gd name="T69" fmla="*/ 2147483647 h 835"/>
              <a:gd name="T70" fmla="*/ 2147483647 w 974"/>
              <a:gd name="T71" fmla="*/ 2147483647 h 835"/>
              <a:gd name="T72" fmla="*/ 2147483647 w 974"/>
              <a:gd name="T73" fmla="*/ 2147483647 h 835"/>
              <a:gd name="T74" fmla="*/ 2147483647 w 974"/>
              <a:gd name="T75" fmla="*/ 2147483647 h 835"/>
              <a:gd name="T76" fmla="*/ 2147483647 w 974"/>
              <a:gd name="T77" fmla="*/ 2147483647 h 835"/>
              <a:gd name="T78" fmla="*/ 2147483647 w 974"/>
              <a:gd name="T79" fmla="*/ 2147483647 h 835"/>
              <a:gd name="T80" fmla="*/ 2147483647 w 974"/>
              <a:gd name="T81" fmla="*/ 2147483647 h 835"/>
              <a:gd name="T82" fmla="*/ 2147483647 w 974"/>
              <a:gd name="T83" fmla="*/ 2147483647 h 835"/>
              <a:gd name="T84" fmla="*/ 2147483647 w 974"/>
              <a:gd name="T85" fmla="*/ 2147483647 h 835"/>
              <a:gd name="T86" fmla="*/ 2147483647 w 974"/>
              <a:gd name="T87" fmla="*/ 2147483647 h 835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974"/>
              <a:gd name="T133" fmla="*/ 0 h 835"/>
              <a:gd name="T134" fmla="*/ 974 w 974"/>
              <a:gd name="T135" fmla="*/ 835 h 835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974" h="835">
                <a:moveTo>
                  <a:pt x="942" y="501"/>
                </a:moveTo>
                <a:lnTo>
                  <a:pt x="908" y="495"/>
                </a:lnTo>
                <a:lnTo>
                  <a:pt x="872" y="489"/>
                </a:lnTo>
                <a:lnTo>
                  <a:pt x="838" y="482"/>
                </a:lnTo>
                <a:lnTo>
                  <a:pt x="803" y="477"/>
                </a:lnTo>
                <a:lnTo>
                  <a:pt x="789" y="435"/>
                </a:lnTo>
                <a:lnTo>
                  <a:pt x="762" y="411"/>
                </a:lnTo>
                <a:lnTo>
                  <a:pt x="759" y="399"/>
                </a:lnTo>
                <a:lnTo>
                  <a:pt x="747" y="387"/>
                </a:lnTo>
                <a:lnTo>
                  <a:pt x="737" y="372"/>
                </a:lnTo>
                <a:lnTo>
                  <a:pt x="733" y="355"/>
                </a:lnTo>
                <a:lnTo>
                  <a:pt x="715" y="333"/>
                </a:lnTo>
                <a:lnTo>
                  <a:pt x="721" y="314"/>
                </a:lnTo>
                <a:lnTo>
                  <a:pt x="712" y="300"/>
                </a:lnTo>
                <a:lnTo>
                  <a:pt x="713" y="289"/>
                </a:lnTo>
                <a:lnTo>
                  <a:pt x="679" y="266"/>
                </a:lnTo>
                <a:lnTo>
                  <a:pt x="678" y="250"/>
                </a:lnTo>
                <a:lnTo>
                  <a:pt x="654" y="230"/>
                </a:lnTo>
                <a:lnTo>
                  <a:pt x="636" y="193"/>
                </a:lnTo>
                <a:lnTo>
                  <a:pt x="606" y="193"/>
                </a:lnTo>
                <a:lnTo>
                  <a:pt x="594" y="174"/>
                </a:lnTo>
                <a:lnTo>
                  <a:pt x="554" y="164"/>
                </a:lnTo>
                <a:lnTo>
                  <a:pt x="471" y="159"/>
                </a:lnTo>
                <a:lnTo>
                  <a:pt x="419" y="133"/>
                </a:lnTo>
                <a:lnTo>
                  <a:pt x="416" y="96"/>
                </a:lnTo>
                <a:lnTo>
                  <a:pt x="391" y="94"/>
                </a:lnTo>
                <a:lnTo>
                  <a:pt x="380" y="74"/>
                </a:lnTo>
                <a:lnTo>
                  <a:pt x="332" y="57"/>
                </a:lnTo>
                <a:lnTo>
                  <a:pt x="280" y="18"/>
                </a:lnTo>
                <a:lnTo>
                  <a:pt x="210" y="0"/>
                </a:lnTo>
                <a:lnTo>
                  <a:pt x="195" y="15"/>
                </a:lnTo>
                <a:lnTo>
                  <a:pt x="107" y="34"/>
                </a:lnTo>
                <a:lnTo>
                  <a:pt x="158" y="85"/>
                </a:lnTo>
                <a:lnTo>
                  <a:pt x="138" y="96"/>
                </a:lnTo>
                <a:lnTo>
                  <a:pt x="133" y="119"/>
                </a:lnTo>
                <a:lnTo>
                  <a:pt x="97" y="123"/>
                </a:lnTo>
                <a:lnTo>
                  <a:pt x="83" y="147"/>
                </a:lnTo>
                <a:lnTo>
                  <a:pt x="70" y="162"/>
                </a:lnTo>
                <a:lnTo>
                  <a:pt x="17" y="156"/>
                </a:lnTo>
                <a:lnTo>
                  <a:pt x="15" y="148"/>
                </a:lnTo>
                <a:lnTo>
                  <a:pt x="11" y="195"/>
                </a:lnTo>
                <a:lnTo>
                  <a:pt x="0" y="218"/>
                </a:lnTo>
                <a:lnTo>
                  <a:pt x="7" y="215"/>
                </a:lnTo>
                <a:lnTo>
                  <a:pt x="28" y="219"/>
                </a:lnTo>
                <a:lnTo>
                  <a:pt x="53" y="267"/>
                </a:lnTo>
                <a:lnTo>
                  <a:pt x="74" y="292"/>
                </a:lnTo>
                <a:lnTo>
                  <a:pt x="94" y="331"/>
                </a:lnTo>
                <a:lnTo>
                  <a:pt x="113" y="355"/>
                </a:lnTo>
                <a:lnTo>
                  <a:pt x="121" y="389"/>
                </a:lnTo>
                <a:lnTo>
                  <a:pt x="131" y="410"/>
                </a:lnTo>
                <a:lnTo>
                  <a:pt x="150" y="413"/>
                </a:lnTo>
                <a:lnTo>
                  <a:pt x="175" y="435"/>
                </a:lnTo>
                <a:lnTo>
                  <a:pt x="207" y="506"/>
                </a:lnTo>
                <a:lnTo>
                  <a:pt x="202" y="529"/>
                </a:lnTo>
                <a:lnTo>
                  <a:pt x="219" y="591"/>
                </a:lnTo>
                <a:lnTo>
                  <a:pt x="266" y="619"/>
                </a:lnTo>
                <a:lnTo>
                  <a:pt x="292" y="648"/>
                </a:lnTo>
                <a:lnTo>
                  <a:pt x="302" y="684"/>
                </a:lnTo>
                <a:lnTo>
                  <a:pt x="326" y="721"/>
                </a:lnTo>
                <a:lnTo>
                  <a:pt x="353" y="744"/>
                </a:lnTo>
                <a:lnTo>
                  <a:pt x="356" y="758"/>
                </a:lnTo>
                <a:lnTo>
                  <a:pt x="373" y="783"/>
                </a:lnTo>
                <a:lnTo>
                  <a:pt x="374" y="797"/>
                </a:lnTo>
                <a:lnTo>
                  <a:pt x="383" y="794"/>
                </a:lnTo>
                <a:lnTo>
                  <a:pt x="390" y="781"/>
                </a:lnTo>
                <a:lnTo>
                  <a:pt x="408" y="767"/>
                </a:lnTo>
                <a:lnTo>
                  <a:pt x="456" y="755"/>
                </a:lnTo>
                <a:lnTo>
                  <a:pt x="498" y="770"/>
                </a:lnTo>
                <a:lnTo>
                  <a:pt x="541" y="783"/>
                </a:lnTo>
                <a:lnTo>
                  <a:pt x="541" y="835"/>
                </a:lnTo>
                <a:lnTo>
                  <a:pt x="569" y="804"/>
                </a:lnTo>
                <a:lnTo>
                  <a:pt x="598" y="772"/>
                </a:lnTo>
                <a:lnTo>
                  <a:pt x="627" y="739"/>
                </a:lnTo>
                <a:lnTo>
                  <a:pt x="656" y="707"/>
                </a:lnTo>
                <a:lnTo>
                  <a:pt x="693" y="699"/>
                </a:lnTo>
                <a:lnTo>
                  <a:pt x="730" y="690"/>
                </a:lnTo>
                <a:lnTo>
                  <a:pt x="767" y="682"/>
                </a:lnTo>
                <a:lnTo>
                  <a:pt x="803" y="673"/>
                </a:lnTo>
                <a:lnTo>
                  <a:pt x="838" y="660"/>
                </a:lnTo>
                <a:lnTo>
                  <a:pt x="872" y="648"/>
                </a:lnTo>
                <a:lnTo>
                  <a:pt x="908" y="636"/>
                </a:lnTo>
                <a:lnTo>
                  <a:pt x="942" y="625"/>
                </a:lnTo>
                <a:lnTo>
                  <a:pt x="950" y="600"/>
                </a:lnTo>
                <a:lnTo>
                  <a:pt x="959" y="575"/>
                </a:lnTo>
                <a:lnTo>
                  <a:pt x="965" y="552"/>
                </a:lnTo>
                <a:lnTo>
                  <a:pt x="974" y="526"/>
                </a:lnTo>
                <a:lnTo>
                  <a:pt x="953" y="492"/>
                </a:lnTo>
                <a:lnTo>
                  <a:pt x="942" y="501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14" name="Freeform 103"/>
          <p:cNvSpPr>
            <a:spLocks noChangeAspect="1"/>
          </p:cNvSpPr>
          <p:nvPr/>
        </p:nvSpPr>
        <p:spPr bwMode="gray">
          <a:xfrm>
            <a:off x="5662613" y="2681288"/>
            <a:ext cx="384175" cy="250825"/>
          </a:xfrm>
          <a:custGeom>
            <a:avLst/>
            <a:gdLst>
              <a:gd name="T0" fmla="*/ 2147483647 w 791"/>
              <a:gd name="T1" fmla="*/ 2147483647 h 514"/>
              <a:gd name="T2" fmla="*/ 2147483647 w 791"/>
              <a:gd name="T3" fmla="*/ 2147483647 h 514"/>
              <a:gd name="T4" fmla="*/ 2147483647 w 791"/>
              <a:gd name="T5" fmla="*/ 2147483647 h 514"/>
              <a:gd name="T6" fmla="*/ 2147483647 w 791"/>
              <a:gd name="T7" fmla="*/ 2147483647 h 514"/>
              <a:gd name="T8" fmla="*/ 2147483647 w 791"/>
              <a:gd name="T9" fmla="*/ 2147483647 h 514"/>
              <a:gd name="T10" fmla="*/ 2147483647 w 791"/>
              <a:gd name="T11" fmla="*/ 2147483647 h 514"/>
              <a:gd name="T12" fmla="*/ 2147483647 w 791"/>
              <a:gd name="T13" fmla="*/ 2147483647 h 514"/>
              <a:gd name="T14" fmla="*/ 0 w 791"/>
              <a:gd name="T15" fmla="*/ 2147483647 h 514"/>
              <a:gd name="T16" fmla="*/ 2147483647 w 791"/>
              <a:gd name="T17" fmla="*/ 2147483647 h 514"/>
              <a:gd name="T18" fmla="*/ 2147483647 w 791"/>
              <a:gd name="T19" fmla="*/ 2147483647 h 514"/>
              <a:gd name="T20" fmla="*/ 2147483647 w 791"/>
              <a:gd name="T21" fmla="*/ 2147483647 h 514"/>
              <a:gd name="T22" fmla="*/ 2147483647 w 791"/>
              <a:gd name="T23" fmla="*/ 2147483647 h 514"/>
              <a:gd name="T24" fmla="*/ 2147483647 w 791"/>
              <a:gd name="T25" fmla="*/ 2147483647 h 514"/>
              <a:gd name="T26" fmla="*/ 2147483647 w 791"/>
              <a:gd name="T27" fmla="*/ 2147483647 h 514"/>
              <a:gd name="T28" fmla="*/ 2147483647 w 791"/>
              <a:gd name="T29" fmla="*/ 2147483647 h 514"/>
              <a:gd name="T30" fmla="*/ 2147483647 w 791"/>
              <a:gd name="T31" fmla="*/ 2147483647 h 514"/>
              <a:gd name="T32" fmla="*/ 2147483647 w 791"/>
              <a:gd name="T33" fmla="*/ 2147483647 h 514"/>
              <a:gd name="T34" fmla="*/ 2147483647 w 791"/>
              <a:gd name="T35" fmla="*/ 2147483647 h 514"/>
              <a:gd name="T36" fmla="*/ 2147483647 w 791"/>
              <a:gd name="T37" fmla="*/ 2147483647 h 514"/>
              <a:gd name="T38" fmla="*/ 2147483647 w 791"/>
              <a:gd name="T39" fmla="*/ 2147483647 h 514"/>
              <a:gd name="T40" fmla="*/ 2147483647 w 791"/>
              <a:gd name="T41" fmla="*/ 2147483647 h 514"/>
              <a:gd name="T42" fmla="*/ 2147483647 w 791"/>
              <a:gd name="T43" fmla="*/ 2147483647 h 514"/>
              <a:gd name="T44" fmla="*/ 2147483647 w 791"/>
              <a:gd name="T45" fmla="*/ 2147483647 h 514"/>
              <a:gd name="T46" fmla="*/ 2147483647 w 791"/>
              <a:gd name="T47" fmla="*/ 2147483647 h 514"/>
              <a:gd name="T48" fmla="*/ 2147483647 w 791"/>
              <a:gd name="T49" fmla="*/ 2147483647 h 514"/>
              <a:gd name="T50" fmla="*/ 2147483647 w 791"/>
              <a:gd name="T51" fmla="*/ 2147483647 h 514"/>
              <a:gd name="T52" fmla="*/ 2147483647 w 791"/>
              <a:gd name="T53" fmla="*/ 2147483647 h 514"/>
              <a:gd name="T54" fmla="*/ 2147483647 w 791"/>
              <a:gd name="T55" fmla="*/ 2147483647 h 514"/>
              <a:gd name="T56" fmla="*/ 2147483647 w 791"/>
              <a:gd name="T57" fmla="*/ 2147483647 h 514"/>
              <a:gd name="T58" fmla="*/ 2147483647 w 791"/>
              <a:gd name="T59" fmla="*/ 2147483647 h 514"/>
              <a:gd name="T60" fmla="*/ 2147483647 w 791"/>
              <a:gd name="T61" fmla="*/ 2147483647 h 514"/>
              <a:gd name="T62" fmla="*/ 2147483647 w 791"/>
              <a:gd name="T63" fmla="*/ 2147483647 h 514"/>
              <a:gd name="T64" fmla="*/ 2147483647 w 791"/>
              <a:gd name="T65" fmla="*/ 2147483647 h 514"/>
              <a:gd name="T66" fmla="*/ 2147483647 w 791"/>
              <a:gd name="T67" fmla="*/ 2147483647 h 514"/>
              <a:gd name="T68" fmla="*/ 2147483647 w 791"/>
              <a:gd name="T69" fmla="*/ 2147483647 h 514"/>
              <a:gd name="T70" fmla="*/ 2147483647 w 791"/>
              <a:gd name="T71" fmla="*/ 2147483647 h 514"/>
              <a:gd name="T72" fmla="*/ 2147483647 w 791"/>
              <a:gd name="T73" fmla="*/ 2147483647 h 514"/>
              <a:gd name="T74" fmla="*/ 2147483647 w 791"/>
              <a:gd name="T75" fmla="*/ 2147483647 h 514"/>
              <a:gd name="T76" fmla="*/ 2147483647 w 791"/>
              <a:gd name="T77" fmla="*/ 2147483647 h 514"/>
              <a:gd name="T78" fmla="*/ 2147483647 w 791"/>
              <a:gd name="T79" fmla="*/ 2147483647 h 514"/>
              <a:gd name="T80" fmla="*/ 2147483647 w 791"/>
              <a:gd name="T81" fmla="*/ 2147483647 h 514"/>
              <a:gd name="T82" fmla="*/ 2147483647 w 791"/>
              <a:gd name="T83" fmla="*/ 2147483647 h 514"/>
              <a:gd name="T84" fmla="*/ 2147483647 w 791"/>
              <a:gd name="T85" fmla="*/ 2147483647 h 514"/>
              <a:gd name="T86" fmla="*/ 2147483647 w 791"/>
              <a:gd name="T87" fmla="*/ 2147483647 h 514"/>
              <a:gd name="T88" fmla="*/ 2147483647 w 791"/>
              <a:gd name="T89" fmla="*/ 2147483647 h 514"/>
              <a:gd name="T90" fmla="*/ 2147483647 w 791"/>
              <a:gd name="T91" fmla="*/ 2147483647 h 514"/>
              <a:gd name="T92" fmla="*/ 2147483647 w 791"/>
              <a:gd name="T93" fmla="*/ 2147483647 h 514"/>
              <a:gd name="T94" fmla="*/ 2147483647 w 791"/>
              <a:gd name="T95" fmla="*/ 2147483647 h 514"/>
              <a:gd name="T96" fmla="*/ 2147483647 w 791"/>
              <a:gd name="T97" fmla="*/ 2147483647 h 514"/>
              <a:gd name="T98" fmla="*/ 2147483647 w 791"/>
              <a:gd name="T99" fmla="*/ 2147483647 h 514"/>
              <a:gd name="T100" fmla="*/ 2147483647 w 791"/>
              <a:gd name="T101" fmla="*/ 2147483647 h 514"/>
              <a:gd name="T102" fmla="*/ 2147483647 w 791"/>
              <a:gd name="T103" fmla="*/ 2147483647 h 514"/>
              <a:gd name="T104" fmla="*/ 2147483647 w 791"/>
              <a:gd name="T105" fmla="*/ 2147483647 h 514"/>
              <a:gd name="T106" fmla="*/ 2147483647 w 791"/>
              <a:gd name="T107" fmla="*/ 2147483647 h 51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791"/>
              <a:gd name="T163" fmla="*/ 0 h 514"/>
              <a:gd name="T164" fmla="*/ 791 w 791"/>
              <a:gd name="T165" fmla="*/ 514 h 514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791" h="514">
                <a:moveTo>
                  <a:pt x="415" y="120"/>
                </a:moveTo>
                <a:lnTo>
                  <a:pt x="381" y="123"/>
                </a:lnTo>
                <a:lnTo>
                  <a:pt x="347" y="127"/>
                </a:lnTo>
                <a:lnTo>
                  <a:pt x="313" y="130"/>
                </a:lnTo>
                <a:lnTo>
                  <a:pt x="279" y="133"/>
                </a:lnTo>
                <a:lnTo>
                  <a:pt x="256" y="112"/>
                </a:lnTo>
                <a:lnTo>
                  <a:pt x="234" y="90"/>
                </a:lnTo>
                <a:lnTo>
                  <a:pt x="211" y="67"/>
                </a:lnTo>
                <a:lnTo>
                  <a:pt x="188" y="44"/>
                </a:lnTo>
                <a:lnTo>
                  <a:pt x="143" y="11"/>
                </a:lnTo>
                <a:lnTo>
                  <a:pt x="118" y="0"/>
                </a:lnTo>
                <a:lnTo>
                  <a:pt x="89" y="11"/>
                </a:lnTo>
                <a:lnTo>
                  <a:pt x="59" y="22"/>
                </a:lnTo>
                <a:lnTo>
                  <a:pt x="29" y="31"/>
                </a:lnTo>
                <a:lnTo>
                  <a:pt x="0" y="42"/>
                </a:lnTo>
                <a:lnTo>
                  <a:pt x="0" y="101"/>
                </a:lnTo>
                <a:lnTo>
                  <a:pt x="0" y="155"/>
                </a:lnTo>
                <a:lnTo>
                  <a:pt x="2" y="212"/>
                </a:lnTo>
                <a:lnTo>
                  <a:pt x="2" y="269"/>
                </a:lnTo>
                <a:lnTo>
                  <a:pt x="46" y="276"/>
                </a:lnTo>
                <a:lnTo>
                  <a:pt x="52" y="271"/>
                </a:lnTo>
                <a:lnTo>
                  <a:pt x="44" y="238"/>
                </a:lnTo>
                <a:lnTo>
                  <a:pt x="47" y="234"/>
                </a:lnTo>
                <a:lnTo>
                  <a:pt x="61" y="218"/>
                </a:lnTo>
                <a:lnTo>
                  <a:pt x="88" y="212"/>
                </a:lnTo>
                <a:lnTo>
                  <a:pt x="89" y="201"/>
                </a:lnTo>
                <a:lnTo>
                  <a:pt x="97" y="198"/>
                </a:lnTo>
                <a:lnTo>
                  <a:pt x="114" y="208"/>
                </a:lnTo>
                <a:lnTo>
                  <a:pt x="101" y="191"/>
                </a:lnTo>
                <a:lnTo>
                  <a:pt x="115" y="187"/>
                </a:lnTo>
                <a:lnTo>
                  <a:pt x="122" y="179"/>
                </a:lnTo>
                <a:lnTo>
                  <a:pt x="154" y="208"/>
                </a:lnTo>
                <a:lnTo>
                  <a:pt x="183" y="212"/>
                </a:lnTo>
                <a:lnTo>
                  <a:pt x="185" y="231"/>
                </a:lnTo>
                <a:lnTo>
                  <a:pt x="194" y="240"/>
                </a:lnTo>
                <a:lnTo>
                  <a:pt x="190" y="242"/>
                </a:lnTo>
                <a:lnTo>
                  <a:pt x="188" y="262"/>
                </a:lnTo>
                <a:lnTo>
                  <a:pt x="191" y="267"/>
                </a:lnTo>
                <a:lnTo>
                  <a:pt x="245" y="280"/>
                </a:lnTo>
                <a:lnTo>
                  <a:pt x="259" y="269"/>
                </a:lnTo>
                <a:lnTo>
                  <a:pt x="275" y="280"/>
                </a:lnTo>
                <a:lnTo>
                  <a:pt x="281" y="306"/>
                </a:lnTo>
                <a:lnTo>
                  <a:pt x="295" y="321"/>
                </a:lnTo>
                <a:lnTo>
                  <a:pt x="298" y="342"/>
                </a:lnTo>
                <a:lnTo>
                  <a:pt x="308" y="361"/>
                </a:lnTo>
                <a:lnTo>
                  <a:pt x="349" y="384"/>
                </a:lnTo>
                <a:lnTo>
                  <a:pt x="372" y="407"/>
                </a:lnTo>
                <a:lnTo>
                  <a:pt x="400" y="416"/>
                </a:lnTo>
                <a:lnTo>
                  <a:pt x="439" y="453"/>
                </a:lnTo>
                <a:lnTo>
                  <a:pt x="459" y="450"/>
                </a:lnTo>
                <a:lnTo>
                  <a:pt x="488" y="465"/>
                </a:lnTo>
                <a:lnTo>
                  <a:pt x="493" y="470"/>
                </a:lnTo>
                <a:lnTo>
                  <a:pt x="486" y="482"/>
                </a:lnTo>
                <a:lnTo>
                  <a:pt x="486" y="508"/>
                </a:lnTo>
                <a:lnTo>
                  <a:pt x="544" y="514"/>
                </a:lnTo>
                <a:lnTo>
                  <a:pt x="545" y="509"/>
                </a:lnTo>
                <a:lnTo>
                  <a:pt x="544" y="499"/>
                </a:lnTo>
                <a:lnTo>
                  <a:pt x="549" y="487"/>
                </a:lnTo>
                <a:lnTo>
                  <a:pt x="570" y="458"/>
                </a:lnTo>
                <a:lnTo>
                  <a:pt x="558" y="429"/>
                </a:lnTo>
                <a:lnTo>
                  <a:pt x="559" y="409"/>
                </a:lnTo>
                <a:lnTo>
                  <a:pt x="541" y="406"/>
                </a:lnTo>
                <a:lnTo>
                  <a:pt x="525" y="390"/>
                </a:lnTo>
                <a:lnTo>
                  <a:pt x="532" y="387"/>
                </a:lnTo>
                <a:lnTo>
                  <a:pt x="533" y="373"/>
                </a:lnTo>
                <a:lnTo>
                  <a:pt x="579" y="373"/>
                </a:lnTo>
                <a:lnTo>
                  <a:pt x="589" y="348"/>
                </a:lnTo>
                <a:lnTo>
                  <a:pt x="613" y="338"/>
                </a:lnTo>
                <a:lnTo>
                  <a:pt x="612" y="319"/>
                </a:lnTo>
                <a:lnTo>
                  <a:pt x="618" y="308"/>
                </a:lnTo>
                <a:lnTo>
                  <a:pt x="637" y="310"/>
                </a:lnTo>
                <a:lnTo>
                  <a:pt x="669" y="285"/>
                </a:lnTo>
                <a:lnTo>
                  <a:pt x="674" y="285"/>
                </a:lnTo>
                <a:lnTo>
                  <a:pt x="681" y="305"/>
                </a:lnTo>
                <a:lnTo>
                  <a:pt x="667" y="318"/>
                </a:lnTo>
                <a:lnTo>
                  <a:pt x="671" y="331"/>
                </a:lnTo>
                <a:lnTo>
                  <a:pt x="674" y="336"/>
                </a:lnTo>
                <a:lnTo>
                  <a:pt x="691" y="333"/>
                </a:lnTo>
                <a:lnTo>
                  <a:pt x="733" y="335"/>
                </a:lnTo>
                <a:lnTo>
                  <a:pt x="747" y="321"/>
                </a:lnTo>
                <a:lnTo>
                  <a:pt x="765" y="318"/>
                </a:lnTo>
                <a:lnTo>
                  <a:pt x="791" y="299"/>
                </a:lnTo>
                <a:lnTo>
                  <a:pt x="748" y="285"/>
                </a:lnTo>
                <a:lnTo>
                  <a:pt x="731" y="274"/>
                </a:lnTo>
                <a:lnTo>
                  <a:pt x="731" y="267"/>
                </a:lnTo>
                <a:lnTo>
                  <a:pt x="722" y="259"/>
                </a:lnTo>
                <a:lnTo>
                  <a:pt x="709" y="280"/>
                </a:lnTo>
                <a:lnTo>
                  <a:pt x="684" y="274"/>
                </a:lnTo>
                <a:lnTo>
                  <a:pt x="677" y="262"/>
                </a:lnTo>
                <a:lnTo>
                  <a:pt x="658" y="259"/>
                </a:lnTo>
                <a:lnTo>
                  <a:pt x="658" y="252"/>
                </a:lnTo>
                <a:lnTo>
                  <a:pt x="703" y="218"/>
                </a:lnTo>
                <a:lnTo>
                  <a:pt x="701" y="211"/>
                </a:lnTo>
                <a:lnTo>
                  <a:pt x="688" y="206"/>
                </a:lnTo>
                <a:lnTo>
                  <a:pt x="675" y="223"/>
                </a:lnTo>
                <a:lnTo>
                  <a:pt x="664" y="223"/>
                </a:lnTo>
                <a:lnTo>
                  <a:pt x="652" y="240"/>
                </a:lnTo>
                <a:lnTo>
                  <a:pt x="621" y="255"/>
                </a:lnTo>
                <a:lnTo>
                  <a:pt x="589" y="288"/>
                </a:lnTo>
                <a:lnTo>
                  <a:pt x="550" y="272"/>
                </a:lnTo>
                <a:lnTo>
                  <a:pt x="503" y="277"/>
                </a:lnTo>
                <a:lnTo>
                  <a:pt x="494" y="238"/>
                </a:lnTo>
                <a:lnTo>
                  <a:pt x="468" y="234"/>
                </a:lnTo>
                <a:lnTo>
                  <a:pt x="466" y="208"/>
                </a:lnTo>
                <a:lnTo>
                  <a:pt x="473" y="206"/>
                </a:lnTo>
                <a:lnTo>
                  <a:pt x="473" y="170"/>
                </a:lnTo>
                <a:lnTo>
                  <a:pt x="460" y="172"/>
                </a:lnTo>
                <a:lnTo>
                  <a:pt x="445" y="144"/>
                </a:lnTo>
                <a:lnTo>
                  <a:pt x="415" y="120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15" name="Freeform 104"/>
          <p:cNvSpPr>
            <a:spLocks noChangeAspect="1"/>
          </p:cNvSpPr>
          <p:nvPr/>
        </p:nvSpPr>
        <p:spPr bwMode="gray">
          <a:xfrm>
            <a:off x="6194425" y="3611563"/>
            <a:ext cx="49213" cy="87312"/>
          </a:xfrm>
          <a:custGeom>
            <a:avLst/>
            <a:gdLst>
              <a:gd name="T0" fmla="*/ 2147483647 w 100"/>
              <a:gd name="T1" fmla="*/ 0 h 180"/>
              <a:gd name="T2" fmla="*/ 2147483647 w 100"/>
              <a:gd name="T3" fmla="*/ 2147483647 h 180"/>
              <a:gd name="T4" fmla="*/ 2147483647 w 100"/>
              <a:gd name="T5" fmla="*/ 2147483647 h 180"/>
              <a:gd name="T6" fmla="*/ 2147483647 w 100"/>
              <a:gd name="T7" fmla="*/ 2147483647 h 180"/>
              <a:gd name="T8" fmla="*/ 2147483647 w 100"/>
              <a:gd name="T9" fmla="*/ 2147483647 h 180"/>
              <a:gd name="T10" fmla="*/ 0 w 100"/>
              <a:gd name="T11" fmla="*/ 2147483647 h 180"/>
              <a:gd name="T12" fmla="*/ 2147483647 w 100"/>
              <a:gd name="T13" fmla="*/ 2147483647 h 180"/>
              <a:gd name="T14" fmla="*/ 2147483647 w 100"/>
              <a:gd name="T15" fmla="*/ 2147483647 h 180"/>
              <a:gd name="T16" fmla="*/ 2147483647 w 100"/>
              <a:gd name="T17" fmla="*/ 2147483647 h 180"/>
              <a:gd name="T18" fmla="*/ 2147483647 w 100"/>
              <a:gd name="T19" fmla="*/ 2147483647 h 180"/>
              <a:gd name="T20" fmla="*/ 2147483647 w 100"/>
              <a:gd name="T21" fmla="*/ 2147483647 h 180"/>
              <a:gd name="T22" fmla="*/ 2147483647 w 100"/>
              <a:gd name="T23" fmla="*/ 2147483647 h 180"/>
              <a:gd name="T24" fmla="*/ 2147483647 w 100"/>
              <a:gd name="T25" fmla="*/ 2147483647 h 180"/>
              <a:gd name="T26" fmla="*/ 2147483647 w 100"/>
              <a:gd name="T27" fmla="*/ 2147483647 h 180"/>
              <a:gd name="T28" fmla="*/ 2147483647 w 100"/>
              <a:gd name="T29" fmla="*/ 2147483647 h 180"/>
              <a:gd name="T30" fmla="*/ 2147483647 w 100"/>
              <a:gd name="T31" fmla="*/ 0 h 18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00"/>
              <a:gd name="T49" fmla="*/ 0 h 180"/>
              <a:gd name="T50" fmla="*/ 100 w 100"/>
              <a:gd name="T51" fmla="*/ 180 h 180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00" h="180">
                <a:moveTo>
                  <a:pt x="17" y="0"/>
                </a:moveTo>
                <a:lnTo>
                  <a:pt x="12" y="4"/>
                </a:lnTo>
                <a:lnTo>
                  <a:pt x="28" y="17"/>
                </a:lnTo>
                <a:lnTo>
                  <a:pt x="19" y="23"/>
                </a:lnTo>
                <a:lnTo>
                  <a:pt x="7" y="80"/>
                </a:lnTo>
                <a:lnTo>
                  <a:pt x="0" y="80"/>
                </a:lnTo>
                <a:lnTo>
                  <a:pt x="7" y="141"/>
                </a:lnTo>
                <a:lnTo>
                  <a:pt x="25" y="177"/>
                </a:lnTo>
                <a:lnTo>
                  <a:pt x="50" y="180"/>
                </a:lnTo>
                <a:lnTo>
                  <a:pt x="87" y="158"/>
                </a:lnTo>
                <a:lnTo>
                  <a:pt x="96" y="144"/>
                </a:lnTo>
                <a:lnTo>
                  <a:pt x="100" y="107"/>
                </a:lnTo>
                <a:lnTo>
                  <a:pt x="79" y="65"/>
                </a:lnTo>
                <a:lnTo>
                  <a:pt x="56" y="29"/>
                </a:lnTo>
                <a:lnTo>
                  <a:pt x="30" y="4"/>
                </a:lnTo>
                <a:lnTo>
                  <a:pt x="17" y="0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16" name="Freeform 105"/>
          <p:cNvSpPr>
            <a:spLocks noChangeAspect="1"/>
          </p:cNvSpPr>
          <p:nvPr/>
        </p:nvSpPr>
        <p:spPr bwMode="gray">
          <a:xfrm>
            <a:off x="7199313" y="2767013"/>
            <a:ext cx="141287" cy="153987"/>
          </a:xfrm>
          <a:custGeom>
            <a:avLst/>
            <a:gdLst>
              <a:gd name="T0" fmla="*/ 0 w 292"/>
              <a:gd name="T1" fmla="*/ 2147483647 h 317"/>
              <a:gd name="T2" fmla="*/ 2147483647 w 292"/>
              <a:gd name="T3" fmla="*/ 2147483647 h 317"/>
              <a:gd name="T4" fmla="*/ 2147483647 w 292"/>
              <a:gd name="T5" fmla="*/ 2147483647 h 317"/>
              <a:gd name="T6" fmla="*/ 2147483647 w 292"/>
              <a:gd name="T7" fmla="*/ 2147483647 h 317"/>
              <a:gd name="T8" fmla="*/ 2147483647 w 292"/>
              <a:gd name="T9" fmla="*/ 2147483647 h 317"/>
              <a:gd name="T10" fmla="*/ 2147483647 w 292"/>
              <a:gd name="T11" fmla="*/ 2147483647 h 317"/>
              <a:gd name="T12" fmla="*/ 2147483647 w 292"/>
              <a:gd name="T13" fmla="*/ 2147483647 h 317"/>
              <a:gd name="T14" fmla="*/ 2147483647 w 292"/>
              <a:gd name="T15" fmla="*/ 2147483647 h 317"/>
              <a:gd name="T16" fmla="*/ 2147483647 w 292"/>
              <a:gd name="T17" fmla="*/ 2147483647 h 317"/>
              <a:gd name="T18" fmla="*/ 2147483647 w 292"/>
              <a:gd name="T19" fmla="*/ 2147483647 h 317"/>
              <a:gd name="T20" fmla="*/ 2147483647 w 292"/>
              <a:gd name="T21" fmla="*/ 2147483647 h 317"/>
              <a:gd name="T22" fmla="*/ 2147483647 w 292"/>
              <a:gd name="T23" fmla="*/ 2147483647 h 317"/>
              <a:gd name="T24" fmla="*/ 2147483647 w 292"/>
              <a:gd name="T25" fmla="*/ 2147483647 h 317"/>
              <a:gd name="T26" fmla="*/ 2147483647 w 292"/>
              <a:gd name="T27" fmla="*/ 2147483647 h 317"/>
              <a:gd name="T28" fmla="*/ 2147483647 w 292"/>
              <a:gd name="T29" fmla="*/ 2147483647 h 317"/>
              <a:gd name="T30" fmla="*/ 2147483647 w 292"/>
              <a:gd name="T31" fmla="*/ 2147483647 h 317"/>
              <a:gd name="T32" fmla="*/ 2147483647 w 292"/>
              <a:gd name="T33" fmla="*/ 2147483647 h 317"/>
              <a:gd name="T34" fmla="*/ 2147483647 w 292"/>
              <a:gd name="T35" fmla="*/ 2147483647 h 317"/>
              <a:gd name="T36" fmla="*/ 2147483647 w 292"/>
              <a:gd name="T37" fmla="*/ 2147483647 h 317"/>
              <a:gd name="T38" fmla="*/ 2147483647 w 292"/>
              <a:gd name="T39" fmla="*/ 2147483647 h 317"/>
              <a:gd name="T40" fmla="*/ 2147483647 w 292"/>
              <a:gd name="T41" fmla="*/ 2147483647 h 317"/>
              <a:gd name="T42" fmla="*/ 2147483647 w 292"/>
              <a:gd name="T43" fmla="*/ 2147483647 h 317"/>
              <a:gd name="T44" fmla="*/ 2147483647 w 292"/>
              <a:gd name="T45" fmla="*/ 2147483647 h 317"/>
              <a:gd name="T46" fmla="*/ 2147483647 w 292"/>
              <a:gd name="T47" fmla="*/ 2147483647 h 317"/>
              <a:gd name="T48" fmla="*/ 2147483647 w 292"/>
              <a:gd name="T49" fmla="*/ 2147483647 h 317"/>
              <a:gd name="T50" fmla="*/ 2147483647 w 292"/>
              <a:gd name="T51" fmla="*/ 2147483647 h 317"/>
              <a:gd name="T52" fmla="*/ 2147483647 w 292"/>
              <a:gd name="T53" fmla="*/ 2147483647 h 317"/>
              <a:gd name="T54" fmla="*/ 2147483647 w 292"/>
              <a:gd name="T55" fmla="*/ 2147483647 h 317"/>
              <a:gd name="T56" fmla="*/ 2147483647 w 292"/>
              <a:gd name="T57" fmla="*/ 2147483647 h 317"/>
              <a:gd name="T58" fmla="*/ 2147483647 w 292"/>
              <a:gd name="T59" fmla="*/ 2147483647 h 317"/>
              <a:gd name="T60" fmla="*/ 2147483647 w 292"/>
              <a:gd name="T61" fmla="*/ 2147483647 h 317"/>
              <a:gd name="T62" fmla="*/ 2147483647 w 292"/>
              <a:gd name="T63" fmla="*/ 2147483647 h 317"/>
              <a:gd name="T64" fmla="*/ 2147483647 w 292"/>
              <a:gd name="T65" fmla="*/ 2147483647 h 317"/>
              <a:gd name="T66" fmla="*/ 2147483647 w 292"/>
              <a:gd name="T67" fmla="*/ 2147483647 h 317"/>
              <a:gd name="T68" fmla="*/ 2147483647 w 292"/>
              <a:gd name="T69" fmla="*/ 0 h 317"/>
              <a:gd name="T70" fmla="*/ 2147483647 w 292"/>
              <a:gd name="T71" fmla="*/ 2147483647 h 317"/>
              <a:gd name="T72" fmla="*/ 2147483647 w 292"/>
              <a:gd name="T73" fmla="*/ 2147483647 h 317"/>
              <a:gd name="T74" fmla="*/ 2147483647 w 292"/>
              <a:gd name="T75" fmla="*/ 2147483647 h 317"/>
              <a:gd name="T76" fmla="*/ 2147483647 w 292"/>
              <a:gd name="T77" fmla="*/ 2147483647 h 317"/>
              <a:gd name="T78" fmla="*/ 2147483647 w 292"/>
              <a:gd name="T79" fmla="*/ 2147483647 h 317"/>
              <a:gd name="T80" fmla="*/ 2147483647 w 292"/>
              <a:gd name="T81" fmla="*/ 2147483647 h 317"/>
              <a:gd name="T82" fmla="*/ 2147483647 w 292"/>
              <a:gd name="T83" fmla="*/ 2147483647 h 317"/>
              <a:gd name="T84" fmla="*/ 2147483647 w 292"/>
              <a:gd name="T85" fmla="*/ 2147483647 h 317"/>
              <a:gd name="T86" fmla="*/ 2147483647 w 292"/>
              <a:gd name="T87" fmla="*/ 2147483647 h 317"/>
              <a:gd name="T88" fmla="*/ 2147483647 w 292"/>
              <a:gd name="T89" fmla="*/ 2147483647 h 317"/>
              <a:gd name="T90" fmla="*/ 0 w 292"/>
              <a:gd name="T91" fmla="*/ 2147483647 h 317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292"/>
              <a:gd name="T139" fmla="*/ 0 h 317"/>
              <a:gd name="T140" fmla="*/ 292 w 292"/>
              <a:gd name="T141" fmla="*/ 317 h 317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292" h="317">
                <a:moveTo>
                  <a:pt x="0" y="187"/>
                </a:moveTo>
                <a:lnTo>
                  <a:pt x="13" y="207"/>
                </a:lnTo>
                <a:lnTo>
                  <a:pt x="23" y="203"/>
                </a:lnTo>
                <a:lnTo>
                  <a:pt x="52" y="211"/>
                </a:lnTo>
                <a:lnTo>
                  <a:pt x="40" y="253"/>
                </a:lnTo>
                <a:lnTo>
                  <a:pt x="42" y="260"/>
                </a:lnTo>
                <a:lnTo>
                  <a:pt x="49" y="260"/>
                </a:lnTo>
                <a:lnTo>
                  <a:pt x="30" y="271"/>
                </a:lnTo>
                <a:lnTo>
                  <a:pt x="18" y="297"/>
                </a:lnTo>
                <a:lnTo>
                  <a:pt x="40" y="295"/>
                </a:lnTo>
                <a:lnTo>
                  <a:pt x="32" y="303"/>
                </a:lnTo>
                <a:lnTo>
                  <a:pt x="43" y="317"/>
                </a:lnTo>
                <a:lnTo>
                  <a:pt x="59" y="312"/>
                </a:lnTo>
                <a:lnTo>
                  <a:pt x="59" y="300"/>
                </a:lnTo>
                <a:lnTo>
                  <a:pt x="81" y="314"/>
                </a:lnTo>
                <a:lnTo>
                  <a:pt x="94" y="307"/>
                </a:lnTo>
                <a:lnTo>
                  <a:pt x="102" y="314"/>
                </a:lnTo>
                <a:lnTo>
                  <a:pt x="130" y="286"/>
                </a:lnTo>
                <a:lnTo>
                  <a:pt x="159" y="286"/>
                </a:lnTo>
                <a:lnTo>
                  <a:pt x="185" y="268"/>
                </a:lnTo>
                <a:lnTo>
                  <a:pt x="154" y="234"/>
                </a:lnTo>
                <a:lnTo>
                  <a:pt x="143" y="229"/>
                </a:lnTo>
                <a:lnTo>
                  <a:pt x="145" y="194"/>
                </a:lnTo>
                <a:lnTo>
                  <a:pt x="167" y="178"/>
                </a:lnTo>
                <a:lnTo>
                  <a:pt x="185" y="177"/>
                </a:lnTo>
                <a:lnTo>
                  <a:pt x="216" y="153"/>
                </a:lnTo>
                <a:lnTo>
                  <a:pt x="247" y="126"/>
                </a:lnTo>
                <a:lnTo>
                  <a:pt x="247" y="85"/>
                </a:lnTo>
                <a:lnTo>
                  <a:pt x="264" y="63"/>
                </a:lnTo>
                <a:lnTo>
                  <a:pt x="281" y="42"/>
                </a:lnTo>
                <a:lnTo>
                  <a:pt x="292" y="42"/>
                </a:lnTo>
                <a:lnTo>
                  <a:pt x="291" y="34"/>
                </a:lnTo>
                <a:lnTo>
                  <a:pt x="287" y="25"/>
                </a:lnTo>
                <a:lnTo>
                  <a:pt x="281" y="23"/>
                </a:lnTo>
                <a:lnTo>
                  <a:pt x="264" y="0"/>
                </a:lnTo>
                <a:lnTo>
                  <a:pt x="255" y="8"/>
                </a:lnTo>
                <a:lnTo>
                  <a:pt x="242" y="40"/>
                </a:lnTo>
                <a:lnTo>
                  <a:pt x="215" y="59"/>
                </a:lnTo>
                <a:lnTo>
                  <a:pt x="177" y="63"/>
                </a:lnTo>
                <a:lnTo>
                  <a:pt x="174" y="70"/>
                </a:lnTo>
                <a:lnTo>
                  <a:pt x="179" y="97"/>
                </a:lnTo>
                <a:lnTo>
                  <a:pt x="143" y="101"/>
                </a:lnTo>
                <a:lnTo>
                  <a:pt x="117" y="88"/>
                </a:lnTo>
                <a:lnTo>
                  <a:pt x="71" y="133"/>
                </a:lnTo>
                <a:lnTo>
                  <a:pt x="23" y="156"/>
                </a:lnTo>
                <a:lnTo>
                  <a:pt x="0" y="187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17" name="Freeform 106"/>
          <p:cNvSpPr>
            <a:spLocks noChangeAspect="1" noEditPoints="1"/>
          </p:cNvSpPr>
          <p:nvPr/>
        </p:nvSpPr>
        <p:spPr bwMode="gray">
          <a:xfrm>
            <a:off x="6702425" y="3300413"/>
            <a:ext cx="160338" cy="338137"/>
          </a:xfrm>
          <a:custGeom>
            <a:avLst/>
            <a:gdLst>
              <a:gd name="T0" fmla="*/ 2147483647 w 328"/>
              <a:gd name="T1" fmla="*/ 2147483647 h 698"/>
              <a:gd name="T2" fmla="*/ 2147483647 w 328"/>
              <a:gd name="T3" fmla="*/ 2147483647 h 698"/>
              <a:gd name="T4" fmla="*/ 2147483647 w 328"/>
              <a:gd name="T5" fmla="*/ 2147483647 h 698"/>
              <a:gd name="T6" fmla="*/ 2147483647 w 328"/>
              <a:gd name="T7" fmla="*/ 2147483647 h 698"/>
              <a:gd name="T8" fmla="*/ 2147483647 w 328"/>
              <a:gd name="T9" fmla="*/ 2147483647 h 698"/>
              <a:gd name="T10" fmla="*/ 2147483647 w 328"/>
              <a:gd name="T11" fmla="*/ 2147483647 h 698"/>
              <a:gd name="T12" fmla="*/ 2147483647 w 328"/>
              <a:gd name="T13" fmla="*/ 2147483647 h 698"/>
              <a:gd name="T14" fmla="*/ 2147483647 w 328"/>
              <a:gd name="T15" fmla="*/ 2147483647 h 698"/>
              <a:gd name="T16" fmla="*/ 2147483647 w 328"/>
              <a:gd name="T17" fmla="*/ 2147483647 h 698"/>
              <a:gd name="T18" fmla="*/ 2147483647 w 328"/>
              <a:gd name="T19" fmla="*/ 2147483647 h 698"/>
              <a:gd name="T20" fmla="*/ 2147483647 w 328"/>
              <a:gd name="T21" fmla="*/ 2147483647 h 698"/>
              <a:gd name="T22" fmla="*/ 2147483647 w 328"/>
              <a:gd name="T23" fmla="*/ 2147483647 h 698"/>
              <a:gd name="T24" fmla="*/ 2147483647 w 328"/>
              <a:gd name="T25" fmla="*/ 2147483647 h 698"/>
              <a:gd name="T26" fmla="*/ 2147483647 w 328"/>
              <a:gd name="T27" fmla="*/ 2147483647 h 698"/>
              <a:gd name="T28" fmla="*/ 2147483647 w 328"/>
              <a:gd name="T29" fmla="*/ 2147483647 h 698"/>
              <a:gd name="T30" fmla="*/ 2147483647 w 328"/>
              <a:gd name="T31" fmla="*/ 2147483647 h 698"/>
              <a:gd name="T32" fmla="*/ 2147483647 w 328"/>
              <a:gd name="T33" fmla="*/ 2147483647 h 698"/>
              <a:gd name="T34" fmla="*/ 2147483647 w 328"/>
              <a:gd name="T35" fmla="*/ 2147483647 h 698"/>
              <a:gd name="T36" fmla="*/ 2147483647 w 328"/>
              <a:gd name="T37" fmla="*/ 2147483647 h 698"/>
              <a:gd name="T38" fmla="*/ 2147483647 w 328"/>
              <a:gd name="T39" fmla="*/ 2147483647 h 698"/>
              <a:gd name="T40" fmla="*/ 2147483647 w 328"/>
              <a:gd name="T41" fmla="*/ 2147483647 h 698"/>
              <a:gd name="T42" fmla="*/ 2147483647 w 328"/>
              <a:gd name="T43" fmla="*/ 2147483647 h 698"/>
              <a:gd name="T44" fmla="*/ 2147483647 w 328"/>
              <a:gd name="T45" fmla="*/ 2147483647 h 698"/>
              <a:gd name="T46" fmla="*/ 2147483647 w 328"/>
              <a:gd name="T47" fmla="*/ 2147483647 h 698"/>
              <a:gd name="T48" fmla="*/ 2147483647 w 328"/>
              <a:gd name="T49" fmla="*/ 2147483647 h 698"/>
              <a:gd name="T50" fmla="*/ 2147483647 w 328"/>
              <a:gd name="T51" fmla="*/ 2147483647 h 698"/>
              <a:gd name="T52" fmla="*/ 2147483647 w 328"/>
              <a:gd name="T53" fmla="*/ 2147483647 h 698"/>
              <a:gd name="T54" fmla="*/ 2147483647 w 328"/>
              <a:gd name="T55" fmla="*/ 2147483647 h 698"/>
              <a:gd name="T56" fmla="*/ 2147483647 w 328"/>
              <a:gd name="T57" fmla="*/ 2147483647 h 698"/>
              <a:gd name="T58" fmla="*/ 2147483647 w 328"/>
              <a:gd name="T59" fmla="*/ 2147483647 h 698"/>
              <a:gd name="T60" fmla="*/ 2147483647 w 328"/>
              <a:gd name="T61" fmla="*/ 2147483647 h 698"/>
              <a:gd name="T62" fmla="*/ 2147483647 w 328"/>
              <a:gd name="T63" fmla="*/ 2147483647 h 698"/>
              <a:gd name="T64" fmla="*/ 2147483647 w 328"/>
              <a:gd name="T65" fmla="*/ 2147483647 h 698"/>
              <a:gd name="T66" fmla="*/ 2147483647 w 328"/>
              <a:gd name="T67" fmla="*/ 2147483647 h 698"/>
              <a:gd name="T68" fmla="*/ 2147483647 w 328"/>
              <a:gd name="T69" fmla="*/ 2147483647 h 698"/>
              <a:gd name="T70" fmla="*/ 2147483647 w 328"/>
              <a:gd name="T71" fmla="*/ 2147483647 h 698"/>
              <a:gd name="T72" fmla="*/ 2147483647 w 328"/>
              <a:gd name="T73" fmla="*/ 2147483647 h 698"/>
              <a:gd name="T74" fmla="*/ 2147483647 w 328"/>
              <a:gd name="T75" fmla="*/ 2147483647 h 698"/>
              <a:gd name="T76" fmla="*/ 2147483647 w 328"/>
              <a:gd name="T77" fmla="*/ 2147483647 h 698"/>
              <a:gd name="T78" fmla="*/ 0 w 328"/>
              <a:gd name="T79" fmla="*/ 2147483647 h 698"/>
              <a:gd name="T80" fmla="*/ 2147483647 w 328"/>
              <a:gd name="T81" fmla="*/ 2147483647 h 698"/>
              <a:gd name="T82" fmla="*/ 2147483647 w 328"/>
              <a:gd name="T83" fmla="*/ 2147483647 h 698"/>
              <a:gd name="T84" fmla="*/ 2147483647 w 328"/>
              <a:gd name="T85" fmla="*/ 2147483647 h 698"/>
              <a:gd name="T86" fmla="*/ 2147483647 w 328"/>
              <a:gd name="T87" fmla="*/ 2147483647 h 698"/>
              <a:gd name="T88" fmla="*/ 2147483647 w 328"/>
              <a:gd name="T89" fmla="*/ 2147483647 h 698"/>
              <a:gd name="T90" fmla="*/ 2147483647 w 328"/>
              <a:gd name="T91" fmla="*/ 2147483647 h 698"/>
              <a:gd name="T92" fmla="*/ 2147483647 w 328"/>
              <a:gd name="T93" fmla="*/ 2147483647 h 698"/>
              <a:gd name="T94" fmla="*/ 2147483647 w 328"/>
              <a:gd name="T95" fmla="*/ 2147483647 h 698"/>
              <a:gd name="T96" fmla="*/ 2147483647 w 328"/>
              <a:gd name="T97" fmla="*/ 2147483647 h 698"/>
              <a:gd name="T98" fmla="*/ 2147483647 w 328"/>
              <a:gd name="T99" fmla="*/ 2147483647 h 698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328"/>
              <a:gd name="T151" fmla="*/ 0 h 698"/>
              <a:gd name="T152" fmla="*/ 328 w 328"/>
              <a:gd name="T153" fmla="*/ 698 h 698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328" h="698">
                <a:moveTo>
                  <a:pt x="262" y="85"/>
                </a:moveTo>
                <a:lnTo>
                  <a:pt x="236" y="94"/>
                </a:lnTo>
                <a:lnTo>
                  <a:pt x="235" y="103"/>
                </a:lnTo>
                <a:lnTo>
                  <a:pt x="201" y="127"/>
                </a:lnTo>
                <a:lnTo>
                  <a:pt x="199" y="139"/>
                </a:lnTo>
                <a:lnTo>
                  <a:pt x="173" y="162"/>
                </a:lnTo>
                <a:lnTo>
                  <a:pt x="157" y="204"/>
                </a:lnTo>
                <a:lnTo>
                  <a:pt x="160" y="226"/>
                </a:lnTo>
                <a:lnTo>
                  <a:pt x="187" y="249"/>
                </a:lnTo>
                <a:lnTo>
                  <a:pt x="193" y="271"/>
                </a:lnTo>
                <a:lnTo>
                  <a:pt x="221" y="302"/>
                </a:lnTo>
                <a:lnTo>
                  <a:pt x="252" y="333"/>
                </a:lnTo>
                <a:lnTo>
                  <a:pt x="266" y="334"/>
                </a:lnTo>
                <a:lnTo>
                  <a:pt x="272" y="347"/>
                </a:lnTo>
                <a:lnTo>
                  <a:pt x="277" y="343"/>
                </a:lnTo>
                <a:lnTo>
                  <a:pt x="284" y="362"/>
                </a:lnTo>
                <a:lnTo>
                  <a:pt x="303" y="382"/>
                </a:lnTo>
                <a:lnTo>
                  <a:pt x="317" y="424"/>
                </a:lnTo>
                <a:lnTo>
                  <a:pt x="326" y="500"/>
                </a:lnTo>
                <a:lnTo>
                  <a:pt x="328" y="508"/>
                </a:lnTo>
                <a:lnTo>
                  <a:pt x="321" y="518"/>
                </a:lnTo>
                <a:lnTo>
                  <a:pt x="318" y="520"/>
                </a:lnTo>
                <a:lnTo>
                  <a:pt x="320" y="554"/>
                </a:lnTo>
                <a:lnTo>
                  <a:pt x="311" y="571"/>
                </a:lnTo>
                <a:lnTo>
                  <a:pt x="272" y="588"/>
                </a:lnTo>
                <a:lnTo>
                  <a:pt x="266" y="597"/>
                </a:lnTo>
                <a:lnTo>
                  <a:pt x="233" y="613"/>
                </a:lnTo>
                <a:lnTo>
                  <a:pt x="210" y="613"/>
                </a:lnTo>
                <a:lnTo>
                  <a:pt x="204" y="628"/>
                </a:lnTo>
                <a:lnTo>
                  <a:pt x="193" y="636"/>
                </a:lnTo>
                <a:lnTo>
                  <a:pt x="198" y="645"/>
                </a:lnTo>
                <a:lnTo>
                  <a:pt x="194" y="651"/>
                </a:lnTo>
                <a:lnTo>
                  <a:pt x="174" y="634"/>
                </a:lnTo>
                <a:lnTo>
                  <a:pt x="179" y="653"/>
                </a:lnTo>
                <a:lnTo>
                  <a:pt x="179" y="658"/>
                </a:lnTo>
                <a:lnTo>
                  <a:pt x="159" y="668"/>
                </a:lnTo>
                <a:lnTo>
                  <a:pt x="130" y="698"/>
                </a:lnTo>
                <a:lnTo>
                  <a:pt x="123" y="698"/>
                </a:lnTo>
                <a:lnTo>
                  <a:pt x="122" y="692"/>
                </a:lnTo>
                <a:lnTo>
                  <a:pt x="125" y="689"/>
                </a:lnTo>
                <a:lnTo>
                  <a:pt x="120" y="660"/>
                </a:lnTo>
                <a:lnTo>
                  <a:pt x="120" y="647"/>
                </a:lnTo>
                <a:lnTo>
                  <a:pt x="130" y="630"/>
                </a:lnTo>
                <a:lnTo>
                  <a:pt x="109" y="619"/>
                </a:lnTo>
                <a:lnTo>
                  <a:pt x="103" y="609"/>
                </a:lnTo>
                <a:lnTo>
                  <a:pt x="123" y="604"/>
                </a:lnTo>
                <a:lnTo>
                  <a:pt x="128" y="593"/>
                </a:lnTo>
                <a:lnTo>
                  <a:pt x="140" y="594"/>
                </a:lnTo>
                <a:lnTo>
                  <a:pt x="168" y="580"/>
                </a:lnTo>
                <a:lnTo>
                  <a:pt x="170" y="554"/>
                </a:lnTo>
                <a:lnTo>
                  <a:pt x="193" y="550"/>
                </a:lnTo>
                <a:lnTo>
                  <a:pt x="194" y="542"/>
                </a:lnTo>
                <a:lnTo>
                  <a:pt x="216" y="535"/>
                </a:lnTo>
                <a:lnTo>
                  <a:pt x="232" y="525"/>
                </a:lnTo>
                <a:lnTo>
                  <a:pt x="238" y="526"/>
                </a:lnTo>
                <a:lnTo>
                  <a:pt x="244" y="520"/>
                </a:lnTo>
                <a:lnTo>
                  <a:pt x="247" y="467"/>
                </a:lnTo>
                <a:lnTo>
                  <a:pt x="238" y="441"/>
                </a:lnTo>
                <a:lnTo>
                  <a:pt x="240" y="411"/>
                </a:lnTo>
                <a:lnTo>
                  <a:pt x="240" y="382"/>
                </a:lnTo>
                <a:lnTo>
                  <a:pt x="225" y="339"/>
                </a:lnTo>
                <a:lnTo>
                  <a:pt x="207" y="323"/>
                </a:lnTo>
                <a:lnTo>
                  <a:pt x="199" y="323"/>
                </a:lnTo>
                <a:lnTo>
                  <a:pt x="194" y="311"/>
                </a:lnTo>
                <a:lnTo>
                  <a:pt x="187" y="288"/>
                </a:lnTo>
                <a:lnTo>
                  <a:pt x="168" y="276"/>
                </a:lnTo>
                <a:lnTo>
                  <a:pt x="133" y="235"/>
                </a:lnTo>
                <a:lnTo>
                  <a:pt x="130" y="223"/>
                </a:lnTo>
                <a:lnTo>
                  <a:pt x="79" y="192"/>
                </a:lnTo>
                <a:lnTo>
                  <a:pt x="84" y="172"/>
                </a:lnTo>
                <a:lnTo>
                  <a:pt x="105" y="172"/>
                </a:lnTo>
                <a:lnTo>
                  <a:pt x="116" y="161"/>
                </a:lnTo>
                <a:lnTo>
                  <a:pt x="118" y="152"/>
                </a:lnTo>
                <a:lnTo>
                  <a:pt x="97" y="122"/>
                </a:lnTo>
                <a:lnTo>
                  <a:pt x="89" y="111"/>
                </a:lnTo>
                <a:lnTo>
                  <a:pt x="43" y="113"/>
                </a:lnTo>
                <a:lnTo>
                  <a:pt x="30" y="99"/>
                </a:lnTo>
                <a:lnTo>
                  <a:pt x="32" y="82"/>
                </a:lnTo>
                <a:lnTo>
                  <a:pt x="26" y="74"/>
                </a:lnTo>
                <a:lnTo>
                  <a:pt x="0" y="39"/>
                </a:lnTo>
                <a:lnTo>
                  <a:pt x="12" y="23"/>
                </a:lnTo>
                <a:lnTo>
                  <a:pt x="37" y="34"/>
                </a:lnTo>
                <a:lnTo>
                  <a:pt x="54" y="25"/>
                </a:lnTo>
                <a:lnTo>
                  <a:pt x="59" y="28"/>
                </a:lnTo>
                <a:lnTo>
                  <a:pt x="71" y="25"/>
                </a:lnTo>
                <a:lnTo>
                  <a:pt x="74" y="31"/>
                </a:lnTo>
                <a:lnTo>
                  <a:pt x="89" y="20"/>
                </a:lnTo>
                <a:lnTo>
                  <a:pt x="101" y="22"/>
                </a:lnTo>
                <a:lnTo>
                  <a:pt x="137" y="0"/>
                </a:lnTo>
                <a:lnTo>
                  <a:pt x="173" y="17"/>
                </a:lnTo>
                <a:lnTo>
                  <a:pt x="199" y="20"/>
                </a:lnTo>
                <a:lnTo>
                  <a:pt x="202" y="28"/>
                </a:lnTo>
                <a:lnTo>
                  <a:pt x="199" y="40"/>
                </a:lnTo>
                <a:lnTo>
                  <a:pt x="210" y="64"/>
                </a:lnTo>
                <a:lnTo>
                  <a:pt x="233" y="79"/>
                </a:lnTo>
                <a:lnTo>
                  <a:pt x="262" y="85"/>
                </a:lnTo>
                <a:close/>
                <a:moveTo>
                  <a:pt x="77" y="616"/>
                </a:moveTo>
                <a:lnTo>
                  <a:pt x="84" y="626"/>
                </a:lnTo>
                <a:lnTo>
                  <a:pt x="80" y="611"/>
                </a:lnTo>
                <a:lnTo>
                  <a:pt x="77" y="616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18" name="Freeform 107"/>
          <p:cNvSpPr>
            <a:spLocks noChangeAspect="1" noEditPoints="1"/>
          </p:cNvSpPr>
          <p:nvPr/>
        </p:nvSpPr>
        <p:spPr bwMode="gray">
          <a:xfrm>
            <a:off x="6599238" y="3359150"/>
            <a:ext cx="176212" cy="346075"/>
          </a:xfrm>
          <a:custGeom>
            <a:avLst/>
            <a:gdLst>
              <a:gd name="T0" fmla="*/ 2147483647 w 362"/>
              <a:gd name="T1" fmla="*/ 2147483647 h 709"/>
              <a:gd name="T2" fmla="*/ 2147483647 w 362"/>
              <a:gd name="T3" fmla="*/ 2147483647 h 709"/>
              <a:gd name="T4" fmla="*/ 2147483647 w 362"/>
              <a:gd name="T5" fmla="*/ 2147483647 h 709"/>
              <a:gd name="T6" fmla="*/ 2147483647 w 362"/>
              <a:gd name="T7" fmla="*/ 2147483647 h 709"/>
              <a:gd name="T8" fmla="*/ 2147483647 w 362"/>
              <a:gd name="T9" fmla="*/ 2147483647 h 709"/>
              <a:gd name="T10" fmla="*/ 2147483647 w 362"/>
              <a:gd name="T11" fmla="*/ 2147483647 h 709"/>
              <a:gd name="T12" fmla="*/ 2147483647 w 362"/>
              <a:gd name="T13" fmla="*/ 2147483647 h 709"/>
              <a:gd name="T14" fmla="*/ 2147483647 w 362"/>
              <a:gd name="T15" fmla="*/ 2147483647 h 709"/>
              <a:gd name="T16" fmla="*/ 2147483647 w 362"/>
              <a:gd name="T17" fmla="*/ 2147483647 h 709"/>
              <a:gd name="T18" fmla="*/ 2147483647 w 362"/>
              <a:gd name="T19" fmla="*/ 2147483647 h 709"/>
              <a:gd name="T20" fmla="*/ 2147483647 w 362"/>
              <a:gd name="T21" fmla="*/ 2147483647 h 709"/>
              <a:gd name="T22" fmla="*/ 2147483647 w 362"/>
              <a:gd name="T23" fmla="*/ 2147483647 h 709"/>
              <a:gd name="T24" fmla="*/ 2147483647 w 362"/>
              <a:gd name="T25" fmla="*/ 2147483647 h 709"/>
              <a:gd name="T26" fmla="*/ 2147483647 w 362"/>
              <a:gd name="T27" fmla="*/ 2147483647 h 709"/>
              <a:gd name="T28" fmla="*/ 2147483647 w 362"/>
              <a:gd name="T29" fmla="*/ 2147483647 h 709"/>
              <a:gd name="T30" fmla="*/ 2147483647 w 362"/>
              <a:gd name="T31" fmla="*/ 2147483647 h 709"/>
              <a:gd name="T32" fmla="*/ 2147483647 w 362"/>
              <a:gd name="T33" fmla="*/ 2147483647 h 709"/>
              <a:gd name="T34" fmla="*/ 2147483647 w 362"/>
              <a:gd name="T35" fmla="*/ 2147483647 h 709"/>
              <a:gd name="T36" fmla="*/ 2147483647 w 362"/>
              <a:gd name="T37" fmla="*/ 2147483647 h 709"/>
              <a:gd name="T38" fmla="*/ 2147483647 w 362"/>
              <a:gd name="T39" fmla="*/ 2147483647 h 709"/>
              <a:gd name="T40" fmla="*/ 2147483647 w 362"/>
              <a:gd name="T41" fmla="*/ 2147483647 h 709"/>
              <a:gd name="T42" fmla="*/ 2147483647 w 362"/>
              <a:gd name="T43" fmla="*/ 2147483647 h 709"/>
              <a:gd name="T44" fmla="*/ 2147483647 w 362"/>
              <a:gd name="T45" fmla="*/ 2147483647 h 709"/>
              <a:gd name="T46" fmla="*/ 2147483647 w 362"/>
              <a:gd name="T47" fmla="*/ 2147483647 h 709"/>
              <a:gd name="T48" fmla="*/ 2147483647 w 362"/>
              <a:gd name="T49" fmla="*/ 2147483647 h 709"/>
              <a:gd name="T50" fmla="*/ 2147483647 w 362"/>
              <a:gd name="T51" fmla="*/ 2147483647 h 709"/>
              <a:gd name="T52" fmla="*/ 2147483647 w 362"/>
              <a:gd name="T53" fmla="*/ 2147483647 h 709"/>
              <a:gd name="T54" fmla="*/ 2147483647 w 362"/>
              <a:gd name="T55" fmla="*/ 0 h 709"/>
              <a:gd name="T56" fmla="*/ 2147483647 w 362"/>
              <a:gd name="T57" fmla="*/ 2147483647 h 709"/>
              <a:gd name="T58" fmla="*/ 2147483647 w 362"/>
              <a:gd name="T59" fmla="*/ 2147483647 h 709"/>
              <a:gd name="T60" fmla="*/ 2147483647 w 362"/>
              <a:gd name="T61" fmla="*/ 2147483647 h 709"/>
              <a:gd name="T62" fmla="*/ 2147483647 w 362"/>
              <a:gd name="T63" fmla="*/ 2147483647 h 709"/>
              <a:gd name="T64" fmla="*/ 2147483647 w 362"/>
              <a:gd name="T65" fmla="*/ 2147483647 h 709"/>
              <a:gd name="T66" fmla="*/ 2147483647 w 362"/>
              <a:gd name="T67" fmla="*/ 2147483647 h 709"/>
              <a:gd name="T68" fmla="*/ 2147483647 w 362"/>
              <a:gd name="T69" fmla="*/ 2147483647 h 709"/>
              <a:gd name="T70" fmla="*/ 2147483647 w 362"/>
              <a:gd name="T71" fmla="*/ 2147483647 h 709"/>
              <a:gd name="T72" fmla="*/ 2147483647 w 362"/>
              <a:gd name="T73" fmla="*/ 2147483647 h 709"/>
              <a:gd name="T74" fmla="*/ 2147483647 w 362"/>
              <a:gd name="T75" fmla="*/ 2147483647 h 709"/>
              <a:gd name="T76" fmla="*/ 2147483647 w 362"/>
              <a:gd name="T77" fmla="*/ 2147483647 h 709"/>
              <a:gd name="T78" fmla="*/ 2147483647 w 362"/>
              <a:gd name="T79" fmla="*/ 2147483647 h 709"/>
              <a:gd name="T80" fmla="*/ 2147483647 w 362"/>
              <a:gd name="T81" fmla="*/ 2147483647 h 709"/>
              <a:gd name="T82" fmla="*/ 2147483647 w 362"/>
              <a:gd name="T83" fmla="*/ 2147483647 h 709"/>
              <a:gd name="T84" fmla="*/ 2147483647 w 362"/>
              <a:gd name="T85" fmla="*/ 2147483647 h 709"/>
              <a:gd name="T86" fmla="*/ 2147483647 w 362"/>
              <a:gd name="T87" fmla="*/ 2147483647 h 709"/>
              <a:gd name="T88" fmla="*/ 2147483647 w 362"/>
              <a:gd name="T89" fmla="*/ 2147483647 h 709"/>
              <a:gd name="T90" fmla="*/ 2147483647 w 362"/>
              <a:gd name="T91" fmla="*/ 2147483647 h 709"/>
              <a:gd name="T92" fmla="*/ 2147483647 w 362"/>
              <a:gd name="T93" fmla="*/ 2147483647 h 709"/>
              <a:gd name="T94" fmla="*/ 2147483647 w 362"/>
              <a:gd name="T95" fmla="*/ 2147483647 h 709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362"/>
              <a:gd name="T145" fmla="*/ 0 h 709"/>
              <a:gd name="T146" fmla="*/ 362 w 362"/>
              <a:gd name="T147" fmla="*/ 709 h 709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362" h="709">
                <a:moveTo>
                  <a:pt x="244" y="433"/>
                </a:moveTo>
                <a:lnTo>
                  <a:pt x="232" y="413"/>
                </a:lnTo>
                <a:lnTo>
                  <a:pt x="216" y="406"/>
                </a:lnTo>
                <a:lnTo>
                  <a:pt x="196" y="386"/>
                </a:lnTo>
                <a:lnTo>
                  <a:pt x="154" y="387"/>
                </a:lnTo>
                <a:lnTo>
                  <a:pt x="151" y="347"/>
                </a:lnTo>
                <a:lnTo>
                  <a:pt x="120" y="345"/>
                </a:lnTo>
                <a:lnTo>
                  <a:pt x="108" y="348"/>
                </a:lnTo>
                <a:lnTo>
                  <a:pt x="111" y="367"/>
                </a:lnTo>
                <a:lnTo>
                  <a:pt x="106" y="409"/>
                </a:lnTo>
                <a:lnTo>
                  <a:pt x="93" y="433"/>
                </a:lnTo>
                <a:lnTo>
                  <a:pt x="86" y="463"/>
                </a:lnTo>
                <a:lnTo>
                  <a:pt x="71" y="497"/>
                </a:lnTo>
                <a:lnTo>
                  <a:pt x="76" y="545"/>
                </a:lnTo>
                <a:lnTo>
                  <a:pt x="103" y="545"/>
                </a:lnTo>
                <a:lnTo>
                  <a:pt x="113" y="579"/>
                </a:lnTo>
                <a:lnTo>
                  <a:pt x="127" y="596"/>
                </a:lnTo>
                <a:lnTo>
                  <a:pt x="137" y="633"/>
                </a:lnTo>
                <a:lnTo>
                  <a:pt x="153" y="650"/>
                </a:lnTo>
                <a:lnTo>
                  <a:pt x="181" y="653"/>
                </a:lnTo>
                <a:lnTo>
                  <a:pt x="210" y="686"/>
                </a:lnTo>
                <a:lnTo>
                  <a:pt x="205" y="697"/>
                </a:lnTo>
                <a:lnTo>
                  <a:pt x="187" y="695"/>
                </a:lnTo>
                <a:lnTo>
                  <a:pt x="165" y="709"/>
                </a:lnTo>
                <a:lnTo>
                  <a:pt x="165" y="686"/>
                </a:lnTo>
                <a:lnTo>
                  <a:pt x="156" y="673"/>
                </a:lnTo>
                <a:lnTo>
                  <a:pt x="119" y="661"/>
                </a:lnTo>
                <a:lnTo>
                  <a:pt x="122" y="673"/>
                </a:lnTo>
                <a:lnTo>
                  <a:pt x="71" y="611"/>
                </a:lnTo>
                <a:lnTo>
                  <a:pt x="51" y="590"/>
                </a:lnTo>
                <a:lnTo>
                  <a:pt x="34" y="593"/>
                </a:lnTo>
                <a:lnTo>
                  <a:pt x="32" y="557"/>
                </a:lnTo>
                <a:lnTo>
                  <a:pt x="49" y="500"/>
                </a:lnTo>
                <a:lnTo>
                  <a:pt x="60" y="469"/>
                </a:lnTo>
                <a:lnTo>
                  <a:pt x="76" y="452"/>
                </a:lnTo>
                <a:lnTo>
                  <a:pt x="93" y="421"/>
                </a:lnTo>
                <a:lnTo>
                  <a:pt x="69" y="364"/>
                </a:lnTo>
                <a:lnTo>
                  <a:pt x="64" y="325"/>
                </a:lnTo>
                <a:lnTo>
                  <a:pt x="32" y="296"/>
                </a:lnTo>
                <a:lnTo>
                  <a:pt x="27" y="282"/>
                </a:lnTo>
                <a:lnTo>
                  <a:pt x="29" y="271"/>
                </a:lnTo>
                <a:lnTo>
                  <a:pt x="42" y="254"/>
                </a:lnTo>
                <a:lnTo>
                  <a:pt x="44" y="237"/>
                </a:lnTo>
                <a:lnTo>
                  <a:pt x="54" y="220"/>
                </a:lnTo>
                <a:lnTo>
                  <a:pt x="51" y="212"/>
                </a:lnTo>
                <a:lnTo>
                  <a:pt x="42" y="211"/>
                </a:lnTo>
                <a:lnTo>
                  <a:pt x="40" y="174"/>
                </a:lnTo>
                <a:lnTo>
                  <a:pt x="15" y="152"/>
                </a:lnTo>
                <a:lnTo>
                  <a:pt x="0" y="113"/>
                </a:lnTo>
                <a:lnTo>
                  <a:pt x="6" y="108"/>
                </a:lnTo>
                <a:lnTo>
                  <a:pt x="6" y="90"/>
                </a:lnTo>
                <a:lnTo>
                  <a:pt x="20" y="56"/>
                </a:lnTo>
                <a:lnTo>
                  <a:pt x="55" y="50"/>
                </a:lnTo>
                <a:lnTo>
                  <a:pt x="86" y="27"/>
                </a:lnTo>
                <a:lnTo>
                  <a:pt x="105" y="20"/>
                </a:lnTo>
                <a:lnTo>
                  <a:pt x="120" y="0"/>
                </a:lnTo>
                <a:lnTo>
                  <a:pt x="120" y="10"/>
                </a:lnTo>
                <a:lnTo>
                  <a:pt x="125" y="10"/>
                </a:lnTo>
                <a:lnTo>
                  <a:pt x="134" y="20"/>
                </a:lnTo>
                <a:lnTo>
                  <a:pt x="136" y="44"/>
                </a:lnTo>
                <a:lnTo>
                  <a:pt x="136" y="48"/>
                </a:lnTo>
                <a:lnTo>
                  <a:pt x="162" y="54"/>
                </a:lnTo>
                <a:lnTo>
                  <a:pt x="161" y="95"/>
                </a:lnTo>
                <a:lnTo>
                  <a:pt x="151" y="137"/>
                </a:lnTo>
                <a:lnTo>
                  <a:pt x="154" y="152"/>
                </a:lnTo>
                <a:lnTo>
                  <a:pt x="196" y="121"/>
                </a:lnTo>
                <a:lnTo>
                  <a:pt x="210" y="121"/>
                </a:lnTo>
                <a:lnTo>
                  <a:pt x="215" y="130"/>
                </a:lnTo>
                <a:lnTo>
                  <a:pt x="229" y="135"/>
                </a:lnTo>
                <a:lnTo>
                  <a:pt x="246" y="129"/>
                </a:lnTo>
                <a:lnTo>
                  <a:pt x="252" y="115"/>
                </a:lnTo>
                <a:lnTo>
                  <a:pt x="271" y="113"/>
                </a:lnTo>
                <a:lnTo>
                  <a:pt x="281" y="113"/>
                </a:lnTo>
                <a:lnTo>
                  <a:pt x="317" y="152"/>
                </a:lnTo>
                <a:lnTo>
                  <a:pt x="323" y="171"/>
                </a:lnTo>
                <a:lnTo>
                  <a:pt x="326" y="211"/>
                </a:lnTo>
                <a:lnTo>
                  <a:pt x="340" y="225"/>
                </a:lnTo>
                <a:lnTo>
                  <a:pt x="346" y="225"/>
                </a:lnTo>
                <a:lnTo>
                  <a:pt x="362" y="245"/>
                </a:lnTo>
                <a:lnTo>
                  <a:pt x="362" y="259"/>
                </a:lnTo>
                <a:lnTo>
                  <a:pt x="359" y="297"/>
                </a:lnTo>
                <a:lnTo>
                  <a:pt x="349" y="310"/>
                </a:lnTo>
                <a:lnTo>
                  <a:pt x="340" y="313"/>
                </a:lnTo>
                <a:lnTo>
                  <a:pt x="332" y="306"/>
                </a:lnTo>
                <a:lnTo>
                  <a:pt x="295" y="308"/>
                </a:lnTo>
                <a:lnTo>
                  <a:pt x="257" y="305"/>
                </a:lnTo>
                <a:lnTo>
                  <a:pt x="227" y="331"/>
                </a:lnTo>
                <a:lnTo>
                  <a:pt x="216" y="345"/>
                </a:lnTo>
                <a:lnTo>
                  <a:pt x="215" y="361"/>
                </a:lnTo>
                <a:lnTo>
                  <a:pt x="224" y="387"/>
                </a:lnTo>
                <a:lnTo>
                  <a:pt x="241" y="407"/>
                </a:lnTo>
                <a:lnTo>
                  <a:pt x="244" y="433"/>
                </a:lnTo>
                <a:close/>
                <a:moveTo>
                  <a:pt x="34" y="597"/>
                </a:moveTo>
                <a:lnTo>
                  <a:pt x="34" y="610"/>
                </a:lnTo>
                <a:lnTo>
                  <a:pt x="38" y="601"/>
                </a:lnTo>
                <a:lnTo>
                  <a:pt x="34" y="597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19" name="Freeform 108"/>
          <p:cNvSpPr>
            <a:spLocks noChangeAspect="1" noEditPoints="1"/>
          </p:cNvSpPr>
          <p:nvPr/>
        </p:nvSpPr>
        <p:spPr bwMode="gray">
          <a:xfrm>
            <a:off x="6478588" y="3173413"/>
            <a:ext cx="198437" cy="428625"/>
          </a:xfrm>
          <a:custGeom>
            <a:avLst/>
            <a:gdLst>
              <a:gd name="T0" fmla="*/ 2147483647 w 411"/>
              <a:gd name="T1" fmla="*/ 2147483647 h 882"/>
              <a:gd name="T2" fmla="*/ 2147483647 w 411"/>
              <a:gd name="T3" fmla="*/ 2147483647 h 882"/>
              <a:gd name="T4" fmla="*/ 2147483647 w 411"/>
              <a:gd name="T5" fmla="*/ 2147483647 h 882"/>
              <a:gd name="T6" fmla="*/ 2147483647 w 411"/>
              <a:gd name="T7" fmla="*/ 2147483647 h 882"/>
              <a:gd name="T8" fmla="*/ 2147483647 w 411"/>
              <a:gd name="T9" fmla="*/ 2147483647 h 882"/>
              <a:gd name="T10" fmla="*/ 2147483647 w 411"/>
              <a:gd name="T11" fmla="*/ 2147483647 h 882"/>
              <a:gd name="T12" fmla="*/ 2147483647 w 411"/>
              <a:gd name="T13" fmla="*/ 2147483647 h 882"/>
              <a:gd name="T14" fmla="*/ 2147483647 w 411"/>
              <a:gd name="T15" fmla="*/ 2147483647 h 882"/>
              <a:gd name="T16" fmla="*/ 2147483647 w 411"/>
              <a:gd name="T17" fmla="*/ 2147483647 h 882"/>
              <a:gd name="T18" fmla="*/ 2147483647 w 411"/>
              <a:gd name="T19" fmla="*/ 2147483647 h 882"/>
              <a:gd name="T20" fmla="*/ 2147483647 w 411"/>
              <a:gd name="T21" fmla="*/ 2147483647 h 882"/>
              <a:gd name="T22" fmla="*/ 2147483647 w 411"/>
              <a:gd name="T23" fmla="*/ 2147483647 h 882"/>
              <a:gd name="T24" fmla="*/ 2147483647 w 411"/>
              <a:gd name="T25" fmla="*/ 2147483647 h 882"/>
              <a:gd name="T26" fmla="*/ 2147483647 w 411"/>
              <a:gd name="T27" fmla="*/ 2147483647 h 882"/>
              <a:gd name="T28" fmla="*/ 2147483647 w 411"/>
              <a:gd name="T29" fmla="*/ 2147483647 h 882"/>
              <a:gd name="T30" fmla="*/ 2147483647 w 411"/>
              <a:gd name="T31" fmla="*/ 2147483647 h 882"/>
              <a:gd name="T32" fmla="*/ 2147483647 w 411"/>
              <a:gd name="T33" fmla="*/ 2147483647 h 882"/>
              <a:gd name="T34" fmla="*/ 2147483647 w 411"/>
              <a:gd name="T35" fmla="*/ 2147483647 h 882"/>
              <a:gd name="T36" fmla="*/ 0 w 411"/>
              <a:gd name="T37" fmla="*/ 2147483647 h 882"/>
              <a:gd name="T38" fmla="*/ 2147483647 w 411"/>
              <a:gd name="T39" fmla="*/ 2147483647 h 882"/>
              <a:gd name="T40" fmla="*/ 2147483647 w 411"/>
              <a:gd name="T41" fmla="*/ 2147483647 h 882"/>
              <a:gd name="T42" fmla="*/ 2147483647 w 411"/>
              <a:gd name="T43" fmla="*/ 2147483647 h 882"/>
              <a:gd name="T44" fmla="*/ 2147483647 w 411"/>
              <a:gd name="T45" fmla="*/ 2147483647 h 882"/>
              <a:gd name="T46" fmla="*/ 2147483647 w 411"/>
              <a:gd name="T47" fmla="*/ 2147483647 h 882"/>
              <a:gd name="T48" fmla="*/ 2147483647 w 411"/>
              <a:gd name="T49" fmla="*/ 2147483647 h 882"/>
              <a:gd name="T50" fmla="*/ 2147483647 w 411"/>
              <a:gd name="T51" fmla="*/ 2147483647 h 882"/>
              <a:gd name="T52" fmla="*/ 2147483647 w 411"/>
              <a:gd name="T53" fmla="*/ 2147483647 h 882"/>
              <a:gd name="T54" fmla="*/ 2147483647 w 411"/>
              <a:gd name="T55" fmla="*/ 2147483647 h 882"/>
              <a:gd name="T56" fmla="*/ 2147483647 w 411"/>
              <a:gd name="T57" fmla="*/ 2147483647 h 882"/>
              <a:gd name="T58" fmla="*/ 2147483647 w 411"/>
              <a:gd name="T59" fmla="*/ 2147483647 h 882"/>
              <a:gd name="T60" fmla="*/ 2147483647 w 411"/>
              <a:gd name="T61" fmla="*/ 2147483647 h 882"/>
              <a:gd name="T62" fmla="*/ 2147483647 w 411"/>
              <a:gd name="T63" fmla="*/ 2147483647 h 882"/>
              <a:gd name="T64" fmla="*/ 2147483647 w 411"/>
              <a:gd name="T65" fmla="*/ 2147483647 h 882"/>
              <a:gd name="T66" fmla="*/ 2147483647 w 411"/>
              <a:gd name="T67" fmla="*/ 2147483647 h 882"/>
              <a:gd name="T68" fmla="*/ 2147483647 w 411"/>
              <a:gd name="T69" fmla="*/ 2147483647 h 882"/>
              <a:gd name="T70" fmla="*/ 2147483647 w 411"/>
              <a:gd name="T71" fmla="*/ 2147483647 h 882"/>
              <a:gd name="T72" fmla="*/ 2147483647 w 411"/>
              <a:gd name="T73" fmla="*/ 2147483647 h 882"/>
              <a:gd name="T74" fmla="*/ 2147483647 w 411"/>
              <a:gd name="T75" fmla="*/ 2147483647 h 882"/>
              <a:gd name="T76" fmla="*/ 2147483647 w 411"/>
              <a:gd name="T77" fmla="*/ 2147483647 h 882"/>
              <a:gd name="T78" fmla="*/ 2147483647 w 411"/>
              <a:gd name="T79" fmla="*/ 2147483647 h 882"/>
              <a:gd name="T80" fmla="*/ 2147483647 w 411"/>
              <a:gd name="T81" fmla="*/ 2147483647 h 882"/>
              <a:gd name="T82" fmla="*/ 2147483647 w 411"/>
              <a:gd name="T83" fmla="*/ 2147483647 h 882"/>
              <a:gd name="T84" fmla="*/ 2147483647 w 411"/>
              <a:gd name="T85" fmla="*/ 2147483647 h 882"/>
              <a:gd name="T86" fmla="*/ 2147483647 w 411"/>
              <a:gd name="T87" fmla="*/ 2147483647 h 882"/>
              <a:gd name="T88" fmla="*/ 2147483647 w 411"/>
              <a:gd name="T89" fmla="*/ 2147483647 h 882"/>
              <a:gd name="T90" fmla="*/ 2147483647 w 411"/>
              <a:gd name="T91" fmla="*/ 2147483647 h 882"/>
              <a:gd name="T92" fmla="*/ 2147483647 w 411"/>
              <a:gd name="T93" fmla="*/ 2147483647 h 882"/>
              <a:gd name="T94" fmla="*/ 2147483647 w 411"/>
              <a:gd name="T95" fmla="*/ 2147483647 h 882"/>
              <a:gd name="T96" fmla="*/ 2147483647 w 411"/>
              <a:gd name="T97" fmla="*/ 2147483647 h 882"/>
              <a:gd name="T98" fmla="*/ 2147483647 w 411"/>
              <a:gd name="T99" fmla="*/ 2147483647 h 882"/>
              <a:gd name="T100" fmla="*/ 2147483647 w 411"/>
              <a:gd name="T101" fmla="*/ 2147483647 h 882"/>
              <a:gd name="T102" fmla="*/ 2147483647 w 411"/>
              <a:gd name="T103" fmla="*/ 2147483647 h 882"/>
              <a:gd name="T104" fmla="*/ 2147483647 w 411"/>
              <a:gd name="T105" fmla="*/ 2147483647 h 882"/>
              <a:gd name="T106" fmla="*/ 2147483647 w 411"/>
              <a:gd name="T107" fmla="*/ 2147483647 h 882"/>
              <a:gd name="T108" fmla="*/ 2147483647 w 411"/>
              <a:gd name="T109" fmla="*/ 2147483647 h 882"/>
              <a:gd name="T110" fmla="*/ 2147483647 w 411"/>
              <a:gd name="T111" fmla="*/ 2147483647 h 882"/>
              <a:gd name="T112" fmla="*/ 2147483647 w 411"/>
              <a:gd name="T113" fmla="*/ 2147483647 h 882"/>
              <a:gd name="T114" fmla="*/ 2147483647 w 411"/>
              <a:gd name="T115" fmla="*/ 2147483647 h 882"/>
              <a:gd name="T116" fmla="*/ 2147483647 w 411"/>
              <a:gd name="T117" fmla="*/ 2147483647 h 882"/>
              <a:gd name="T118" fmla="*/ 2147483647 w 411"/>
              <a:gd name="T119" fmla="*/ 2147483647 h 882"/>
              <a:gd name="T120" fmla="*/ 2147483647 w 411"/>
              <a:gd name="T121" fmla="*/ 2147483647 h 882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411"/>
              <a:gd name="T184" fmla="*/ 0 h 882"/>
              <a:gd name="T185" fmla="*/ 411 w 411"/>
              <a:gd name="T186" fmla="*/ 882 h 882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411" h="882">
                <a:moveTo>
                  <a:pt x="298" y="882"/>
                </a:moveTo>
                <a:lnTo>
                  <a:pt x="289" y="877"/>
                </a:lnTo>
                <a:lnTo>
                  <a:pt x="304" y="812"/>
                </a:lnTo>
                <a:lnTo>
                  <a:pt x="289" y="802"/>
                </a:lnTo>
                <a:lnTo>
                  <a:pt x="291" y="795"/>
                </a:lnTo>
                <a:lnTo>
                  <a:pt x="298" y="797"/>
                </a:lnTo>
                <a:lnTo>
                  <a:pt x="295" y="754"/>
                </a:lnTo>
                <a:lnTo>
                  <a:pt x="281" y="717"/>
                </a:lnTo>
                <a:lnTo>
                  <a:pt x="276" y="722"/>
                </a:lnTo>
                <a:lnTo>
                  <a:pt x="258" y="659"/>
                </a:lnTo>
                <a:lnTo>
                  <a:pt x="252" y="585"/>
                </a:lnTo>
                <a:lnTo>
                  <a:pt x="235" y="579"/>
                </a:lnTo>
                <a:lnTo>
                  <a:pt x="220" y="565"/>
                </a:lnTo>
                <a:lnTo>
                  <a:pt x="215" y="566"/>
                </a:lnTo>
                <a:lnTo>
                  <a:pt x="207" y="540"/>
                </a:lnTo>
                <a:lnTo>
                  <a:pt x="204" y="576"/>
                </a:lnTo>
                <a:lnTo>
                  <a:pt x="178" y="590"/>
                </a:lnTo>
                <a:lnTo>
                  <a:pt x="144" y="620"/>
                </a:lnTo>
                <a:lnTo>
                  <a:pt x="128" y="614"/>
                </a:lnTo>
                <a:lnTo>
                  <a:pt x="123" y="622"/>
                </a:lnTo>
                <a:lnTo>
                  <a:pt x="106" y="614"/>
                </a:lnTo>
                <a:lnTo>
                  <a:pt x="103" y="610"/>
                </a:lnTo>
                <a:lnTo>
                  <a:pt x="106" y="603"/>
                </a:lnTo>
                <a:lnTo>
                  <a:pt x="93" y="608"/>
                </a:lnTo>
                <a:lnTo>
                  <a:pt x="106" y="553"/>
                </a:lnTo>
                <a:lnTo>
                  <a:pt x="98" y="498"/>
                </a:lnTo>
                <a:lnTo>
                  <a:pt x="77" y="460"/>
                </a:lnTo>
                <a:lnTo>
                  <a:pt x="74" y="470"/>
                </a:lnTo>
                <a:lnTo>
                  <a:pt x="66" y="464"/>
                </a:lnTo>
                <a:lnTo>
                  <a:pt x="61" y="455"/>
                </a:lnTo>
                <a:lnTo>
                  <a:pt x="63" y="446"/>
                </a:lnTo>
                <a:lnTo>
                  <a:pt x="72" y="452"/>
                </a:lnTo>
                <a:lnTo>
                  <a:pt x="64" y="441"/>
                </a:lnTo>
                <a:lnTo>
                  <a:pt x="66" y="430"/>
                </a:lnTo>
                <a:lnTo>
                  <a:pt x="32" y="413"/>
                </a:lnTo>
                <a:lnTo>
                  <a:pt x="32" y="405"/>
                </a:lnTo>
                <a:lnTo>
                  <a:pt x="12" y="393"/>
                </a:lnTo>
                <a:lnTo>
                  <a:pt x="0" y="373"/>
                </a:lnTo>
                <a:lnTo>
                  <a:pt x="1" y="351"/>
                </a:lnTo>
                <a:lnTo>
                  <a:pt x="7" y="348"/>
                </a:lnTo>
                <a:lnTo>
                  <a:pt x="17" y="351"/>
                </a:lnTo>
                <a:lnTo>
                  <a:pt x="15" y="324"/>
                </a:lnTo>
                <a:lnTo>
                  <a:pt x="38" y="312"/>
                </a:lnTo>
                <a:lnTo>
                  <a:pt x="34" y="285"/>
                </a:lnTo>
                <a:lnTo>
                  <a:pt x="35" y="275"/>
                </a:lnTo>
                <a:lnTo>
                  <a:pt x="49" y="272"/>
                </a:lnTo>
                <a:lnTo>
                  <a:pt x="51" y="232"/>
                </a:lnTo>
                <a:lnTo>
                  <a:pt x="55" y="226"/>
                </a:lnTo>
                <a:lnTo>
                  <a:pt x="86" y="226"/>
                </a:lnTo>
                <a:lnTo>
                  <a:pt x="89" y="223"/>
                </a:lnTo>
                <a:lnTo>
                  <a:pt x="110" y="175"/>
                </a:lnTo>
                <a:lnTo>
                  <a:pt x="111" y="158"/>
                </a:lnTo>
                <a:lnTo>
                  <a:pt x="136" y="131"/>
                </a:lnTo>
                <a:lnTo>
                  <a:pt x="134" y="107"/>
                </a:lnTo>
                <a:lnTo>
                  <a:pt x="139" y="94"/>
                </a:lnTo>
                <a:lnTo>
                  <a:pt x="164" y="79"/>
                </a:lnTo>
                <a:lnTo>
                  <a:pt x="179" y="60"/>
                </a:lnTo>
                <a:lnTo>
                  <a:pt x="204" y="53"/>
                </a:lnTo>
                <a:lnTo>
                  <a:pt x="218" y="59"/>
                </a:lnTo>
                <a:lnTo>
                  <a:pt x="222" y="29"/>
                </a:lnTo>
                <a:lnTo>
                  <a:pt x="237" y="20"/>
                </a:lnTo>
                <a:lnTo>
                  <a:pt x="237" y="8"/>
                </a:lnTo>
                <a:lnTo>
                  <a:pt x="247" y="0"/>
                </a:lnTo>
                <a:lnTo>
                  <a:pt x="261" y="6"/>
                </a:lnTo>
                <a:lnTo>
                  <a:pt x="270" y="17"/>
                </a:lnTo>
                <a:lnTo>
                  <a:pt x="279" y="40"/>
                </a:lnTo>
                <a:lnTo>
                  <a:pt x="291" y="40"/>
                </a:lnTo>
                <a:lnTo>
                  <a:pt x="300" y="84"/>
                </a:lnTo>
                <a:lnTo>
                  <a:pt x="296" y="116"/>
                </a:lnTo>
                <a:lnTo>
                  <a:pt x="287" y="138"/>
                </a:lnTo>
                <a:lnTo>
                  <a:pt x="262" y="167"/>
                </a:lnTo>
                <a:lnTo>
                  <a:pt x="253" y="195"/>
                </a:lnTo>
                <a:lnTo>
                  <a:pt x="255" y="215"/>
                </a:lnTo>
                <a:lnTo>
                  <a:pt x="247" y="229"/>
                </a:lnTo>
                <a:lnTo>
                  <a:pt x="252" y="234"/>
                </a:lnTo>
                <a:lnTo>
                  <a:pt x="284" y="214"/>
                </a:lnTo>
                <a:lnTo>
                  <a:pt x="304" y="215"/>
                </a:lnTo>
                <a:lnTo>
                  <a:pt x="309" y="255"/>
                </a:lnTo>
                <a:lnTo>
                  <a:pt x="335" y="270"/>
                </a:lnTo>
                <a:lnTo>
                  <a:pt x="325" y="309"/>
                </a:lnTo>
                <a:lnTo>
                  <a:pt x="354" y="316"/>
                </a:lnTo>
                <a:lnTo>
                  <a:pt x="355" y="326"/>
                </a:lnTo>
                <a:lnTo>
                  <a:pt x="371" y="341"/>
                </a:lnTo>
                <a:lnTo>
                  <a:pt x="388" y="337"/>
                </a:lnTo>
                <a:lnTo>
                  <a:pt x="402" y="328"/>
                </a:lnTo>
                <a:lnTo>
                  <a:pt x="410" y="329"/>
                </a:lnTo>
                <a:lnTo>
                  <a:pt x="411" y="334"/>
                </a:lnTo>
                <a:lnTo>
                  <a:pt x="406" y="345"/>
                </a:lnTo>
                <a:lnTo>
                  <a:pt x="385" y="359"/>
                </a:lnTo>
                <a:lnTo>
                  <a:pt x="386" y="371"/>
                </a:lnTo>
                <a:lnTo>
                  <a:pt x="374" y="373"/>
                </a:lnTo>
                <a:lnTo>
                  <a:pt x="369" y="382"/>
                </a:lnTo>
                <a:lnTo>
                  <a:pt x="354" y="402"/>
                </a:lnTo>
                <a:lnTo>
                  <a:pt x="335" y="409"/>
                </a:lnTo>
                <a:lnTo>
                  <a:pt x="304" y="432"/>
                </a:lnTo>
                <a:lnTo>
                  <a:pt x="269" y="438"/>
                </a:lnTo>
                <a:lnTo>
                  <a:pt x="255" y="472"/>
                </a:lnTo>
                <a:lnTo>
                  <a:pt x="255" y="490"/>
                </a:lnTo>
                <a:lnTo>
                  <a:pt x="249" y="495"/>
                </a:lnTo>
                <a:lnTo>
                  <a:pt x="264" y="534"/>
                </a:lnTo>
                <a:lnTo>
                  <a:pt x="289" y="556"/>
                </a:lnTo>
                <a:lnTo>
                  <a:pt x="291" y="593"/>
                </a:lnTo>
                <a:lnTo>
                  <a:pt x="300" y="594"/>
                </a:lnTo>
                <a:lnTo>
                  <a:pt x="303" y="602"/>
                </a:lnTo>
                <a:lnTo>
                  <a:pt x="293" y="619"/>
                </a:lnTo>
                <a:lnTo>
                  <a:pt x="291" y="636"/>
                </a:lnTo>
                <a:lnTo>
                  <a:pt x="278" y="653"/>
                </a:lnTo>
                <a:lnTo>
                  <a:pt x="276" y="664"/>
                </a:lnTo>
                <a:lnTo>
                  <a:pt x="281" y="678"/>
                </a:lnTo>
                <a:lnTo>
                  <a:pt x="313" y="707"/>
                </a:lnTo>
                <a:lnTo>
                  <a:pt x="318" y="746"/>
                </a:lnTo>
                <a:lnTo>
                  <a:pt x="342" y="803"/>
                </a:lnTo>
                <a:lnTo>
                  <a:pt x="325" y="834"/>
                </a:lnTo>
                <a:lnTo>
                  <a:pt x="309" y="851"/>
                </a:lnTo>
                <a:lnTo>
                  <a:pt x="298" y="882"/>
                </a:lnTo>
                <a:close/>
                <a:moveTo>
                  <a:pt x="283" y="768"/>
                </a:moveTo>
                <a:lnTo>
                  <a:pt x="283" y="781"/>
                </a:lnTo>
                <a:lnTo>
                  <a:pt x="286" y="778"/>
                </a:lnTo>
                <a:lnTo>
                  <a:pt x="283" y="768"/>
                </a:lnTo>
                <a:close/>
                <a:moveTo>
                  <a:pt x="289" y="806"/>
                </a:moveTo>
                <a:lnTo>
                  <a:pt x="281" y="819"/>
                </a:lnTo>
                <a:lnTo>
                  <a:pt x="291" y="819"/>
                </a:lnTo>
                <a:lnTo>
                  <a:pt x="289" y="806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20" name="Freeform 109"/>
          <p:cNvSpPr>
            <a:spLocks noChangeAspect="1" noEditPoints="1"/>
          </p:cNvSpPr>
          <p:nvPr/>
        </p:nvSpPr>
        <p:spPr bwMode="gray">
          <a:xfrm>
            <a:off x="6059488" y="2416175"/>
            <a:ext cx="1374775" cy="1003300"/>
          </a:xfrm>
          <a:custGeom>
            <a:avLst/>
            <a:gdLst>
              <a:gd name="T0" fmla="*/ 2147483647 w 2821"/>
              <a:gd name="T1" fmla="*/ 2147483647 h 2063"/>
              <a:gd name="T2" fmla="*/ 2147483647 w 2821"/>
              <a:gd name="T3" fmla="*/ 2147483647 h 2063"/>
              <a:gd name="T4" fmla="*/ 2147483647 w 2821"/>
              <a:gd name="T5" fmla="*/ 2147483647 h 2063"/>
              <a:gd name="T6" fmla="*/ 2147483647 w 2821"/>
              <a:gd name="T7" fmla="*/ 2147483647 h 2063"/>
              <a:gd name="T8" fmla="*/ 2147483647 w 2821"/>
              <a:gd name="T9" fmla="*/ 2147483647 h 2063"/>
              <a:gd name="T10" fmla="*/ 2147483647 w 2821"/>
              <a:gd name="T11" fmla="*/ 2147483647 h 2063"/>
              <a:gd name="T12" fmla="*/ 2147483647 w 2821"/>
              <a:gd name="T13" fmla="*/ 2147483647 h 2063"/>
              <a:gd name="T14" fmla="*/ 2147483647 w 2821"/>
              <a:gd name="T15" fmla="*/ 2147483647 h 2063"/>
              <a:gd name="T16" fmla="*/ 2147483647 w 2821"/>
              <a:gd name="T17" fmla="*/ 2147483647 h 2063"/>
              <a:gd name="T18" fmla="*/ 2147483647 w 2821"/>
              <a:gd name="T19" fmla="*/ 2147483647 h 2063"/>
              <a:gd name="T20" fmla="*/ 2147483647 w 2821"/>
              <a:gd name="T21" fmla="*/ 2147483647 h 2063"/>
              <a:gd name="T22" fmla="*/ 2147483647 w 2821"/>
              <a:gd name="T23" fmla="*/ 2147483647 h 2063"/>
              <a:gd name="T24" fmla="*/ 2147483647 w 2821"/>
              <a:gd name="T25" fmla="*/ 2147483647 h 2063"/>
              <a:gd name="T26" fmla="*/ 2147483647 w 2821"/>
              <a:gd name="T27" fmla="*/ 2147483647 h 2063"/>
              <a:gd name="T28" fmla="*/ 2147483647 w 2821"/>
              <a:gd name="T29" fmla="*/ 2147483647 h 2063"/>
              <a:gd name="T30" fmla="*/ 2147483647 w 2821"/>
              <a:gd name="T31" fmla="*/ 2147483647 h 2063"/>
              <a:gd name="T32" fmla="*/ 2147483647 w 2821"/>
              <a:gd name="T33" fmla="*/ 2147483647 h 2063"/>
              <a:gd name="T34" fmla="*/ 2147483647 w 2821"/>
              <a:gd name="T35" fmla="*/ 2147483647 h 2063"/>
              <a:gd name="T36" fmla="*/ 2147483647 w 2821"/>
              <a:gd name="T37" fmla="*/ 2147483647 h 2063"/>
              <a:gd name="T38" fmla="*/ 2147483647 w 2821"/>
              <a:gd name="T39" fmla="*/ 2147483647 h 2063"/>
              <a:gd name="T40" fmla="*/ 2147483647 w 2821"/>
              <a:gd name="T41" fmla="*/ 2147483647 h 2063"/>
              <a:gd name="T42" fmla="*/ 2147483647 w 2821"/>
              <a:gd name="T43" fmla="*/ 2147483647 h 2063"/>
              <a:gd name="T44" fmla="*/ 2147483647 w 2821"/>
              <a:gd name="T45" fmla="*/ 2147483647 h 2063"/>
              <a:gd name="T46" fmla="*/ 2147483647 w 2821"/>
              <a:gd name="T47" fmla="*/ 2147483647 h 2063"/>
              <a:gd name="T48" fmla="*/ 2147483647 w 2821"/>
              <a:gd name="T49" fmla="*/ 2147483647 h 2063"/>
              <a:gd name="T50" fmla="*/ 2147483647 w 2821"/>
              <a:gd name="T51" fmla="*/ 2147483647 h 2063"/>
              <a:gd name="T52" fmla="*/ 2147483647 w 2821"/>
              <a:gd name="T53" fmla="*/ 2147483647 h 2063"/>
              <a:gd name="T54" fmla="*/ 2147483647 w 2821"/>
              <a:gd name="T55" fmla="*/ 2147483647 h 2063"/>
              <a:gd name="T56" fmla="*/ 2147483647 w 2821"/>
              <a:gd name="T57" fmla="*/ 2147483647 h 2063"/>
              <a:gd name="T58" fmla="*/ 2147483647 w 2821"/>
              <a:gd name="T59" fmla="*/ 2147483647 h 2063"/>
              <a:gd name="T60" fmla="*/ 2147483647 w 2821"/>
              <a:gd name="T61" fmla="*/ 2147483647 h 2063"/>
              <a:gd name="T62" fmla="*/ 2147483647 w 2821"/>
              <a:gd name="T63" fmla="*/ 2147483647 h 2063"/>
              <a:gd name="T64" fmla="*/ 2147483647 w 2821"/>
              <a:gd name="T65" fmla="*/ 2147483647 h 2063"/>
              <a:gd name="T66" fmla="*/ 2147483647 w 2821"/>
              <a:gd name="T67" fmla="*/ 2147483647 h 2063"/>
              <a:gd name="T68" fmla="*/ 2147483647 w 2821"/>
              <a:gd name="T69" fmla="*/ 2147483647 h 2063"/>
              <a:gd name="T70" fmla="*/ 2147483647 w 2821"/>
              <a:gd name="T71" fmla="*/ 2147483647 h 2063"/>
              <a:gd name="T72" fmla="*/ 2147483647 w 2821"/>
              <a:gd name="T73" fmla="*/ 2147483647 h 2063"/>
              <a:gd name="T74" fmla="*/ 2147483647 w 2821"/>
              <a:gd name="T75" fmla="*/ 2147483647 h 2063"/>
              <a:gd name="T76" fmla="*/ 2147483647 w 2821"/>
              <a:gd name="T77" fmla="*/ 2147483647 h 2063"/>
              <a:gd name="T78" fmla="*/ 2147483647 w 2821"/>
              <a:gd name="T79" fmla="*/ 2147483647 h 2063"/>
              <a:gd name="T80" fmla="*/ 2147483647 w 2821"/>
              <a:gd name="T81" fmla="*/ 2147483647 h 2063"/>
              <a:gd name="T82" fmla="*/ 2147483647 w 2821"/>
              <a:gd name="T83" fmla="*/ 2147483647 h 2063"/>
              <a:gd name="T84" fmla="*/ 2147483647 w 2821"/>
              <a:gd name="T85" fmla="*/ 2147483647 h 2063"/>
              <a:gd name="T86" fmla="*/ 2147483647 w 2821"/>
              <a:gd name="T87" fmla="*/ 2147483647 h 2063"/>
              <a:gd name="T88" fmla="*/ 2147483647 w 2821"/>
              <a:gd name="T89" fmla="*/ 2147483647 h 2063"/>
              <a:gd name="T90" fmla="*/ 2147483647 w 2821"/>
              <a:gd name="T91" fmla="*/ 2147483647 h 2063"/>
              <a:gd name="T92" fmla="*/ 2147483647 w 2821"/>
              <a:gd name="T93" fmla="*/ 2147483647 h 2063"/>
              <a:gd name="T94" fmla="*/ 2147483647 w 2821"/>
              <a:gd name="T95" fmla="*/ 2147483647 h 2063"/>
              <a:gd name="T96" fmla="*/ 2147483647 w 2821"/>
              <a:gd name="T97" fmla="*/ 2147483647 h 2063"/>
              <a:gd name="T98" fmla="*/ 2147483647 w 2821"/>
              <a:gd name="T99" fmla="*/ 2147483647 h 2063"/>
              <a:gd name="T100" fmla="*/ 2147483647 w 2821"/>
              <a:gd name="T101" fmla="*/ 2147483647 h 2063"/>
              <a:gd name="T102" fmla="*/ 2147483647 w 2821"/>
              <a:gd name="T103" fmla="*/ 2147483647 h 2063"/>
              <a:gd name="T104" fmla="*/ 2147483647 w 2821"/>
              <a:gd name="T105" fmla="*/ 2147483647 h 2063"/>
              <a:gd name="T106" fmla="*/ 2147483647 w 2821"/>
              <a:gd name="T107" fmla="*/ 2147483647 h 2063"/>
              <a:gd name="T108" fmla="*/ 2147483647 w 2821"/>
              <a:gd name="T109" fmla="*/ 2147483647 h 2063"/>
              <a:gd name="T110" fmla="*/ 2147483647 w 2821"/>
              <a:gd name="T111" fmla="*/ 2147483647 h 2063"/>
              <a:gd name="T112" fmla="*/ 2147483647 w 2821"/>
              <a:gd name="T113" fmla="*/ 2147483647 h 20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2821"/>
              <a:gd name="T172" fmla="*/ 0 h 2063"/>
              <a:gd name="T173" fmla="*/ 2821 w 2821"/>
              <a:gd name="T174" fmla="*/ 2063 h 20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2821" h="2063">
                <a:moveTo>
                  <a:pt x="1884" y="1854"/>
                </a:moveTo>
                <a:lnTo>
                  <a:pt x="1878" y="1845"/>
                </a:lnTo>
                <a:lnTo>
                  <a:pt x="1871" y="1848"/>
                </a:lnTo>
                <a:lnTo>
                  <a:pt x="1873" y="1856"/>
                </a:lnTo>
                <a:lnTo>
                  <a:pt x="1859" y="1859"/>
                </a:lnTo>
                <a:lnTo>
                  <a:pt x="1856" y="1849"/>
                </a:lnTo>
                <a:lnTo>
                  <a:pt x="1839" y="1834"/>
                </a:lnTo>
                <a:lnTo>
                  <a:pt x="1837" y="1862"/>
                </a:lnTo>
                <a:lnTo>
                  <a:pt x="1833" y="1862"/>
                </a:lnTo>
                <a:lnTo>
                  <a:pt x="1817" y="1844"/>
                </a:lnTo>
                <a:lnTo>
                  <a:pt x="1810" y="1879"/>
                </a:lnTo>
                <a:lnTo>
                  <a:pt x="1778" y="1888"/>
                </a:lnTo>
                <a:lnTo>
                  <a:pt x="1760" y="1888"/>
                </a:lnTo>
                <a:lnTo>
                  <a:pt x="1751" y="1896"/>
                </a:lnTo>
                <a:lnTo>
                  <a:pt x="1724" y="1898"/>
                </a:lnTo>
                <a:lnTo>
                  <a:pt x="1701" y="1908"/>
                </a:lnTo>
                <a:lnTo>
                  <a:pt x="1693" y="1907"/>
                </a:lnTo>
                <a:lnTo>
                  <a:pt x="1683" y="1928"/>
                </a:lnTo>
                <a:lnTo>
                  <a:pt x="1693" y="1945"/>
                </a:lnTo>
                <a:lnTo>
                  <a:pt x="1693" y="1953"/>
                </a:lnTo>
                <a:lnTo>
                  <a:pt x="1680" y="1961"/>
                </a:lnTo>
                <a:lnTo>
                  <a:pt x="1672" y="1956"/>
                </a:lnTo>
                <a:lnTo>
                  <a:pt x="1658" y="1930"/>
                </a:lnTo>
                <a:lnTo>
                  <a:pt x="1663" y="1903"/>
                </a:lnTo>
                <a:lnTo>
                  <a:pt x="1659" y="1896"/>
                </a:lnTo>
                <a:lnTo>
                  <a:pt x="1638" y="1905"/>
                </a:lnTo>
                <a:lnTo>
                  <a:pt x="1633" y="1896"/>
                </a:lnTo>
                <a:lnTo>
                  <a:pt x="1610" y="1890"/>
                </a:lnTo>
                <a:lnTo>
                  <a:pt x="1595" y="1898"/>
                </a:lnTo>
                <a:lnTo>
                  <a:pt x="1595" y="1905"/>
                </a:lnTo>
                <a:lnTo>
                  <a:pt x="1592" y="1896"/>
                </a:lnTo>
                <a:lnTo>
                  <a:pt x="1580" y="1902"/>
                </a:lnTo>
                <a:lnTo>
                  <a:pt x="1551" y="1896"/>
                </a:lnTo>
                <a:lnTo>
                  <a:pt x="1528" y="1881"/>
                </a:lnTo>
                <a:lnTo>
                  <a:pt x="1517" y="1857"/>
                </a:lnTo>
                <a:lnTo>
                  <a:pt x="1520" y="1845"/>
                </a:lnTo>
                <a:lnTo>
                  <a:pt x="1517" y="1837"/>
                </a:lnTo>
                <a:lnTo>
                  <a:pt x="1491" y="1834"/>
                </a:lnTo>
                <a:lnTo>
                  <a:pt x="1455" y="1817"/>
                </a:lnTo>
                <a:lnTo>
                  <a:pt x="1419" y="1839"/>
                </a:lnTo>
                <a:lnTo>
                  <a:pt x="1407" y="1837"/>
                </a:lnTo>
                <a:lnTo>
                  <a:pt x="1392" y="1848"/>
                </a:lnTo>
                <a:lnTo>
                  <a:pt x="1389" y="1842"/>
                </a:lnTo>
                <a:lnTo>
                  <a:pt x="1377" y="1845"/>
                </a:lnTo>
                <a:lnTo>
                  <a:pt x="1372" y="1842"/>
                </a:lnTo>
                <a:lnTo>
                  <a:pt x="1355" y="1851"/>
                </a:lnTo>
                <a:lnTo>
                  <a:pt x="1330" y="1840"/>
                </a:lnTo>
                <a:lnTo>
                  <a:pt x="1318" y="1856"/>
                </a:lnTo>
                <a:lnTo>
                  <a:pt x="1296" y="1849"/>
                </a:lnTo>
                <a:lnTo>
                  <a:pt x="1288" y="1857"/>
                </a:lnTo>
                <a:lnTo>
                  <a:pt x="1288" y="1881"/>
                </a:lnTo>
                <a:lnTo>
                  <a:pt x="1296" y="1894"/>
                </a:lnTo>
                <a:lnTo>
                  <a:pt x="1290" y="1910"/>
                </a:lnTo>
                <a:lnTo>
                  <a:pt x="1273" y="1913"/>
                </a:lnTo>
                <a:lnTo>
                  <a:pt x="1268" y="1891"/>
                </a:lnTo>
                <a:lnTo>
                  <a:pt x="1267" y="1886"/>
                </a:lnTo>
                <a:lnTo>
                  <a:pt x="1259" y="1885"/>
                </a:lnTo>
                <a:lnTo>
                  <a:pt x="1245" y="1894"/>
                </a:lnTo>
                <a:lnTo>
                  <a:pt x="1228" y="1898"/>
                </a:lnTo>
                <a:lnTo>
                  <a:pt x="1212" y="1883"/>
                </a:lnTo>
                <a:lnTo>
                  <a:pt x="1211" y="1873"/>
                </a:lnTo>
                <a:lnTo>
                  <a:pt x="1182" y="1866"/>
                </a:lnTo>
                <a:lnTo>
                  <a:pt x="1192" y="1827"/>
                </a:lnTo>
                <a:lnTo>
                  <a:pt x="1166" y="1812"/>
                </a:lnTo>
                <a:lnTo>
                  <a:pt x="1161" y="1772"/>
                </a:lnTo>
                <a:lnTo>
                  <a:pt x="1141" y="1771"/>
                </a:lnTo>
                <a:lnTo>
                  <a:pt x="1109" y="1791"/>
                </a:lnTo>
                <a:lnTo>
                  <a:pt x="1104" y="1786"/>
                </a:lnTo>
                <a:lnTo>
                  <a:pt x="1112" y="1772"/>
                </a:lnTo>
                <a:lnTo>
                  <a:pt x="1110" y="1752"/>
                </a:lnTo>
                <a:lnTo>
                  <a:pt x="1119" y="1724"/>
                </a:lnTo>
                <a:lnTo>
                  <a:pt x="1144" y="1695"/>
                </a:lnTo>
                <a:lnTo>
                  <a:pt x="1153" y="1673"/>
                </a:lnTo>
                <a:lnTo>
                  <a:pt x="1157" y="1641"/>
                </a:lnTo>
                <a:lnTo>
                  <a:pt x="1148" y="1597"/>
                </a:lnTo>
                <a:lnTo>
                  <a:pt x="1136" y="1597"/>
                </a:lnTo>
                <a:lnTo>
                  <a:pt x="1127" y="1574"/>
                </a:lnTo>
                <a:lnTo>
                  <a:pt x="1118" y="1563"/>
                </a:lnTo>
                <a:lnTo>
                  <a:pt x="1104" y="1557"/>
                </a:lnTo>
                <a:lnTo>
                  <a:pt x="1094" y="1565"/>
                </a:lnTo>
                <a:lnTo>
                  <a:pt x="1090" y="1556"/>
                </a:lnTo>
                <a:lnTo>
                  <a:pt x="1082" y="1551"/>
                </a:lnTo>
                <a:lnTo>
                  <a:pt x="1047" y="1548"/>
                </a:lnTo>
                <a:lnTo>
                  <a:pt x="1050" y="1524"/>
                </a:lnTo>
                <a:lnTo>
                  <a:pt x="1039" y="1520"/>
                </a:lnTo>
                <a:lnTo>
                  <a:pt x="1039" y="1506"/>
                </a:lnTo>
                <a:lnTo>
                  <a:pt x="1030" y="1495"/>
                </a:lnTo>
                <a:lnTo>
                  <a:pt x="996" y="1511"/>
                </a:lnTo>
                <a:lnTo>
                  <a:pt x="963" y="1506"/>
                </a:lnTo>
                <a:lnTo>
                  <a:pt x="892" y="1562"/>
                </a:lnTo>
                <a:lnTo>
                  <a:pt x="833" y="1585"/>
                </a:lnTo>
                <a:lnTo>
                  <a:pt x="816" y="1573"/>
                </a:lnTo>
                <a:lnTo>
                  <a:pt x="801" y="1574"/>
                </a:lnTo>
                <a:lnTo>
                  <a:pt x="776" y="1569"/>
                </a:lnTo>
                <a:lnTo>
                  <a:pt x="767" y="1560"/>
                </a:lnTo>
                <a:lnTo>
                  <a:pt x="750" y="1560"/>
                </a:lnTo>
                <a:lnTo>
                  <a:pt x="730" y="1573"/>
                </a:lnTo>
                <a:lnTo>
                  <a:pt x="703" y="1607"/>
                </a:lnTo>
                <a:lnTo>
                  <a:pt x="694" y="1603"/>
                </a:lnTo>
                <a:lnTo>
                  <a:pt x="697" y="1582"/>
                </a:lnTo>
                <a:lnTo>
                  <a:pt x="694" y="1571"/>
                </a:lnTo>
                <a:lnTo>
                  <a:pt x="665" y="1580"/>
                </a:lnTo>
                <a:lnTo>
                  <a:pt x="655" y="1580"/>
                </a:lnTo>
                <a:lnTo>
                  <a:pt x="651" y="1586"/>
                </a:lnTo>
                <a:lnTo>
                  <a:pt x="629" y="1585"/>
                </a:lnTo>
                <a:lnTo>
                  <a:pt x="598" y="1571"/>
                </a:lnTo>
                <a:lnTo>
                  <a:pt x="591" y="1580"/>
                </a:lnTo>
                <a:lnTo>
                  <a:pt x="574" y="1574"/>
                </a:lnTo>
                <a:lnTo>
                  <a:pt x="566" y="1578"/>
                </a:lnTo>
                <a:lnTo>
                  <a:pt x="554" y="1563"/>
                </a:lnTo>
                <a:lnTo>
                  <a:pt x="542" y="1565"/>
                </a:lnTo>
                <a:lnTo>
                  <a:pt x="530" y="1556"/>
                </a:lnTo>
                <a:lnTo>
                  <a:pt x="530" y="1539"/>
                </a:lnTo>
                <a:lnTo>
                  <a:pt x="512" y="1543"/>
                </a:lnTo>
                <a:lnTo>
                  <a:pt x="493" y="1537"/>
                </a:lnTo>
                <a:lnTo>
                  <a:pt x="490" y="1531"/>
                </a:lnTo>
                <a:lnTo>
                  <a:pt x="484" y="1532"/>
                </a:lnTo>
                <a:lnTo>
                  <a:pt x="486" y="1507"/>
                </a:lnTo>
                <a:lnTo>
                  <a:pt x="473" y="1506"/>
                </a:lnTo>
                <a:lnTo>
                  <a:pt x="456" y="1519"/>
                </a:lnTo>
                <a:lnTo>
                  <a:pt x="448" y="1512"/>
                </a:lnTo>
                <a:lnTo>
                  <a:pt x="442" y="1492"/>
                </a:lnTo>
                <a:lnTo>
                  <a:pt x="403" y="1463"/>
                </a:lnTo>
                <a:lnTo>
                  <a:pt x="357" y="1453"/>
                </a:lnTo>
                <a:lnTo>
                  <a:pt x="352" y="1466"/>
                </a:lnTo>
                <a:lnTo>
                  <a:pt x="340" y="1456"/>
                </a:lnTo>
                <a:lnTo>
                  <a:pt x="293" y="1430"/>
                </a:lnTo>
                <a:lnTo>
                  <a:pt x="289" y="1422"/>
                </a:lnTo>
                <a:lnTo>
                  <a:pt x="272" y="1421"/>
                </a:lnTo>
                <a:lnTo>
                  <a:pt x="269" y="1413"/>
                </a:lnTo>
                <a:lnTo>
                  <a:pt x="244" y="1416"/>
                </a:lnTo>
                <a:lnTo>
                  <a:pt x="244" y="1405"/>
                </a:lnTo>
                <a:lnTo>
                  <a:pt x="232" y="1392"/>
                </a:lnTo>
                <a:lnTo>
                  <a:pt x="235" y="1362"/>
                </a:lnTo>
                <a:lnTo>
                  <a:pt x="222" y="1348"/>
                </a:lnTo>
                <a:lnTo>
                  <a:pt x="221" y="1333"/>
                </a:lnTo>
                <a:lnTo>
                  <a:pt x="232" y="1326"/>
                </a:lnTo>
                <a:lnTo>
                  <a:pt x="244" y="1342"/>
                </a:lnTo>
                <a:lnTo>
                  <a:pt x="252" y="1339"/>
                </a:lnTo>
                <a:lnTo>
                  <a:pt x="259" y="1329"/>
                </a:lnTo>
                <a:lnTo>
                  <a:pt x="266" y="1333"/>
                </a:lnTo>
                <a:lnTo>
                  <a:pt x="272" y="1322"/>
                </a:lnTo>
                <a:lnTo>
                  <a:pt x="264" y="1309"/>
                </a:lnTo>
                <a:lnTo>
                  <a:pt x="264" y="1299"/>
                </a:lnTo>
                <a:lnTo>
                  <a:pt x="252" y="1295"/>
                </a:lnTo>
                <a:lnTo>
                  <a:pt x="244" y="1288"/>
                </a:lnTo>
                <a:lnTo>
                  <a:pt x="247" y="1265"/>
                </a:lnTo>
                <a:lnTo>
                  <a:pt x="242" y="1254"/>
                </a:lnTo>
                <a:lnTo>
                  <a:pt x="264" y="1254"/>
                </a:lnTo>
                <a:lnTo>
                  <a:pt x="271" y="1246"/>
                </a:lnTo>
                <a:lnTo>
                  <a:pt x="275" y="1229"/>
                </a:lnTo>
                <a:lnTo>
                  <a:pt x="283" y="1228"/>
                </a:lnTo>
                <a:lnTo>
                  <a:pt x="283" y="1221"/>
                </a:lnTo>
                <a:lnTo>
                  <a:pt x="295" y="1211"/>
                </a:lnTo>
                <a:lnTo>
                  <a:pt x="308" y="1167"/>
                </a:lnTo>
                <a:lnTo>
                  <a:pt x="303" y="1165"/>
                </a:lnTo>
                <a:lnTo>
                  <a:pt x="295" y="1172"/>
                </a:lnTo>
                <a:lnTo>
                  <a:pt x="292" y="1160"/>
                </a:lnTo>
                <a:lnTo>
                  <a:pt x="283" y="1162"/>
                </a:lnTo>
                <a:lnTo>
                  <a:pt x="276" y="1156"/>
                </a:lnTo>
                <a:lnTo>
                  <a:pt x="276" y="1150"/>
                </a:lnTo>
                <a:lnTo>
                  <a:pt x="259" y="1139"/>
                </a:lnTo>
                <a:lnTo>
                  <a:pt x="233" y="1145"/>
                </a:lnTo>
                <a:lnTo>
                  <a:pt x="198" y="1170"/>
                </a:lnTo>
                <a:lnTo>
                  <a:pt x="185" y="1170"/>
                </a:lnTo>
                <a:lnTo>
                  <a:pt x="142" y="1156"/>
                </a:lnTo>
                <a:lnTo>
                  <a:pt x="134" y="1152"/>
                </a:lnTo>
                <a:lnTo>
                  <a:pt x="134" y="1144"/>
                </a:lnTo>
                <a:lnTo>
                  <a:pt x="117" y="1148"/>
                </a:lnTo>
                <a:lnTo>
                  <a:pt x="103" y="1133"/>
                </a:lnTo>
                <a:lnTo>
                  <a:pt x="108" y="1128"/>
                </a:lnTo>
                <a:lnTo>
                  <a:pt x="106" y="1111"/>
                </a:lnTo>
                <a:lnTo>
                  <a:pt x="100" y="1101"/>
                </a:lnTo>
                <a:lnTo>
                  <a:pt x="91" y="1094"/>
                </a:lnTo>
                <a:lnTo>
                  <a:pt x="81" y="1099"/>
                </a:lnTo>
                <a:lnTo>
                  <a:pt x="78" y="1085"/>
                </a:lnTo>
                <a:lnTo>
                  <a:pt x="46" y="1080"/>
                </a:lnTo>
                <a:lnTo>
                  <a:pt x="37" y="1072"/>
                </a:lnTo>
                <a:lnTo>
                  <a:pt x="51" y="1067"/>
                </a:lnTo>
                <a:lnTo>
                  <a:pt x="61" y="1067"/>
                </a:lnTo>
                <a:lnTo>
                  <a:pt x="61" y="1038"/>
                </a:lnTo>
                <a:lnTo>
                  <a:pt x="51" y="1018"/>
                </a:lnTo>
                <a:lnTo>
                  <a:pt x="51" y="1001"/>
                </a:lnTo>
                <a:lnTo>
                  <a:pt x="46" y="992"/>
                </a:lnTo>
                <a:lnTo>
                  <a:pt x="13" y="996"/>
                </a:lnTo>
                <a:lnTo>
                  <a:pt x="3" y="989"/>
                </a:lnTo>
                <a:lnTo>
                  <a:pt x="0" y="974"/>
                </a:lnTo>
                <a:lnTo>
                  <a:pt x="7" y="929"/>
                </a:lnTo>
                <a:lnTo>
                  <a:pt x="7" y="920"/>
                </a:lnTo>
                <a:lnTo>
                  <a:pt x="15" y="904"/>
                </a:lnTo>
                <a:lnTo>
                  <a:pt x="51" y="887"/>
                </a:lnTo>
                <a:lnTo>
                  <a:pt x="55" y="876"/>
                </a:lnTo>
                <a:lnTo>
                  <a:pt x="78" y="874"/>
                </a:lnTo>
                <a:lnTo>
                  <a:pt x="86" y="876"/>
                </a:lnTo>
                <a:lnTo>
                  <a:pt x="91" y="886"/>
                </a:lnTo>
                <a:lnTo>
                  <a:pt x="123" y="884"/>
                </a:lnTo>
                <a:lnTo>
                  <a:pt x="134" y="878"/>
                </a:lnTo>
                <a:lnTo>
                  <a:pt x="147" y="852"/>
                </a:lnTo>
                <a:lnTo>
                  <a:pt x="210" y="839"/>
                </a:lnTo>
                <a:lnTo>
                  <a:pt x="229" y="816"/>
                </a:lnTo>
                <a:lnTo>
                  <a:pt x="300" y="782"/>
                </a:lnTo>
                <a:lnTo>
                  <a:pt x="303" y="760"/>
                </a:lnTo>
                <a:lnTo>
                  <a:pt x="312" y="720"/>
                </a:lnTo>
                <a:lnTo>
                  <a:pt x="323" y="712"/>
                </a:lnTo>
                <a:lnTo>
                  <a:pt x="323" y="700"/>
                </a:lnTo>
                <a:lnTo>
                  <a:pt x="306" y="655"/>
                </a:lnTo>
                <a:lnTo>
                  <a:pt x="303" y="624"/>
                </a:lnTo>
                <a:lnTo>
                  <a:pt x="289" y="605"/>
                </a:lnTo>
                <a:lnTo>
                  <a:pt x="325" y="593"/>
                </a:lnTo>
                <a:lnTo>
                  <a:pt x="347" y="584"/>
                </a:lnTo>
                <a:lnTo>
                  <a:pt x="402" y="578"/>
                </a:lnTo>
                <a:lnTo>
                  <a:pt x="394" y="551"/>
                </a:lnTo>
                <a:lnTo>
                  <a:pt x="396" y="534"/>
                </a:lnTo>
                <a:lnTo>
                  <a:pt x="413" y="489"/>
                </a:lnTo>
                <a:lnTo>
                  <a:pt x="428" y="451"/>
                </a:lnTo>
                <a:lnTo>
                  <a:pt x="448" y="452"/>
                </a:lnTo>
                <a:lnTo>
                  <a:pt x="471" y="463"/>
                </a:lnTo>
                <a:lnTo>
                  <a:pt x="501" y="460"/>
                </a:lnTo>
                <a:lnTo>
                  <a:pt x="516" y="472"/>
                </a:lnTo>
                <a:lnTo>
                  <a:pt x="549" y="457"/>
                </a:lnTo>
                <a:lnTo>
                  <a:pt x="549" y="407"/>
                </a:lnTo>
                <a:lnTo>
                  <a:pt x="563" y="370"/>
                </a:lnTo>
                <a:lnTo>
                  <a:pt x="591" y="366"/>
                </a:lnTo>
                <a:lnTo>
                  <a:pt x="615" y="336"/>
                </a:lnTo>
                <a:lnTo>
                  <a:pt x="635" y="341"/>
                </a:lnTo>
                <a:lnTo>
                  <a:pt x="652" y="327"/>
                </a:lnTo>
                <a:lnTo>
                  <a:pt x="663" y="361"/>
                </a:lnTo>
                <a:lnTo>
                  <a:pt x="689" y="381"/>
                </a:lnTo>
                <a:lnTo>
                  <a:pt x="697" y="398"/>
                </a:lnTo>
                <a:lnTo>
                  <a:pt x="710" y="409"/>
                </a:lnTo>
                <a:lnTo>
                  <a:pt x="716" y="398"/>
                </a:lnTo>
                <a:lnTo>
                  <a:pt x="757" y="410"/>
                </a:lnTo>
                <a:lnTo>
                  <a:pt x="764" y="424"/>
                </a:lnTo>
                <a:lnTo>
                  <a:pt x="789" y="493"/>
                </a:lnTo>
                <a:lnTo>
                  <a:pt x="793" y="548"/>
                </a:lnTo>
                <a:lnTo>
                  <a:pt x="784" y="574"/>
                </a:lnTo>
                <a:lnTo>
                  <a:pt x="858" y="598"/>
                </a:lnTo>
                <a:lnTo>
                  <a:pt x="887" y="593"/>
                </a:lnTo>
                <a:lnTo>
                  <a:pt x="996" y="638"/>
                </a:lnTo>
                <a:lnTo>
                  <a:pt x="1031" y="698"/>
                </a:lnTo>
                <a:lnTo>
                  <a:pt x="1065" y="735"/>
                </a:lnTo>
                <a:lnTo>
                  <a:pt x="1079" y="740"/>
                </a:lnTo>
                <a:lnTo>
                  <a:pt x="1250" y="732"/>
                </a:lnTo>
                <a:lnTo>
                  <a:pt x="1287" y="743"/>
                </a:lnTo>
                <a:lnTo>
                  <a:pt x="1326" y="772"/>
                </a:lnTo>
                <a:lnTo>
                  <a:pt x="1389" y="794"/>
                </a:lnTo>
                <a:lnTo>
                  <a:pt x="1412" y="796"/>
                </a:lnTo>
                <a:lnTo>
                  <a:pt x="1436" y="810"/>
                </a:lnTo>
                <a:lnTo>
                  <a:pt x="1505" y="780"/>
                </a:lnTo>
                <a:lnTo>
                  <a:pt x="1512" y="772"/>
                </a:lnTo>
                <a:lnTo>
                  <a:pt x="1568" y="757"/>
                </a:lnTo>
                <a:lnTo>
                  <a:pt x="1604" y="754"/>
                </a:lnTo>
                <a:lnTo>
                  <a:pt x="1626" y="760"/>
                </a:lnTo>
                <a:lnTo>
                  <a:pt x="1680" y="746"/>
                </a:lnTo>
                <a:lnTo>
                  <a:pt x="1765" y="674"/>
                </a:lnTo>
                <a:lnTo>
                  <a:pt x="1763" y="664"/>
                </a:lnTo>
                <a:lnTo>
                  <a:pt x="1744" y="641"/>
                </a:lnTo>
                <a:lnTo>
                  <a:pt x="1765" y="596"/>
                </a:lnTo>
                <a:lnTo>
                  <a:pt x="1783" y="591"/>
                </a:lnTo>
                <a:lnTo>
                  <a:pt x="1807" y="607"/>
                </a:lnTo>
                <a:lnTo>
                  <a:pt x="1839" y="612"/>
                </a:lnTo>
                <a:lnTo>
                  <a:pt x="1862" y="596"/>
                </a:lnTo>
                <a:lnTo>
                  <a:pt x="1895" y="561"/>
                </a:lnTo>
                <a:lnTo>
                  <a:pt x="1913" y="562"/>
                </a:lnTo>
                <a:lnTo>
                  <a:pt x="1935" y="548"/>
                </a:lnTo>
                <a:lnTo>
                  <a:pt x="1992" y="491"/>
                </a:lnTo>
                <a:lnTo>
                  <a:pt x="2054" y="486"/>
                </a:lnTo>
                <a:lnTo>
                  <a:pt x="2111" y="483"/>
                </a:lnTo>
                <a:lnTo>
                  <a:pt x="2110" y="471"/>
                </a:lnTo>
                <a:lnTo>
                  <a:pt x="2099" y="464"/>
                </a:lnTo>
                <a:lnTo>
                  <a:pt x="2100" y="446"/>
                </a:lnTo>
                <a:lnTo>
                  <a:pt x="2094" y="435"/>
                </a:lnTo>
                <a:lnTo>
                  <a:pt x="2071" y="415"/>
                </a:lnTo>
                <a:lnTo>
                  <a:pt x="2054" y="392"/>
                </a:lnTo>
                <a:lnTo>
                  <a:pt x="2014" y="418"/>
                </a:lnTo>
                <a:lnTo>
                  <a:pt x="1995" y="426"/>
                </a:lnTo>
                <a:lnTo>
                  <a:pt x="1939" y="418"/>
                </a:lnTo>
                <a:lnTo>
                  <a:pt x="1929" y="390"/>
                </a:lnTo>
                <a:lnTo>
                  <a:pt x="1927" y="372"/>
                </a:lnTo>
                <a:lnTo>
                  <a:pt x="1938" y="341"/>
                </a:lnTo>
                <a:lnTo>
                  <a:pt x="1935" y="312"/>
                </a:lnTo>
                <a:lnTo>
                  <a:pt x="1967" y="257"/>
                </a:lnTo>
                <a:lnTo>
                  <a:pt x="2037" y="287"/>
                </a:lnTo>
                <a:lnTo>
                  <a:pt x="2100" y="249"/>
                </a:lnTo>
                <a:lnTo>
                  <a:pt x="2134" y="144"/>
                </a:lnTo>
                <a:lnTo>
                  <a:pt x="2170" y="112"/>
                </a:lnTo>
                <a:lnTo>
                  <a:pt x="2166" y="76"/>
                </a:lnTo>
                <a:lnTo>
                  <a:pt x="2137" y="78"/>
                </a:lnTo>
                <a:lnTo>
                  <a:pt x="2137" y="64"/>
                </a:lnTo>
                <a:lnTo>
                  <a:pt x="2178" y="22"/>
                </a:lnTo>
                <a:lnTo>
                  <a:pt x="2208" y="17"/>
                </a:lnTo>
                <a:lnTo>
                  <a:pt x="2303" y="0"/>
                </a:lnTo>
                <a:lnTo>
                  <a:pt x="2342" y="28"/>
                </a:lnTo>
                <a:lnTo>
                  <a:pt x="2396" y="38"/>
                </a:lnTo>
                <a:lnTo>
                  <a:pt x="2430" y="90"/>
                </a:lnTo>
                <a:lnTo>
                  <a:pt x="2467" y="194"/>
                </a:lnTo>
                <a:lnTo>
                  <a:pt x="2482" y="265"/>
                </a:lnTo>
                <a:lnTo>
                  <a:pt x="2482" y="282"/>
                </a:lnTo>
                <a:lnTo>
                  <a:pt x="2558" y="295"/>
                </a:lnTo>
                <a:lnTo>
                  <a:pt x="2574" y="302"/>
                </a:lnTo>
                <a:lnTo>
                  <a:pt x="2623" y="332"/>
                </a:lnTo>
                <a:lnTo>
                  <a:pt x="2650" y="417"/>
                </a:lnTo>
                <a:lnTo>
                  <a:pt x="2696" y="418"/>
                </a:lnTo>
                <a:lnTo>
                  <a:pt x="2713" y="412"/>
                </a:lnTo>
                <a:lnTo>
                  <a:pt x="2821" y="364"/>
                </a:lnTo>
                <a:lnTo>
                  <a:pt x="2816" y="424"/>
                </a:lnTo>
                <a:lnTo>
                  <a:pt x="2796" y="444"/>
                </a:lnTo>
                <a:lnTo>
                  <a:pt x="2773" y="523"/>
                </a:lnTo>
                <a:lnTo>
                  <a:pt x="2744" y="588"/>
                </a:lnTo>
                <a:lnTo>
                  <a:pt x="2733" y="596"/>
                </a:lnTo>
                <a:lnTo>
                  <a:pt x="2728" y="593"/>
                </a:lnTo>
                <a:lnTo>
                  <a:pt x="2685" y="582"/>
                </a:lnTo>
                <a:lnTo>
                  <a:pt x="2645" y="616"/>
                </a:lnTo>
                <a:lnTo>
                  <a:pt x="2657" y="652"/>
                </a:lnTo>
                <a:lnTo>
                  <a:pt x="2657" y="700"/>
                </a:lnTo>
                <a:lnTo>
                  <a:pt x="2626" y="735"/>
                </a:lnTo>
                <a:lnTo>
                  <a:pt x="2626" y="751"/>
                </a:lnTo>
                <a:lnTo>
                  <a:pt x="2620" y="749"/>
                </a:lnTo>
                <a:lnTo>
                  <a:pt x="2603" y="726"/>
                </a:lnTo>
                <a:lnTo>
                  <a:pt x="2594" y="734"/>
                </a:lnTo>
                <a:lnTo>
                  <a:pt x="2581" y="766"/>
                </a:lnTo>
                <a:lnTo>
                  <a:pt x="2554" y="785"/>
                </a:lnTo>
                <a:lnTo>
                  <a:pt x="2516" y="789"/>
                </a:lnTo>
                <a:lnTo>
                  <a:pt x="2513" y="796"/>
                </a:lnTo>
                <a:lnTo>
                  <a:pt x="2518" y="823"/>
                </a:lnTo>
                <a:lnTo>
                  <a:pt x="2482" y="827"/>
                </a:lnTo>
                <a:lnTo>
                  <a:pt x="2456" y="814"/>
                </a:lnTo>
                <a:lnTo>
                  <a:pt x="2410" y="859"/>
                </a:lnTo>
                <a:lnTo>
                  <a:pt x="2362" y="882"/>
                </a:lnTo>
                <a:lnTo>
                  <a:pt x="2339" y="913"/>
                </a:lnTo>
                <a:lnTo>
                  <a:pt x="2298" y="926"/>
                </a:lnTo>
                <a:lnTo>
                  <a:pt x="2292" y="921"/>
                </a:lnTo>
                <a:lnTo>
                  <a:pt x="2247" y="946"/>
                </a:lnTo>
                <a:lnTo>
                  <a:pt x="2225" y="971"/>
                </a:lnTo>
                <a:lnTo>
                  <a:pt x="2196" y="984"/>
                </a:lnTo>
                <a:lnTo>
                  <a:pt x="2192" y="979"/>
                </a:lnTo>
                <a:lnTo>
                  <a:pt x="2199" y="969"/>
                </a:lnTo>
                <a:lnTo>
                  <a:pt x="2212" y="966"/>
                </a:lnTo>
                <a:lnTo>
                  <a:pt x="2216" y="947"/>
                </a:lnTo>
                <a:lnTo>
                  <a:pt x="2198" y="938"/>
                </a:lnTo>
                <a:lnTo>
                  <a:pt x="2207" y="933"/>
                </a:lnTo>
                <a:lnTo>
                  <a:pt x="2208" y="923"/>
                </a:lnTo>
                <a:lnTo>
                  <a:pt x="2242" y="881"/>
                </a:lnTo>
                <a:lnTo>
                  <a:pt x="2221" y="847"/>
                </a:lnTo>
                <a:lnTo>
                  <a:pt x="2218" y="852"/>
                </a:lnTo>
                <a:lnTo>
                  <a:pt x="2192" y="857"/>
                </a:lnTo>
                <a:lnTo>
                  <a:pt x="2159" y="898"/>
                </a:lnTo>
                <a:lnTo>
                  <a:pt x="2116" y="921"/>
                </a:lnTo>
                <a:lnTo>
                  <a:pt x="2100" y="952"/>
                </a:lnTo>
                <a:lnTo>
                  <a:pt x="2069" y="962"/>
                </a:lnTo>
                <a:lnTo>
                  <a:pt x="2046" y="958"/>
                </a:lnTo>
                <a:lnTo>
                  <a:pt x="2037" y="967"/>
                </a:lnTo>
                <a:lnTo>
                  <a:pt x="2032" y="983"/>
                </a:lnTo>
                <a:lnTo>
                  <a:pt x="2029" y="997"/>
                </a:lnTo>
                <a:lnTo>
                  <a:pt x="2048" y="1021"/>
                </a:lnTo>
                <a:lnTo>
                  <a:pt x="2076" y="1040"/>
                </a:lnTo>
                <a:lnTo>
                  <a:pt x="2093" y="1070"/>
                </a:lnTo>
                <a:lnTo>
                  <a:pt x="2117" y="1079"/>
                </a:lnTo>
                <a:lnTo>
                  <a:pt x="2128" y="1079"/>
                </a:lnTo>
                <a:lnTo>
                  <a:pt x="2154" y="1048"/>
                </a:lnTo>
                <a:lnTo>
                  <a:pt x="2178" y="1038"/>
                </a:lnTo>
                <a:lnTo>
                  <a:pt x="2210" y="1060"/>
                </a:lnTo>
                <a:lnTo>
                  <a:pt x="2233" y="1055"/>
                </a:lnTo>
                <a:lnTo>
                  <a:pt x="2259" y="1063"/>
                </a:lnTo>
                <a:lnTo>
                  <a:pt x="2252" y="1085"/>
                </a:lnTo>
                <a:lnTo>
                  <a:pt x="2244" y="1096"/>
                </a:lnTo>
                <a:lnTo>
                  <a:pt x="2238" y="1085"/>
                </a:lnTo>
                <a:lnTo>
                  <a:pt x="2227" y="1087"/>
                </a:lnTo>
                <a:lnTo>
                  <a:pt x="2216" y="1099"/>
                </a:lnTo>
                <a:lnTo>
                  <a:pt x="2178" y="1108"/>
                </a:lnTo>
                <a:lnTo>
                  <a:pt x="2179" y="1118"/>
                </a:lnTo>
                <a:lnTo>
                  <a:pt x="2167" y="1136"/>
                </a:lnTo>
                <a:lnTo>
                  <a:pt x="2159" y="1138"/>
                </a:lnTo>
                <a:lnTo>
                  <a:pt x="2156" y="1128"/>
                </a:lnTo>
                <a:lnTo>
                  <a:pt x="2147" y="1128"/>
                </a:lnTo>
                <a:lnTo>
                  <a:pt x="2142" y="1136"/>
                </a:lnTo>
                <a:lnTo>
                  <a:pt x="2149" y="1144"/>
                </a:lnTo>
                <a:lnTo>
                  <a:pt x="2144" y="1150"/>
                </a:lnTo>
                <a:lnTo>
                  <a:pt x="2124" y="1167"/>
                </a:lnTo>
                <a:lnTo>
                  <a:pt x="2102" y="1206"/>
                </a:lnTo>
                <a:lnTo>
                  <a:pt x="2103" y="1212"/>
                </a:lnTo>
                <a:lnTo>
                  <a:pt x="2149" y="1237"/>
                </a:lnTo>
                <a:lnTo>
                  <a:pt x="2164" y="1265"/>
                </a:lnTo>
                <a:lnTo>
                  <a:pt x="2181" y="1325"/>
                </a:lnTo>
                <a:lnTo>
                  <a:pt x="2199" y="1342"/>
                </a:lnTo>
                <a:lnTo>
                  <a:pt x="2201" y="1350"/>
                </a:lnTo>
                <a:lnTo>
                  <a:pt x="2225" y="1379"/>
                </a:lnTo>
                <a:lnTo>
                  <a:pt x="2166" y="1360"/>
                </a:lnTo>
                <a:lnTo>
                  <a:pt x="2144" y="1365"/>
                </a:lnTo>
                <a:lnTo>
                  <a:pt x="2144" y="1370"/>
                </a:lnTo>
                <a:lnTo>
                  <a:pt x="2166" y="1365"/>
                </a:lnTo>
                <a:lnTo>
                  <a:pt x="2173" y="1375"/>
                </a:lnTo>
                <a:lnTo>
                  <a:pt x="2192" y="1382"/>
                </a:lnTo>
                <a:lnTo>
                  <a:pt x="2208" y="1397"/>
                </a:lnTo>
                <a:lnTo>
                  <a:pt x="2213" y="1399"/>
                </a:lnTo>
                <a:lnTo>
                  <a:pt x="2225" y="1419"/>
                </a:lnTo>
                <a:lnTo>
                  <a:pt x="2176" y="1449"/>
                </a:lnTo>
                <a:lnTo>
                  <a:pt x="2154" y="1452"/>
                </a:lnTo>
                <a:lnTo>
                  <a:pt x="2154" y="1455"/>
                </a:lnTo>
                <a:lnTo>
                  <a:pt x="2175" y="1463"/>
                </a:lnTo>
                <a:lnTo>
                  <a:pt x="2192" y="1455"/>
                </a:lnTo>
                <a:lnTo>
                  <a:pt x="2213" y="1472"/>
                </a:lnTo>
                <a:lnTo>
                  <a:pt x="2230" y="1475"/>
                </a:lnTo>
                <a:lnTo>
                  <a:pt x="2205" y="1495"/>
                </a:lnTo>
                <a:lnTo>
                  <a:pt x="2221" y="1490"/>
                </a:lnTo>
                <a:lnTo>
                  <a:pt x="2221" y="1502"/>
                </a:lnTo>
                <a:lnTo>
                  <a:pt x="2221" y="1511"/>
                </a:lnTo>
                <a:lnTo>
                  <a:pt x="2205" y="1512"/>
                </a:lnTo>
                <a:lnTo>
                  <a:pt x="2210" y="1524"/>
                </a:lnTo>
                <a:lnTo>
                  <a:pt x="2198" y="1565"/>
                </a:lnTo>
                <a:lnTo>
                  <a:pt x="2192" y="1557"/>
                </a:lnTo>
                <a:lnTo>
                  <a:pt x="2187" y="1562"/>
                </a:lnTo>
                <a:lnTo>
                  <a:pt x="2175" y="1580"/>
                </a:lnTo>
                <a:lnTo>
                  <a:pt x="2162" y="1600"/>
                </a:lnTo>
                <a:lnTo>
                  <a:pt x="2147" y="1625"/>
                </a:lnTo>
                <a:lnTo>
                  <a:pt x="2133" y="1650"/>
                </a:lnTo>
                <a:lnTo>
                  <a:pt x="2130" y="1636"/>
                </a:lnTo>
                <a:lnTo>
                  <a:pt x="2117" y="1642"/>
                </a:lnTo>
                <a:lnTo>
                  <a:pt x="2124" y="1659"/>
                </a:lnTo>
                <a:lnTo>
                  <a:pt x="2111" y="1692"/>
                </a:lnTo>
                <a:lnTo>
                  <a:pt x="2110" y="1705"/>
                </a:lnTo>
                <a:lnTo>
                  <a:pt x="2102" y="1701"/>
                </a:lnTo>
                <a:lnTo>
                  <a:pt x="2100" y="1713"/>
                </a:lnTo>
                <a:lnTo>
                  <a:pt x="2088" y="1717"/>
                </a:lnTo>
                <a:lnTo>
                  <a:pt x="2071" y="1747"/>
                </a:lnTo>
                <a:lnTo>
                  <a:pt x="2051" y="1747"/>
                </a:lnTo>
                <a:lnTo>
                  <a:pt x="2044" y="1752"/>
                </a:lnTo>
                <a:lnTo>
                  <a:pt x="2048" y="1760"/>
                </a:lnTo>
                <a:lnTo>
                  <a:pt x="2044" y="1768"/>
                </a:lnTo>
                <a:lnTo>
                  <a:pt x="2029" y="1778"/>
                </a:lnTo>
                <a:lnTo>
                  <a:pt x="2026" y="1788"/>
                </a:lnTo>
                <a:lnTo>
                  <a:pt x="2023" y="1781"/>
                </a:lnTo>
                <a:lnTo>
                  <a:pt x="2018" y="1794"/>
                </a:lnTo>
                <a:lnTo>
                  <a:pt x="1995" y="1798"/>
                </a:lnTo>
                <a:lnTo>
                  <a:pt x="1972" y="1827"/>
                </a:lnTo>
                <a:lnTo>
                  <a:pt x="1947" y="1837"/>
                </a:lnTo>
                <a:lnTo>
                  <a:pt x="1935" y="1834"/>
                </a:lnTo>
                <a:lnTo>
                  <a:pt x="1926" y="1842"/>
                </a:lnTo>
                <a:lnTo>
                  <a:pt x="1913" y="1834"/>
                </a:lnTo>
                <a:lnTo>
                  <a:pt x="1896" y="1845"/>
                </a:lnTo>
                <a:lnTo>
                  <a:pt x="1893" y="1837"/>
                </a:lnTo>
                <a:lnTo>
                  <a:pt x="1887" y="1840"/>
                </a:lnTo>
                <a:lnTo>
                  <a:pt x="1887" y="1849"/>
                </a:lnTo>
                <a:lnTo>
                  <a:pt x="1884" y="1854"/>
                </a:lnTo>
                <a:close/>
                <a:moveTo>
                  <a:pt x="1698" y="1970"/>
                </a:moveTo>
                <a:lnTo>
                  <a:pt x="1700" y="1966"/>
                </a:lnTo>
                <a:lnTo>
                  <a:pt x="1715" y="1973"/>
                </a:lnTo>
                <a:lnTo>
                  <a:pt x="1718" y="1989"/>
                </a:lnTo>
                <a:lnTo>
                  <a:pt x="1712" y="1998"/>
                </a:lnTo>
                <a:lnTo>
                  <a:pt x="1697" y="2032"/>
                </a:lnTo>
                <a:lnTo>
                  <a:pt x="1678" y="2049"/>
                </a:lnTo>
                <a:lnTo>
                  <a:pt x="1667" y="2052"/>
                </a:lnTo>
                <a:lnTo>
                  <a:pt x="1661" y="2063"/>
                </a:lnTo>
                <a:lnTo>
                  <a:pt x="1622" y="2049"/>
                </a:lnTo>
                <a:lnTo>
                  <a:pt x="1616" y="2038"/>
                </a:lnTo>
                <a:lnTo>
                  <a:pt x="1613" y="2009"/>
                </a:lnTo>
                <a:lnTo>
                  <a:pt x="1655" y="1975"/>
                </a:lnTo>
                <a:lnTo>
                  <a:pt x="1698" y="1970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21" name="Freeform 110"/>
          <p:cNvSpPr>
            <a:spLocks noChangeAspect="1" noEditPoints="1"/>
          </p:cNvSpPr>
          <p:nvPr/>
        </p:nvSpPr>
        <p:spPr bwMode="gray">
          <a:xfrm>
            <a:off x="7239000" y="2897188"/>
            <a:ext cx="107950" cy="150812"/>
          </a:xfrm>
          <a:custGeom>
            <a:avLst/>
            <a:gdLst>
              <a:gd name="T0" fmla="*/ 2147483647 w 223"/>
              <a:gd name="T1" fmla="*/ 2147483647 h 305"/>
              <a:gd name="T2" fmla="*/ 2147483647 w 223"/>
              <a:gd name="T3" fmla="*/ 2147483647 h 305"/>
              <a:gd name="T4" fmla="*/ 2147483647 w 223"/>
              <a:gd name="T5" fmla="*/ 2147483647 h 305"/>
              <a:gd name="T6" fmla="*/ 2147483647 w 223"/>
              <a:gd name="T7" fmla="*/ 2147483647 h 305"/>
              <a:gd name="T8" fmla="*/ 2147483647 w 223"/>
              <a:gd name="T9" fmla="*/ 2147483647 h 305"/>
              <a:gd name="T10" fmla="*/ 2147483647 w 223"/>
              <a:gd name="T11" fmla="*/ 2147483647 h 305"/>
              <a:gd name="T12" fmla="*/ 2147483647 w 223"/>
              <a:gd name="T13" fmla="*/ 2147483647 h 305"/>
              <a:gd name="T14" fmla="*/ 0 w 223"/>
              <a:gd name="T15" fmla="*/ 2147483647 h 305"/>
              <a:gd name="T16" fmla="*/ 0 w 223"/>
              <a:gd name="T17" fmla="*/ 2147483647 h 305"/>
              <a:gd name="T18" fmla="*/ 2147483647 w 223"/>
              <a:gd name="T19" fmla="*/ 2147483647 h 305"/>
              <a:gd name="T20" fmla="*/ 2147483647 w 223"/>
              <a:gd name="T21" fmla="*/ 2147483647 h 305"/>
              <a:gd name="T22" fmla="*/ 2147483647 w 223"/>
              <a:gd name="T23" fmla="*/ 2147483647 h 305"/>
              <a:gd name="T24" fmla="*/ 2147483647 w 223"/>
              <a:gd name="T25" fmla="*/ 2147483647 h 305"/>
              <a:gd name="T26" fmla="*/ 2147483647 w 223"/>
              <a:gd name="T27" fmla="*/ 2147483647 h 305"/>
              <a:gd name="T28" fmla="*/ 2147483647 w 223"/>
              <a:gd name="T29" fmla="*/ 2147483647 h 305"/>
              <a:gd name="T30" fmla="*/ 2147483647 w 223"/>
              <a:gd name="T31" fmla="*/ 2147483647 h 305"/>
              <a:gd name="T32" fmla="*/ 2147483647 w 223"/>
              <a:gd name="T33" fmla="*/ 2147483647 h 305"/>
              <a:gd name="T34" fmla="*/ 2147483647 w 223"/>
              <a:gd name="T35" fmla="*/ 2147483647 h 305"/>
              <a:gd name="T36" fmla="*/ 2147483647 w 223"/>
              <a:gd name="T37" fmla="*/ 2147483647 h 305"/>
              <a:gd name="T38" fmla="*/ 2147483647 w 223"/>
              <a:gd name="T39" fmla="*/ 2147483647 h 305"/>
              <a:gd name="T40" fmla="*/ 2147483647 w 223"/>
              <a:gd name="T41" fmla="*/ 2147483647 h 305"/>
              <a:gd name="T42" fmla="*/ 2147483647 w 223"/>
              <a:gd name="T43" fmla="*/ 2147483647 h 305"/>
              <a:gd name="T44" fmla="*/ 2147483647 w 223"/>
              <a:gd name="T45" fmla="*/ 2147483647 h 305"/>
              <a:gd name="T46" fmla="*/ 2147483647 w 223"/>
              <a:gd name="T47" fmla="*/ 2147483647 h 305"/>
              <a:gd name="T48" fmla="*/ 2147483647 w 223"/>
              <a:gd name="T49" fmla="*/ 2147483647 h 305"/>
              <a:gd name="T50" fmla="*/ 2147483647 w 223"/>
              <a:gd name="T51" fmla="*/ 2147483647 h 305"/>
              <a:gd name="T52" fmla="*/ 2147483647 w 223"/>
              <a:gd name="T53" fmla="*/ 2147483647 h 305"/>
              <a:gd name="T54" fmla="*/ 2147483647 w 223"/>
              <a:gd name="T55" fmla="*/ 2147483647 h 305"/>
              <a:gd name="T56" fmla="*/ 2147483647 w 223"/>
              <a:gd name="T57" fmla="*/ 2147483647 h 305"/>
              <a:gd name="T58" fmla="*/ 2147483647 w 223"/>
              <a:gd name="T59" fmla="*/ 2147483647 h 305"/>
              <a:gd name="T60" fmla="*/ 2147483647 w 223"/>
              <a:gd name="T61" fmla="*/ 2147483647 h 305"/>
              <a:gd name="T62" fmla="*/ 2147483647 w 223"/>
              <a:gd name="T63" fmla="*/ 2147483647 h 305"/>
              <a:gd name="T64" fmla="*/ 2147483647 w 223"/>
              <a:gd name="T65" fmla="*/ 2147483647 h 305"/>
              <a:gd name="T66" fmla="*/ 2147483647 w 223"/>
              <a:gd name="T67" fmla="*/ 2147483647 h 305"/>
              <a:gd name="T68" fmla="*/ 2147483647 w 223"/>
              <a:gd name="T69" fmla="*/ 2147483647 h 305"/>
              <a:gd name="T70" fmla="*/ 2147483647 w 223"/>
              <a:gd name="T71" fmla="*/ 2147483647 h 305"/>
              <a:gd name="T72" fmla="*/ 2147483647 w 223"/>
              <a:gd name="T73" fmla="*/ 2147483647 h 305"/>
              <a:gd name="T74" fmla="*/ 2147483647 w 223"/>
              <a:gd name="T75" fmla="*/ 2147483647 h 305"/>
              <a:gd name="T76" fmla="*/ 2147483647 w 223"/>
              <a:gd name="T77" fmla="*/ 2147483647 h 305"/>
              <a:gd name="T78" fmla="*/ 2147483647 w 223"/>
              <a:gd name="T79" fmla="*/ 2147483647 h 305"/>
              <a:gd name="T80" fmla="*/ 2147483647 w 223"/>
              <a:gd name="T81" fmla="*/ 2147483647 h 305"/>
              <a:gd name="T82" fmla="*/ 2147483647 w 223"/>
              <a:gd name="T83" fmla="*/ 2147483647 h 305"/>
              <a:gd name="T84" fmla="*/ 2147483647 w 223"/>
              <a:gd name="T85" fmla="*/ 2147483647 h 305"/>
              <a:gd name="T86" fmla="*/ 2147483647 w 223"/>
              <a:gd name="T87" fmla="*/ 2147483647 h 305"/>
              <a:gd name="T88" fmla="*/ 2147483647 w 223"/>
              <a:gd name="T89" fmla="*/ 2147483647 h 305"/>
              <a:gd name="T90" fmla="*/ 2147483647 w 223"/>
              <a:gd name="T91" fmla="*/ 2147483647 h 305"/>
              <a:gd name="T92" fmla="*/ 2147483647 w 223"/>
              <a:gd name="T93" fmla="*/ 2147483647 h 305"/>
              <a:gd name="T94" fmla="*/ 2147483647 w 223"/>
              <a:gd name="T95" fmla="*/ 0 h 305"/>
              <a:gd name="T96" fmla="*/ 2147483647 w 223"/>
              <a:gd name="T97" fmla="*/ 2147483647 h 305"/>
              <a:gd name="T98" fmla="*/ 2147483647 w 223"/>
              <a:gd name="T99" fmla="*/ 2147483647 h 305"/>
              <a:gd name="T100" fmla="*/ 2147483647 w 223"/>
              <a:gd name="T101" fmla="*/ 2147483647 h 305"/>
              <a:gd name="T102" fmla="*/ 2147483647 w 223"/>
              <a:gd name="T103" fmla="*/ 2147483647 h 305"/>
              <a:gd name="T104" fmla="*/ 2147483647 w 223"/>
              <a:gd name="T105" fmla="*/ 2147483647 h 305"/>
              <a:gd name="T106" fmla="*/ 2147483647 w 223"/>
              <a:gd name="T107" fmla="*/ 2147483647 h 305"/>
              <a:gd name="T108" fmla="*/ 2147483647 w 223"/>
              <a:gd name="T109" fmla="*/ 2147483647 h 305"/>
              <a:gd name="T110" fmla="*/ 2147483647 w 223"/>
              <a:gd name="T111" fmla="*/ 2147483647 h 305"/>
              <a:gd name="T112" fmla="*/ 2147483647 w 223"/>
              <a:gd name="T113" fmla="*/ 2147483647 h 305"/>
              <a:gd name="T114" fmla="*/ 2147483647 w 223"/>
              <a:gd name="T115" fmla="*/ 2147483647 h 305"/>
              <a:gd name="T116" fmla="*/ 2147483647 w 223"/>
              <a:gd name="T117" fmla="*/ 2147483647 h 305"/>
              <a:gd name="T118" fmla="*/ 2147483647 w 223"/>
              <a:gd name="T119" fmla="*/ 2147483647 h 305"/>
              <a:gd name="T120" fmla="*/ 2147483647 w 223"/>
              <a:gd name="T121" fmla="*/ 2147483647 h 305"/>
              <a:gd name="T122" fmla="*/ 2147483647 w 223"/>
              <a:gd name="T123" fmla="*/ 2147483647 h 30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223"/>
              <a:gd name="T187" fmla="*/ 0 h 305"/>
              <a:gd name="T188" fmla="*/ 223 w 223"/>
              <a:gd name="T189" fmla="*/ 305 h 305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223" h="305">
                <a:moveTo>
                  <a:pt x="21" y="46"/>
                </a:moveTo>
                <a:lnTo>
                  <a:pt x="17" y="49"/>
                </a:lnTo>
                <a:lnTo>
                  <a:pt x="21" y="65"/>
                </a:lnTo>
                <a:lnTo>
                  <a:pt x="32" y="73"/>
                </a:lnTo>
                <a:lnTo>
                  <a:pt x="29" y="80"/>
                </a:lnTo>
                <a:lnTo>
                  <a:pt x="36" y="99"/>
                </a:lnTo>
                <a:lnTo>
                  <a:pt x="25" y="91"/>
                </a:lnTo>
                <a:lnTo>
                  <a:pt x="0" y="103"/>
                </a:lnTo>
                <a:lnTo>
                  <a:pt x="0" y="111"/>
                </a:lnTo>
                <a:lnTo>
                  <a:pt x="8" y="119"/>
                </a:lnTo>
                <a:lnTo>
                  <a:pt x="13" y="117"/>
                </a:lnTo>
                <a:lnTo>
                  <a:pt x="10" y="107"/>
                </a:lnTo>
                <a:lnTo>
                  <a:pt x="15" y="108"/>
                </a:lnTo>
                <a:lnTo>
                  <a:pt x="21" y="141"/>
                </a:lnTo>
                <a:lnTo>
                  <a:pt x="29" y="156"/>
                </a:lnTo>
                <a:lnTo>
                  <a:pt x="21" y="168"/>
                </a:lnTo>
                <a:lnTo>
                  <a:pt x="22" y="171"/>
                </a:lnTo>
                <a:lnTo>
                  <a:pt x="8" y="209"/>
                </a:lnTo>
                <a:lnTo>
                  <a:pt x="12" y="215"/>
                </a:lnTo>
                <a:lnTo>
                  <a:pt x="15" y="210"/>
                </a:lnTo>
                <a:lnTo>
                  <a:pt x="21" y="213"/>
                </a:lnTo>
                <a:lnTo>
                  <a:pt x="19" y="224"/>
                </a:lnTo>
                <a:lnTo>
                  <a:pt x="10" y="222"/>
                </a:lnTo>
                <a:lnTo>
                  <a:pt x="5" y="237"/>
                </a:lnTo>
                <a:lnTo>
                  <a:pt x="7" y="241"/>
                </a:lnTo>
                <a:lnTo>
                  <a:pt x="17" y="230"/>
                </a:lnTo>
                <a:lnTo>
                  <a:pt x="19" y="238"/>
                </a:lnTo>
                <a:lnTo>
                  <a:pt x="30" y="227"/>
                </a:lnTo>
                <a:lnTo>
                  <a:pt x="36" y="232"/>
                </a:lnTo>
                <a:lnTo>
                  <a:pt x="56" y="217"/>
                </a:lnTo>
                <a:lnTo>
                  <a:pt x="49" y="226"/>
                </a:lnTo>
                <a:lnTo>
                  <a:pt x="56" y="229"/>
                </a:lnTo>
                <a:lnTo>
                  <a:pt x="61" y="226"/>
                </a:lnTo>
                <a:lnTo>
                  <a:pt x="61" y="212"/>
                </a:lnTo>
                <a:lnTo>
                  <a:pt x="67" y="220"/>
                </a:lnTo>
                <a:lnTo>
                  <a:pt x="75" y="212"/>
                </a:lnTo>
                <a:lnTo>
                  <a:pt x="71" y="207"/>
                </a:lnTo>
                <a:lnTo>
                  <a:pt x="81" y="204"/>
                </a:lnTo>
                <a:lnTo>
                  <a:pt x="98" y="207"/>
                </a:lnTo>
                <a:lnTo>
                  <a:pt x="101" y="212"/>
                </a:lnTo>
                <a:lnTo>
                  <a:pt x="113" y="193"/>
                </a:lnTo>
                <a:lnTo>
                  <a:pt x="130" y="195"/>
                </a:lnTo>
                <a:lnTo>
                  <a:pt x="147" y="181"/>
                </a:lnTo>
                <a:lnTo>
                  <a:pt x="161" y="144"/>
                </a:lnTo>
                <a:lnTo>
                  <a:pt x="155" y="144"/>
                </a:lnTo>
                <a:lnTo>
                  <a:pt x="154" y="94"/>
                </a:lnTo>
                <a:lnTo>
                  <a:pt x="146" y="61"/>
                </a:lnTo>
                <a:lnTo>
                  <a:pt x="104" y="0"/>
                </a:lnTo>
                <a:lnTo>
                  <a:pt x="78" y="18"/>
                </a:lnTo>
                <a:lnTo>
                  <a:pt x="49" y="18"/>
                </a:lnTo>
                <a:lnTo>
                  <a:pt x="21" y="46"/>
                </a:lnTo>
                <a:close/>
                <a:moveTo>
                  <a:pt x="219" y="57"/>
                </a:moveTo>
                <a:lnTo>
                  <a:pt x="219" y="63"/>
                </a:lnTo>
                <a:lnTo>
                  <a:pt x="223" y="60"/>
                </a:lnTo>
                <a:lnTo>
                  <a:pt x="219" y="57"/>
                </a:lnTo>
                <a:close/>
                <a:moveTo>
                  <a:pt x="8" y="294"/>
                </a:moveTo>
                <a:lnTo>
                  <a:pt x="5" y="303"/>
                </a:lnTo>
                <a:lnTo>
                  <a:pt x="13" y="305"/>
                </a:lnTo>
                <a:lnTo>
                  <a:pt x="25" y="303"/>
                </a:lnTo>
                <a:lnTo>
                  <a:pt x="36" y="294"/>
                </a:lnTo>
                <a:lnTo>
                  <a:pt x="36" y="286"/>
                </a:lnTo>
                <a:lnTo>
                  <a:pt x="8" y="294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22" name="Freeform 111"/>
          <p:cNvSpPr>
            <a:spLocks noChangeAspect="1" noEditPoints="1"/>
          </p:cNvSpPr>
          <p:nvPr/>
        </p:nvSpPr>
        <p:spPr bwMode="gray">
          <a:xfrm>
            <a:off x="5397500" y="2859088"/>
            <a:ext cx="428625" cy="392112"/>
          </a:xfrm>
          <a:custGeom>
            <a:avLst/>
            <a:gdLst>
              <a:gd name="T0" fmla="*/ 2147483647 w 882"/>
              <a:gd name="T1" fmla="*/ 2147483647 h 805"/>
              <a:gd name="T2" fmla="*/ 2147483647 w 882"/>
              <a:gd name="T3" fmla="*/ 2147483647 h 805"/>
              <a:gd name="T4" fmla="*/ 2147483647 w 882"/>
              <a:gd name="T5" fmla="*/ 2147483647 h 805"/>
              <a:gd name="T6" fmla="*/ 2147483647 w 882"/>
              <a:gd name="T7" fmla="*/ 2147483647 h 805"/>
              <a:gd name="T8" fmla="*/ 2147483647 w 882"/>
              <a:gd name="T9" fmla="*/ 2147483647 h 805"/>
              <a:gd name="T10" fmla="*/ 2147483647 w 882"/>
              <a:gd name="T11" fmla="*/ 2147483647 h 805"/>
              <a:gd name="T12" fmla="*/ 2147483647 w 882"/>
              <a:gd name="T13" fmla="*/ 2147483647 h 805"/>
              <a:gd name="T14" fmla="*/ 2147483647 w 882"/>
              <a:gd name="T15" fmla="*/ 2147483647 h 805"/>
              <a:gd name="T16" fmla="*/ 2147483647 w 882"/>
              <a:gd name="T17" fmla="*/ 2147483647 h 805"/>
              <a:gd name="T18" fmla="*/ 2147483647 w 882"/>
              <a:gd name="T19" fmla="*/ 2147483647 h 805"/>
              <a:gd name="T20" fmla="*/ 2147483647 w 882"/>
              <a:gd name="T21" fmla="*/ 2147483647 h 805"/>
              <a:gd name="T22" fmla="*/ 2147483647 w 882"/>
              <a:gd name="T23" fmla="*/ 2147483647 h 805"/>
              <a:gd name="T24" fmla="*/ 2147483647 w 882"/>
              <a:gd name="T25" fmla="*/ 2147483647 h 805"/>
              <a:gd name="T26" fmla="*/ 2147483647 w 882"/>
              <a:gd name="T27" fmla="*/ 2147483647 h 805"/>
              <a:gd name="T28" fmla="*/ 2147483647 w 882"/>
              <a:gd name="T29" fmla="*/ 2147483647 h 805"/>
              <a:gd name="T30" fmla="*/ 2147483647 w 882"/>
              <a:gd name="T31" fmla="*/ 2147483647 h 805"/>
              <a:gd name="T32" fmla="*/ 2147483647 w 882"/>
              <a:gd name="T33" fmla="*/ 2147483647 h 805"/>
              <a:gd name="T34" fmla="*/ 2147483647 w 882"/>
              <a:gd name="T35" fmla="*/ 2147483647 h 805"/>
              <a:gd name="T36" fmla="*/ 2147483647 w 882"/>
              <a:gd name="T37" fmla="*/ 2147483647 h 805"/>
              <a:gd name="T38" fmla="*/ 2147483647 w 882"/>
              <a:gd name="T39" fmla="*/ 2147483647 h 805"/>
              <a:gd name="T40" fmla="*/ 2147483647 w 882"/>
              <a:gd name="T41" fmla="*/ 0 h 805"/>
              <a:gd name="T42" fmla="*/ 2147483647 w 882"/>
              <a:gd name="T43" fmla="*/ 2147483647 h 805"/>
              <a:gd name="T44" fmla="*/ 2147483647 w 882"/>
              <a:gd name="T45" fmla="*/ 2147483647 h 805"/>
              <a:gd name="T46" fmla="*/ 2147483647 w 882"/>
              <a:gd name="T47" fmla="*/ 2147483647 h 805"/>
              <a:gd name="T48" fmla="*/ 2147483647 w 882"/>
              <a:gd name="T49" fmla="*/ 2147483647 h 805"/>
              <a:gd name="T50" fmla="*/ 2147483647 w 882"/>
              <a:gd name="T51" fmla="*/ 2147483647 h 805"/>
              <a:gd name="T52" fmla="*/ 2147483647 w 882"/>
              <a:gd name="T53" fmla="*/ 2147483647 h 805"/>
              <a:gd name="T54" fmla="*/ 2147483647 w 882"/>
              <a:gd name="T55" fmla="*/ 2147483647 h 805"/>
              <a:gd name="T56" fmla="*/ 2147483647 w 882"/>
              <a:gd name="T57" fmla="*/ 2147483647 h 805"/>
              <a:gd name="T58" fmla="*/ 2147483647 w 882"/>
              <a:gd name="T59" fmla="*/ 2147483647 h 805"/>
              <a:gd name="T60" fmla="*/ 2147483647 w 882"/>
              <a:gd name="T61" fmla="*/ 2147483647 h 805"/>
              <a:gd name="T62" fmla="*/ 2147483647 w 882"/>
              <a:gd name="T63" fmla="*/ 2147483647 h 805"/>
              <a:gd name="T64" fmla="*/ 2147483647 w 882"/>
              <a:gd name="T65" fmla="*/ 2147483647 h 805"/>
              <a:gd name="T66" fmla="*/ 2147483647 w 882"/>
              <a:gd name="T67" fmla="*/ 2147483647 h 805"/>
              <a:gd name="T68" fmla="*/ 2147483647 w 882"/>
              <a:gd name="T69" fmla="*/ 2147483647 h 805"/>
              <a:gd name="T70" fmla="*/ 2147483647 w 882"/>
              <a:gd name="T71" fmla="*/ 2147483647 h 805"/>
              <a:gd name="T72" fmla="*/ 2147483647 w 882"/>
              <a:gd name="T73" fmla="*/ 2147483647 h 805"/>
              <a:gd name="T74" fmla="*/ 2147483647 w 882"/>
              <a:gd name="T75" fmla="*/ 2147483647 h 805"/>
              <a:gd name="T76" fmla="*/ 2147483647 w 882"/>
              <a:gd name="T77" fmla="*/ 2147483647 h 805"/>
              <a:gd name="T78" fmla="*/ 2147483647 w 882"/>
              <a:gd name="T79" fmla="*/ 2147483647 h 805"/>
              <a:gd name="T80" fmla="*/ 2147483647 w 882"/>
              <a:gd name="T81" fmla="*/ 2147483647 h 805"/>
              <a:gd name="T82" fmla="*/ 2147483647 w 882"/>
              <a:gd name="T83" fmla="*/ 2147483647 h 805"/>
              <a:gd name="T84" fmla="*/ 2147483647 w 882"/>
              <a:gd name="T85" fmla="*/ 2147483647 h 8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882"/>
              <a:gd name="T130" fmla="*/ 0 h 805"/>
              <a:gd name="T131" fmla="*/ 882 w 882"/>
              <a:gd name="T132" fmla="*/ 805 h 80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882" h="805">
                <a:moveTo>
                  <a:pt x="806" y="805"/>
                </a:moveTo>
                <a:lnTo>
                  <a:pt x="817" y="757"/>
                </a:lnTo>
                <a:lnTo>
                  <a:pt x="835" y="738"/>
                </a:lnTo>
                <a:lnTo>
                  <a:pt x="869" y="728"/>
                </a:lnTo>
                <a:lnTo>
                  <a:pt x="881" y="715"/>
                </a:lnTo>
                <a:lnTo>
                  <a:pt x="882" y="704"/>
                </a:lnTo>
                <a:lnTo>
                  <a:pt x="862" y="697"/>
                </a:lnTo>
                <a:lnTo>
                  <a:pt x="859" y="650"/>
                </a:lnTo>
                <a:lnTo>
                  <a:pt x="806" y="621"/>
                </a:lnTo>
                <a:lnTo>
                  <a:pt x="789" y="585"/>
                </a:lnTo>
                <a:lnTo>
                  <a:pt x="771" y="567"/>
                </a:lnTo>
                <a:lnTo>
                  <a:pt x="774" y="564"/>
                </a:lnTo>
                <a:lnTo>
                  <a:pt x="785" y="542"/>
                </a:lnTo>
                <a:lnTo>
                  <a:pt x="803" y="520"/>
                </a:lnTo>
                <a:lnTo>
                  <a:pt x="808" y="492"/>
                </a:lnTo>
                <a:lnTo>
                  <a:pt x="794" y="471"/>
                </a:lnTo>
                <a:lnTo>
                  <a:pt x="774" y="467"/>
                </a:lnTo>
                <a:lnTo>
                  <a:pt x="766" y="458"/>
                </a:lnTo>
                <a:lnTo>
                  <a:pt x="766" y="418"/>
                </a:lnTo>
                <a:lnTo>
                  <a:pt x="757" y="395"/>
                </a:lnTo>
                <a:lnTo>
                  <a:pt x="766" y="364"/>
                </a:lnTo>
                <a:lnTo>
                  <a:pt x="766" y="355"/>
                </a:lnTo>
                <a:lnTo>
                  <a:pt x="754" y="350"/>
                </a:lnTo>
                <a:lnTo>
                  <a:pt x="754" y="335"/>
                </a:lnTo>
                <a:lnTo>
                  <a:pt x="754" y="327"/>
                </a:lnTo>
                <a:lnTo>
                  <a:pt x="772" y="318"/>
                </a:lnTo>
                <a:lnTo>
                  <a:pt x="772" y="307"/>
                </a:lnTo>
                <a:lnTo>
                  <a:pt x="783" y="288"/>
                </a:lnTo>
                <a:lnTo>
                  <a:pt x="789" y="245"/>
                </a:lnTo>
                <a:lnTo>
                  <a:pt x="791" y="234"/>
                </a:lnTo>
                <a:lnTo>
                  <a:pt x="785" y="188"/>
                </a:lnTo>
                <a:lnTo>
                  <a:pt x="763" y="188"/>
                </a:lnTo>
                <a:lnTo>
                  <a:pt x="709" y="154"/>
                </a:lnTo>
                <a:lnTo>
                  <a:pt x="698" y="132"/>
                </a:lnTo>
                <a:lnTo>
                  <a:pt x="659" y="127"/>
                </a:lnTo>
                <a:lnTo>
                  <a:pt x="615" y="108"/>
                </a:lnTo>
                <a:lnTo>
                  <a:pt x="596" y="90"/>
                </a:lnTo>
                <a:lnTo>
                  <a:pt x="566" y="90"/>
                </a:lnTo>
                <a:lnTo>
                  <a:pt x="559" y="101"/>
                </a:lnTo>
                <a:lnTo>
                  <a:pt x="519" y="101"/>
                </a:lnTo>
                <a:lnTo>
                  <a:pt x="478" y="135"/>
                </a:lnTo>
                <a:lnTo>
                  <a:pt x="451" y="138"/>
                </a:lnTo>
                <a:lnTo>
                  <a:pt x="458" y="172"/>
                </a:lnTo>
                <a:lnTo>
                  <a:pt x="424" y="174"/>
                </a:lnTo>
                <a:lnTo>
                  <a:pt x="347" y="189"/>
                </a:lnTo>
                <a:lnTo>
                  <a:pt x="302" y="169"/>
                </a:lnTo>
                <a:lnTo>
                  <a:pt x="279" y="142"/>
                </a:lnTo>
                <a:lnTo>
                  <a:pt x="256" y="144"/>
                </a:lnTo>
                <a:lnTo>
                  <a:pt x="229" y="130"/>
                </a:lnTo>
                <a:lnTo>
                  <a:pt x="219" y="78"/>
                </a:lnTo>
                <a:lnTo>
                  <a:pt x="203" y="78"/>
                </a:lnTo>
                <a:lnTo>
                  <a:pt x="177" y="59"/>
                </a:lnTo>
                <a:lnTo>
                  <a:pt x="192" y="47"/>
                </a:lnTo>
                <a:lnTo>
                  <a:pt x="186" y="19"/>
                </a:lnTo>
                <a:lnTo>
                  <a:pt x="172" y="10"/>
                </a:lnTo>
                <a:lnTo>
                  <a:pt x="141" y="24"/>
                </a:lnTo>
                <a:lnTo>
                  <a:pt x="118" y="56"/>
                </a:lnTo>
                <a:lnTo>
                  <a:pt x="107" y="54"/>
                </a:lnTo>
                <a:lnTo>
                  <a:pt x="88" y="58"/>
                </a:lnTo>
                <a:lnTo>
                  <a:pt x="84" y="54"/>
                </a:lnTo>
                <a:lnTo>
                  <a:pt x="59" y="53"/>
                </a:lnTo>
                <a:lnTo>
                  <a:pt x="28" y="8"/>
                </a:lnTo>
                <a:lnTo>
                  <a:pt x="22" y="0"/>
                </a:lnTo>
                <a:lnTo>
                  <a:pt x="13" y="20"/>
                </a:lnTo>
                <a:lnTo>
                  <a:pt x="0" y="27"/>
                </a:lnTo>
                <a:lnTo>
                  <a:pt x="7" y="49"/>
                </a:lnTo>
                <a:lnTo>
                  <a:pt x="7" y="116"/>
                </a:lnTo>
                <a:lnTo>
                  <a:pt x="29" y="137"/>
                </a:lnTo>
                <a:lnTo>
                  <a:pt x="31" y="150"/>
                </a:lnTo>
                <a:lnTo>
                  <a:pt x="34" y="180"/>
                </a:lnTo>
                <a:lnTo>
                  <a:pt x="53" y="201"/>
                </a:lnTo>
                <a:lnTo>
                  <a:pt x="59" y="220"/>
                </a:lnTo>
                <a:lnTo>
                  <a:pt x="68" y="228"/>
                </a:lnTo>
                <a:lnTo>
                  <a:pt x="101" y="234"/>
                </a:lnTo>
                <a:lnTo>
                  <a:pt x="88" y="251"/>
                </a:lnTo>
                <a:lnTo>
                  <a:pt x="93" y="268"/>
                </a:lnTo>
                <a:lnTo>
                  <a:pt x="75" y="294"/>
                </a:lnTo>
                <a:lnTo>
                  <a:pt x="75" y="299"/>
                </a:lnTo>
                <a:lnTo>
                  <a:pt x="65" y="308"/>
                </a:lnTo>
                <a:lnTo>
                  <a:pt x="56" y="336"/>
                </a:lnTo>
                <a:lnTo>
                  <a:pt x="58" y="350"/>
                </a:lnTo>
                <a:lnTo>
                  <a:pt x="70" y="353"/>
                </a:lnTo>
                <a:lnTo>
                  <a:pt x="85" y="376"/>
                </a:lnTo>
                <a:lnTo>
                  <a:pt x="85" y="386"/>
                </a:lnTo>
                <a:lnTo>
                  <a:pt x="146" y="424"/>
                </a:lnTo>
                <a:lnTo>
                  <a:pt x="163" y="460"/>
                </a:lnTo>
                <a:lnTo>
                  <a:pt x="160" y="499"/>
                </a:lnTo>
                <a:lnTo>
                  <a:pt x="172" y="506"/>
                </a:lnTo>
                <a:lnTo>
                  <a:pt x="178" y="530"/>
                </a:lnTo>
                <a:lnTo>
                  <a:pt x="206" y="551"/>
                </a:lnTo>
                <a:lnTo>
                  <a:pt x="207" y="543"/>
                </a:lnTo>
                <a:lnTo>
                  <a:pt x="214" y="543"/>
                </a:lnTo>
                <a:lnTo>
                  <a:pt x="212" y="526"/>
                </a:lnTo>
                <a:lnTo>
                  <a:pt x="217" y="525"/>
                </a:lnTo>
                <a:lnTo>
                  <a:pt x="228" y="530"/>
                </a:lnTo>
                <a:lnTo>
                  <a:pt x="232" y="545"/>
                </a:lnTo>
                <a:lnTo>
                  <a:pt x="248" y="557"/>
                </a:lnTo>
                <a:lnTo>
                  <a:pt x="265" y="547"/>
                </a:lnTo>
                <a:lnTo>
                  <a:pt x="270" y="550"/>
                </a:lnTo>
                <a:lnTo>
                  <a:pt x="283" y="576"/>
                </a:lnTo>
                <a:lnTo>
                  <a:pt x="290" y="579"/>
                </a:lnTo>
                <a:lnTo>
                  <a:pt x="297" y="599"/>
                </a:lnTo>
                <a:lnTo>
                  <a:pt x="314" y="613"/>
                </a:lnTo>
                <a:lnTo>
                  <a:pt x="337" y="667"/>
                </a:lnTo>
                <a:lnTo>
                  <a:pt x="381" y="682"/>
                </a:lnTo>
                <a:lnTo>
                  <a:pt x="396" y="704"/>
                </a:lnTo>
                <a:lnTo>
                  <a:pt x="430" y="715"/>
                </a:lnTo>
                <a:lnTo>
                  <a:pt x="427" y="720"/>
                </a:lnTo>
                <a:lnTo>
                  <a:pt x="435" y="728"/>
                </a:lnTo>
                <a:lnTo>
                  <a:pt x="452" y="726"/>
                </a:lnTo>
                <a:lnTo>
                  <a:pt x="483" y="738"/>
                </a:lnTo>
                <a:lnTo>
                  <a:pt x="515" y="726"/>
                </a:lnTo>
                <a:lnTo>
                  <a:pt x="528" y="715"/>
                </a:lnTo>
                <a:lnTo>
                  <a:pt x="568" y="704"/>
                </a:lnTo>
                <a:lnTo>
                  <a:pt x="588" y="715"/>
                </a:lnTo>
                <a:lnTo>
                  <a:pt x="611" y="777"/>
                </a:lnTo>
                <a:lnTo>
                  <a:pt x="667" y="783"/>
                </a:lnTo>
                <a:lnTo>
                  <a:pt x="690" y="794"/>
                </a:lnTo>
                <a:lnTo>
                  <a:pt x="695" y="788"/>
                </a:lnTo>
                <a:lnTo>
                  <a:pt x="720" y="796"/>
                </a:lnTo>
                <a:lnTo>
                  <a:pt x="749" y="797"/>
                </a:lnTo>
                <a:lnTo>
                  <a:pt x="754" y="792"/>
                </a:lnTo>
                <a:lnTo>
                  <a:pt x="774" y="804"/>
                </a:lnTo>
                <a:lnTo>
                  <a:pt x="806" y="805"/>
                </a:lnTo>
                <a:close/>
                <a:moveTo>
                  <a:pt x="554" y="714"/>
                </a:moveTo>
                <a:lnTo>
                  <a:pt x="536" y="715"/>
                </a:lnTo>
                <a:lnTo>
                  <a:pt x="514" y="737"/>
                </a:lnTo>
                <a:lnTo>
                  <a:pt x="536" y="729"/>
                </a:lnTo>
                <a:lnTo>
                  <a:pt x="554" y="714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23" name="Freeform 112"/>
          <p:cNvSpPr>
            <a:spLocks noChangeAspect="1" noEditPoints="1"/>
          </p:cNvSpPr>
          <p:nvPr/>
        </p:nvSpPr>
        <p:spPr bwMode="gray">
          <a:xfrm>
            <a:off x="5553075" y="3227388"/>
            <a:ext cx="117475" cy="88900"/>
          </a:xfrm>
          <a:custGeom>
            <a:avLst/>
            <a:gdLst>
              <a:gd name="T0" fmla="*/ 2147483647 w 244"/>
              <a:gd name="T1" fmla="*/ 2147483647 h 180"/>
              <a:gd name="T2" fmla="*/ 2147483647 w 244"/>
              <a:gd name="T3" fmla="*/ 2147483647 h 180"/>
              <a:gd name="T4" fmla="*/ 2147483647 w 244"/>
              <a:gd name="T5" fmla="*/ 2147483647 h 180"/>
              <a:gd name="T6" fmla="*/ 2147483647 w 244"/>
              <a:gd name="T7" fmla="*/ 2147483647 h 180"/>
              <a:gd name="T8" fmla="*/ 2147483647 w 244"/>
              <a:gd name="T9" fmla="*/ 2147483647 h 180"/>
              <a:gd name="T10" fmla="*/ 2147483647 w 244"/>
              <a:gd name="T11" fmla="*/ 2147483647 h 180"/>
              <a:gd name="T12" fmla="*/ 2147483647 w 244"/>
              <a:gd name="T13" fmla="*/ 2147483647 h 180"/>
              <a:gd name="T14" fmla="*/ 2147483647 w 244"/>
              <a:gd name="T15" fmla="*/ 2147483647 h 180"/>
              <a:gd name="T16" fmla="*/ 2147483647 w 244"/>
              <a:gd name="T17" fmla="*/ 2147483647 h 180"/>
              <a:gd name="T18" fmla="*/ 2147483647 w 244"/>
              <a:gd name="T19" fmla="*/ 2147483647 h 180"/>
              <a:gd name="T20" fmla="*/ 2147483647 w 244"/>
              <a:gd name="T21" fmla="*/ 2147483647 h 180"/>
              <a:gd name="T22" fmla="*/ 0 w 244"/>
              <a:gd name="T23" fmla="*/ 2147483647 h 180"/>
              <a:gd name="T24" fmla="*/ 2147483647 w 244"/>
              <a:gd name="T25" fmla="*/ 2147483647 h 180"/>
              <a:gd name="T26" fmla="*/ 2147483647 w 244"/>
              <a:gd name="T27" fmla="*/ 2147483647 h 180"/>
              <a:gd name="T28" fmla="*/ 2147483647 w 244"/>
              <a:gd name="T29" fmla="*/ 2147483647 h 180"/>
              <a:gd name="T30" fmla="*/ 2147483647 w 244"/>
              <a:gd name="T31" fmla="*/ 2147483647 h 180"/>
              <a:gd name="T32" fmla="*/ 2147483647 w 244"/>
              <a:gd name="T33" fmla="*/ 2147483647 h 180"/>
              <a:gd name="T34" fmla="*/ 2147483647 w 244"/>
              <a:gd name="T35" fmla="*/ 2147483647 h 180"/>
              <a:gd name="T36" fmla="*/ 2147483647 w 244"/>
              <a:gd name="T37" fmla="*/ 2147483647 h 180"/>
              <a:gd name="T38" fmla="*/ 2147483647 w 244"/>
              <a:gd name="T39" fmla="*/ 2147483647 h 180"/>
              <a:gd name="T40" fmla="*/ 2147483647 w 244"/>
              <a:gd name="T41" fmla="*/ 2147483647 h 180"/>
              <a:gd name="T42" fmla="*/ 2147483647 w 244"/>
              <a:gd name="T43" fmla="*/ 2147483647 h 180"/>
              <a:gd name="T44" fmla="*/ 2147483647 w 244"/>
              <a:gd name="T45" fmla="*/ 2147483647 h 180"/>
              <a:gd name="T46" fmla="*/ 2147483647 w 244"/>
              <a:gd name="T47" fmla="*/ 2147483647 h 180"/>
              <a:gd name="T48" fmla="*/ 2147483647 w 244"/>
              <a:gd name="T49" fmla="*/ 0 h 180"/>
              <a:gd name="T50" fmla="*/ 2147483647 w 244"/>
              <a:gd name="T51" fmla="*/ 2147483647 h 180"/>
              <a:gd name="T52" fmla="*/ 2147483647 w 244"/>
              <a:gd name="T53" fmla="*/ 2147483647 h 180"/>
              <a:gd name="T54" fmla="*/ 2147483647 w 244"/>
              <a:gd name="T55" fmla="*/ 2147483647 h 180"/>
              <a:gd name="T56" fmla="*/ 2147483647 w 244"/>
              <a:gd name="T57" fmla="*/ 2147483647 h 180"/>
              <a:gd name="T58" fmla="*/ 2147483647 w 244"/>
              <a:gd name="T59" fmla="*/ 2147483647 h 180"/>
              <a:gd name="T60" fmla="*/ 2147483647 w 244"/>
              <a:gd name="T61" fmla="*/ 2147483647 h 180"/>
              <a:gd name="T62" fmla="*/ 2147483647 w 244"/>
              <a:gd name="T63" fmla="*/ 2147483647 h 180"/>
              <a:gd name="T64" fmla="*/ 2147483647 w 244"/>
              <a:gd name="T65" fmla="*/ 2147483647 h 180"/>
              <a:gd name="T66" fmla="*/ 2147483647 w 244"/>
              <a:gd name="T67" fmla="*/ 2147483647 h 180"/>
              <a:gd name="T68" fmla="*/ 2147483647 w 244"/>
              <a:gd name="T69" fmla="*/ 2147483647 h 180"/>
              <a:gd name="T70" fmla="*/ 2147483647 w 244"/>
              <a:gd name="T71" fmla="*/ 2147483647 h 180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244"/>
              <a:gd name="T109" fmla="*/ 0 h 180"/>
              <a:gd name="T110" fmla="*/ 244 w 244"/>
              <a:gd name="T111" fmla="*/ 180 h 180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244" h="180">
                <a:moveTo>
                  <a:pt x="121" y="97"/>
                </a:moveTo>
                <a:lnTo>
                  <a:pt x="134" y="95"/>
                </a:lnTo>
                <a:lnTo>
                  <a:pt x="127" y="90"/>
                </a:lnTo>
                <a:lnTo>
                  <a:pt x="121" y="97"/>
                </a:lnTo>
                <a:close/>
                <a:moveTo>
                  <a:pt x="183" y="180"/>
                </a:moveTo>
                <a:lnTo>
                  <a:pt x="149" y="174"/>
                </a:lnTo>
                <a:lnTo>
                  <a:pt x="113" y="168"/>
                </a:lnTo>
                <a:lnTo>
                  <a:pt x="79" y="161"/>
                </a:lnTo>
                <a:lnTo>
                  <a:pt x="44" y="156"/>
                </a:lnTo>
                <a:lnTo>
                  <a:pt x="30" y="114"/>
                </a:lnTo>
                <a:lnTo>
                  <a:pt x="3" y="90"/>
                </a:lnTo>
                <a:lnTo>
                  <a:pt x="0" y="78"/>
                </a:lnTo>
                <a:lnTo>
                  <a:pt x="17" y="72"/>
                </a:lnTo>
                <a:lnTo>
                  <a:pt x="14" y="90"/>
                </a:lnTo>
                <a:lnTo>
                  <a:pt x="30" y="90"/>
                </a:lnTo>
                <a:lnTo>
                  <a:pt x="36" y="104"/>
                </a:lnTo>
                <a:lnTo>
                  <a:pt x="59" y="106"/>
                </a:lnTo>
                <a:lnTo>
                  <a:pt x="75" y="95"/>
                </a:lnTo>
                <a:lnTo>
                  <a:pt x="135" y="100"/>
                </a:lnTo>
                <a:lnTo>
                  <a:pt x="155" y="89"/>
                </a:lnTo>
                <a:lnTo>
                  <a:pt x="155" y="81"/>
                </a:lnTo>
                <a:lnTo>
                  <a:pt x="163" y="80"/>
                </a:lnTo>
                <a:lnTo>
                  <a:pt x="166" y="68"/>
                </a:lnTo>
                <a:lnTo>
                  <a:pt x="200" y="39"/>
                </a:lnTo>
                <a:lnTo>
                  <a:pt x="231" y="0"/>
                </a:lnTo>
                <a:lnTo>
                  <a:pt x="232" y="19"/>
                </a:lnTo>
                <a:lnTo>
                  <a:pt x="240" y="21"/>
                </a:lnTo>
                <a:lnTo>
                  <a:pt x="244" y="61"/>
                </a:lnTo>
                <a:lnTo>
                  <a:pt x="231" y="61"/>
                </a:lnTo>
                <a:lnTo>
                  <a:pt x="215" y="61"/>
                </a:lnTo>
                <a:lnTo>
                  <a:pt x="222" y="81"/>
                </a:lnTo>
                <a:lnTo>
                  <a:pt x="229" y="100"/>
                </a:lnTo>
                <a:lnTo>
                  <a:pt x="202" y="110"/>
                </a:lnTo>
                <a:lnTo>
                  <a:pt x="197" y="141"/>
                </a:lnTo>
                <a:lnTo>
                  <a:pt x="194" y="171"/>
                </a:lnTo>
                <a:lnTo>
                  <a:pt x="183" y="180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24" name="Freeform 113"/>
          <p:cNvSpPr>
            <a:spLocks noChangeAspect="1" noEditPoints="1"/>
          </p:cNvSpPr>
          <p:nvPr/>
        </p:nvSpPr>
        <p:spPr bwMode="gray">
          <a:xfrm>
            <a:off x="6378575" y="3217863"/>
            <a:ext cx="107950" cy="136525"/>
          </a:xfrm>
          <a:custGeom>
            <a:avLst/>
            <a:gdLst>
              <a:gd name="T0" fmla="*/ 2147483647 w 220"/>
              <a:gd name="T1" fmla="*/ 2147483647 h 280"/>
              <a:gd name="T2" fmla="*/ 2147483647 w 220"/>
              <a:gd name="T3" fmla="*/ 2147483647 h 280"/>
              <a:gd name="T4" fmla="*/ 2147483647 w 220"/>
              <a:gd name="T5" fmla="*/ 2147483647 h 280"/>
              <a:gd name="T6" fmla="*/ 2147483647 w 220"/>
              <a:gd name="T7" fmla="*/ 2147483647 h 280"/>
              <a:gd name="T8" fmla="*/ 2147483647 w 220"/>
              <a:gd name="T9" fmla="*/ 2147483647 h 280"/>
              <a:gd name="T10" fmla="*/ 2147483647 w 220"/>
              <a:gd name="T11" fmla="*/ 2147483647 h 280"/>
              <a:gd name="T12" fmla="*/ 2147483647 w 220"/>
              <a:gd name="T13" fmla="*/ 2147483647 h 280"/>
              <a:gd name="T14" fmla="*/ 2147483647 w 220"/>
              <a:gd name="T15" fmla="*/ 2147483647 h 280"/>
              <a:gd name="T16" fmla="*/ 2147483647 w 220"/>
              <a:gd name="T17" fmla="*/ 2147483647 h 280"/>
              <a:gd name="T18" fmla="*/ 2147483647 w 220"/>
              <a:gd name="T19" fmla="*/ 2147483647 h 280"/>
              <a:gd name="T20" fmla="*/ 2147483647 w 220"/>
              <a:gd name="T21" fmla="*/ 2147483647 h 280"/>
              <a:gd name="T22" fmla="*/ 2147483647 w 220"/>
              <a:gd name="T23" fmla="*/ 2147483647 h 280"/>
              <a:gd name="T24" fmla="*/ 2147483647 w 220"/>
              <a:gd name="T25" fmla="*/ 2147483647 h 280"/>
              <a:gd name="T26" fmla="*/ 2147483647 w 220"/>
              <a:gd name="T27" fmla="*/ 2147483647 h 280"/>
              <a:gd name="T28" fmla="*/ 2147483647 w 220"/>
              <a:gd name="T29" fmla="*/ 2147483647 h 280"/>
              <a:gd name="T30" fmla="*/ 2147483647 w 220"/>
              <a:gd name="T31" fmla="*/ 2147483647 h 280"/>
              <a:gd name="T32" fmla="*/ 2147483647 w 220"/>
              <a:gd name="T33" fmla="*/ 2147483647 h 280"/>
              <a:gd name="T34" fmla="*/ 2147483647 w 220"/>
              <a:gd name="T35" fmla="*/ 2147483647 h 280"/>
              <a:gd name="T36" fmla="*/ 2147483647 w 220"/>
              <a:gd name="T37" fmla="*/ 2147483647 h 280"/>
              <a:gd name="T38" fmla="*/ 2147483647 w 220"/>
              <a:gd name="T39" fmla="*/ 2147483647 h 280"/>
              <a:gd name="T40" fmla="*/ 2147483647 w 220"/>
              <a:gd name="T41" fmla="*/ 2147483647 h 280"/>
              <a:gd name="T42" fmla="*/ 2147483647 w 220"/>
              <a:gd name="T43" fmla="*/ 2147483647 h 280"/>
              <a:gd name="T44" fmla="*/ 2147483647 w 220"/>
              <a:gd name="T45" fmla="*/ 2147483647 h 280"/>
              <a:gd name="T46" fmla="*/ 2147483647 w 220"/>
              <a:gd name="T47" fmla="*/ 2147483647 h 280"/>
              <a:gd name="T48" fmla="*/ 2147483647 w 220"/>
              <a:gd name="T49" fmla="*/ 2147483647 h 280"/>
              <a:gd name="T50" fmla="*/ 2147483647 w 220"/>
              <a:gd name="T51" fmla="*/ 2147483647 h 280"/>
              <a:gd name="T52" fmla="*/ 2147483647 w 220"/>
              <a:gd name="T53" fmla="*/ 0 h 280"/>
              <a:gd name="T54" fmla="*/ 2147483647 w 220"/>
              <a:gd name="T55" fmla="*/ 2147483647 h 280"/>
              <a:gd name="T56" fmla="*/ 2147483647 w 220"/>
              <a:gd name="T57" fmla="*/ 2147483647 h 280"/>
              <a:gd name="T58" fmla="*/ 2147483647 w 220"/>
              <a:gd name="T59" fmla="*/ 2147483647 h 280"/>
              <a:gd name="T60" fmla="*/ 2147483647 w 220"/>
              <a:gd name="T61" fmla="*/ 2147483647 h 280"/>
              <a:gd name="T62" fmla="*/ 2147483647 w 220"/>
              <a:gd name="T63" fmla="*/ 2147483647 h 280"/>
              <a:gd name="T64" fmla="*/ 2147483647 w 220"/>
              <a:gd name="T65" fmla="*/ 2147483647 h 280"/>
              <a:gd name="T66" fmla="*/ 2147483647 w 220"/>
              <a:gd name="T67" fmla="*/ 2147483647 h 280"/>
              <a:gd name="T68" fmla="*/ 0 w 220"/>
              <a:gd name="T69" fmla="*/ 2147483647 h 280"/>
              <a:gd name="T70" fmla="*/ 2147483647 w 220"/>
              <a:gd name="T71" fmla="*/ 2147483647 h 280"/>
              <a:gd name="T72" fmla="*/ 2147483647 w 220"/>
              <a:gd name="T73" fmla="*/ 2147483647 h 280"/>
              <a:gd name="T74" fmla="*/ 2147483647 w 220"/>
              <a:gd name="T75" fmla="*/ 2147483647 h 280"/>
              <a:gd name="T76" fmla="*/ 2147483647 w 220"/>
              <a:gd name="T77" fmla="*/ 2147483647 h 280"/>
              <a:gd name="T78" fmla="*/ 2147483647 w 220"/>
              <a:gd name="T79" fmla="*/ 2147483647 h 280"/>
              <a:gd name="T80" fmla="*/ 2147483647 w 220"/>
              <a:gd name="T81" fmla="*/ 2147483647 h 280"/>
              <a:gd name="T82" fmla="*/ 2147483647 w 220"/>
              <a:gd name="T83" fmla="*/ 2147483647 h 280"/>
              <a:gd name="T84" fmla="*/ 2147483647 w 220"/>
              <a:gd name="T85" fmla="*/ 2147483647 h 280"/>
              <a:gd name="T86" fmla="*/ 2147483647 w 220"/>
              <a:gd name="T87" fmla="*/ 2147483647 h 280"/>
              <a:gd name="T88" fmla="*/ 2147483647 w 220"/>
              <a:gd name="T89" fmla="*/ 2147483647 h 280"/>
              <a:gd name="T90" fmla="*/ 2147483647 w 220"/>
              <a:gd name="T91" fmla="*/ 2147483647 h 280"/>
              <a:gd name="T92" fmla="*/ 2147483647 w 220"/>
              <a:gd name="T93" fmla="*/ 2147483647 h 280"/>
              <a:gd name="T94" fmla="*/ 2147483647 w 220"/>
              <a:gd name="T95" fmla="*/ 2147483647 h 280"/>
              <a:gd name="T96" fmla="*/ 2147483647 w 220"/>
              <a:gd name="T97" fmla="*/ 2147483647 h 280"/>
              <a:gd name="T98" fmla="*/ 2147483647 w 220"/>
              <a:gd name="T99" fmla="*/ 2147483647 h 280"/>
              <a:gd name="T100" fmla="*/ 2147483647 w 220"/>
              <a:gd name="T101" fmla="*/ 2147483647 h 280"/>
              <a:gd name="T102" fmla="*/ 2147483647 w 220"/>
              <a:gd name="T103" fmla="*/ 2147483647 h 280"/>
              <a:gd name="T104" fmla="*/ 2147483647 w 220"/>
              <a:gd name="T105" fmla="*/ 2147483647 h 280"/>
              <a:gd name="T106" fmla="*/ 2147483647 w 220"/>
              <a:gd name="T107" fmla="*/ 2147483647 h 280"/>
              <a:gd name="T108" fmla="*/ 2147483647 w 220"/>
              <a:gd name="T109" fmla="*/ 2147483647 h 280"/>
              <a:gd name="T110" fmla="*/ 2147483647 w 220"/>
              <a:gd name="T111" fmla="*/ 2147483647 h 280"/>
              <a:gd name="T112" fmla="*/ 2147483647 w 220"/>
              <a:gd name="T113" fmla="*/ 2147483647 h 280"/>
              <a:gd name="T114" fmla="*/ 2147483647 w 220"/>
              <a:gd name="T115" fmla="*/ 2147483647 h 280"/>
              <a:gd name="T116" fmla="*/ 2147483647 w 220"/>
              <a:gd name="T117" fmla="*/ 2147483647 h 280"/>
              <a:gd name="T118" fmla="*/ 2147483647 w 220"/>
              <a:gd name="T119" fmla="*/ 2147483647 h 28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220"/>
              <a:gd name="T181" fmla="*/ 0 h 280"/>
              <a:gd name="T182" fmla="*/ 220 w 220"/>
              <a:gd name="T183" fmla="*/ 280 h 280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220" h="280">
                <a:moveTo>
                  <a:pt x="203" y="280"/>
                </a:moveTo>
                <a:lnTo>
                  <a:pt x="204" y="258"/>
                </a:lnTo>
                <a:lnTo>
                  <a:pt x="210" y="255"/>
                </a:lnTo>
                <a:lnTo>
                  <a:pt x="220" y="258"/>
                </a:lnTo>
                <a:lnTo>
                  <a:pt x="218" y="231"/>
                </a:lnTo>
                <a:lnTo>
                  <a:pt x="212" y="179"/>
                </a:lnTo>
                <a:lnTo>
                  <a:pt x="196" y="138"/>
                </a:lnTo>
                <a:lnTo>
                  <a:pt x="190" y="138"/>
                </a:lnTo>
                <a:lnTo>
                  <a:pt x="182" y="150"/>
                </a:lnTo>
                <a:lnTo>
                  <a:pt x="172" y="175"/>
                </a:lnTo>
                <a:lnTo>
                  <a:pt x="162" y="162"/>
                </a:lnTo>
                <a:lnTo>
                  <a:pt x="153" y="161"/>
                </a:lnTo>
                <a:lnTo>
                  <a:pt x="147" y="131"/>
                </a:lnTo>
                <a:lnTo>
                  <a:pt x="149" y="125"/>
                </a:lnTo>
                <a:lnTo>
                  <a:pt x="179" y="102"/>
                </a:lnTo>
                <a:lnTo>
                  <a:pt x="203" y="72"/>
                </a:lnTo>
                <a:lnTo>
                  <a:pt x="170" y="62"/>
                </a:lnTo>
                <a:lnTo>
                  <a:pt x="98" y="62"/>
                </a:lnTo>
                <a:lnTo>
                  <a:pt x="85" y="50"/>
                </a:lnTo>
                <a:lnTo>
                  <a:pt x="76" y="14"/>
                </a:lnTo>
                <a:lnTo>
                  <a:pt x="69" y="26"/>
                </a:lnTo>
                <a:lnTo>
                  <a:pt x="60" y="21"/>
                </a:lnTo>
                <a:lnTo>
                  <a:pt x="57" y="25"/>
                </a:lnTo>
                <a:lnTo>
                  <a:pt x="49" y="4"/>
                </a:lnTo>
                <a:lnTo>
                  <a:pt x="43" y="3"/>
                </a:lnTo>
                <a:lnTo>
                  <a:pt x="40" y="20"/>
                </a:lnTo>
                <a:lnTo>
                  <a:pt x="26" y="0"/>
                </a:lnTo>
                <a:lnTo>
                  <a:pt x="8" y="31"/>
                </a:lnTo>
                <a:lnTo>
                  <a:pt x="14" y="46"/>
                </a:lnTo>
                <a:lnTo>
                  <a:pt x="32" y="50"/>
                </a:lnTo>
                <a:lnTo>
                  <a:pt x="35" y="62"/>
                </a:lnTo>
                <a:lnTo>
                  <a:pt x="18" y="63"/>
                </a:lnTo>
                <a:lnTo>
                  <a:pt x="15" y="71"/>
                </a:lnTo>
                <a:lnTo>
                  <a:pt x="5" y="74"/>
                </a:lnTo>
                <a:lnTo>
                  <a:pt x="0" y="85"/>
                </a:lnTo>
                <a:lnTo>
                  <a:pt x="28" y="110"/>
                </a:lnTo>
                <a:lnTo>
                  <a:pt x="26" y="144"/>
                </a:lnTo>
                <a:lnTo>
                  <a:pt x="35" y="167"/>
                </a:lnTo>
                <a:lnTo>
                  <a:pt x="34" y="189"/>
                </a:lnTo>
                <a:lnTo>
                  <a:pt x="40" y="201"/>
                </a:lnTo>
                <a:lnTo>
                  <a:pt x="47" y="244"/>
                </a:lnTo>
                <a:lnTo>
                  <a:pt x="79" y="233"/>
                </a:lnTo>
                <a:lnTo>
                  <a:pt x="82" y="240"/>
                </a:lnTo>
                <a:lnTo>
                  <a:pt x="96" y="223"/>
                </a:lnTo>
                <a:lnTo>
                  <a:pt x="108" y="236"/>
                </a:lnTo>
                <a:lnTo>
                  <a:pt x="125" y="215"/>
                </a:lnTo>
                <a:lnTo>
                  <a:pt x="122" y="194"/>
                </a:lnTo>
                <a:lnTo>
                  <a:pt x="133" y="179"/>
                </a:lnTo>
                <a:lnTo>
                  <a:pt x="145" y="192"/>
                </a:lnTo>
                <a:lnTo>
                  <a:pt x="166" y="187"/>
                </a:lnTo>
                <a:lnTo>
                  <a:pt x="170" y="192"/>
                </a:lnTo>
                <a:lnTo>
                  <a:pt x="186" y="215"/>
                </a:lnTo>
                <a:lnTo>
                  <a:pt x="196" y="269"/>
                </a:lnTo>
                <a:lnTo>
                  <a:pt x="203" y="280"/>
                </a:lnTo>
                <a:close/>
                <a:moveTo>
                  <a:pt x="127" y="192"/>
                </a:moveTo>
                <a:lnTo>
                  <a:pt x="128" y="209"/>
                </a:lnTo>
                <a:lnTo>
                  <a:pt x="133" y="212"/>
                </a:lnTo>
                <a:lnTo>
                  <a:pt x="139" y="199"/>
                </a:lnTo>
                <a:lnTo>
                  <a:pt x="133" y="190"/>
                </a:lnTo>
                <a:lnTo>
                  <a:pt x="127" y="192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25" name="Freeform 114"/>
          <p:cNvSpPr>
            <a:spLocks noChangeAspect="1" noEditPoints="1"/>
          </p:cNvSpPr>
          <p:nvPr/>
        </p:nvSpPr>
        <p:spPr bwMode="gray">
          <a:xfrm>
            <a:off x="5573713" y="3259138"/>
            <a:ext cx="174625" cy="196850"/>
          </a:xfrm>
          <a:custGeom>
            <a:avLst/>
            <a:gdLst>
              <a:gd name="T0" fmla="*/ 2147483647 w 359"/>
              <a:gd name="T1" fmla="*/ 2147483647 h 407"/>
              <a:gd name="T2" fmla="*/ 2147483647 w 359"/>
              <a:gd name="T3" fmla="*/ 2147483647 h 407"/>
              <a:gd name="T4" fmla="*/ 2147483647 w 359"/>
              <a:gd name="T5" fmla="*/ 2147483647 h 407"/>
              <a:gd name="T6" fmla="*/ 2147483647 w 359"/>
              <a:gd name="T7" fmla="*/ 2147483647 h 407"/>
              <a:gd name="T8" fmla="*/ 2147483647 w 359"/>
              <a:gd name="T9" fmla="*/ 2147483647 h 407"/>
              <a:gd name="T10" fmla="*/ 2147483647 w 359"/>
              <a:gd name="T11" fmla="*/ 2147483647 h 407"/>
              <a:gd name="T12" fmla="*/ 2147483647 w 359"/>
              <a:gd name="T13" fmla="*/ 2147483647 h 407"/>
              <a:gd name="T14" fmla="*/ 2147483647 w 359"/>
              <a:gd name="T15" fmla="*/ 2147483647 h 407"/>
              <a:gd name="T16" fmla="*/ 0 w 359"/>
              <a:gd name="T17" fmla="*/ 2147483647 h 407"/>
              <a:gd name="T18" fmla="*/ 2147483647 w 359"/>
              <a:gd name="T19" fmla="*/ 2147483647 h 407"/>
              <a:gd name="T20" fmla="*/ 2147483647 w 359"/>
              <a:gd name="T21" fmla="*/ 2147483647 h 407"/>
              <a:gd name="T22" fmla="*/ 2147483647 w 359"/>
              <a:gd name="T23" fmla="*/ 2147483647 h 407"/>
              <a:gd name="T24" fmla="*/ 2147483647 w 359"/>
              <a:gd name="T25" fmla="*/ 2147483647 h 407"/>
              <a:gd name="T26" fmla="*/ 2147483647 w 359"/>
              <a:gd name="T27" fmla="*/ 2147483647 h 407"/>
              <a:gd name="T28" fmla="*/ 2147483647 w 359"/>
              <a:gd name="T29" fmla="*/ 2147483647 h 407"/>
              <a:gd name="T30" fmla="*/ 2147483647 w 359"/>
              <a:gd name="T31" fmla="*/ 2147483647 h 407"/>
              <a:gd name="T32" fmla="*/ 2147483647 w 359"/>
              <a:gd name="T33" fmla="*/ 2147483647 h 407"/>
              <a:gd name="T34" fmla="*/ 2147483647 w 359"/>
              <a:gd name="T35" fmla="*/ 2147483647 h 407"/>
              <a:gd name="T36" fmla="*/ 2147483647 w 359"/>
              <a:gd name="T37" fmla="*/ 2147483647 h 407"/>
              <a:gd name="T38" fmla="*/ 2147483647 w 359"/>
              <a:gd name="T39" fmla="*/ 2147483647 h 407"/>
              <a:gd name="T40" fmla="*/ 2147483647 w 359"/>
              <a:gd name="T41" fmla="*/ 2147483647 h 407"/>
              <a:gd name="T42" fmla="*/ 2147483647 w 359"/>
              <a:gd name="T43" fmla="*/ 2147483647 h 407"/>
              <a:gd name="T44" fmla="*/ 2147483647 w 359"/>
              <a:gd name="T45" fmla="*/ 2147483647 h 407"/>
              <a:gd name="T46" fmla="*/ 2147483647 w 359"/>
              <a:gd name="T47" fmla="*/ 2147483647 h 407"/>
              <a:gd name="T48" fmla="*/ 2147483647 w 359"/>
              <a:gd name="T49" fmla="*/ 2147483647 h 407"/>
              <a:gd name="T50" fmla="*/ 2147483647 w 359"/>
              <a:gd name="T51" fmla="*/ 2147483647 h 407"/>
              <a:gd name="T52" fmla="*/ 2147483647 w 359"/>
              <a:gd name="T53" fmla="*/ 2147483647 h 407"/>
              <a:gd name="T54" fmla="*/ 2147483647 w 359"/>
              <a:gd name="T55" fmla="*/ 2147483647 h 407"/>
              <a:gd name="T56" fmla="*/ 2147483647 w 359"/>
              <a:gd name="T57" fmla="*/ 2147483647 h 407"/>
              <a:gd name="T58" fmla="*/ 2147483647 w 359"/>
              <a:gd name="T59" fmla="*/ 2147483647 h 407"/>
              <a:gd name="T60" fmla="*/ 2147483647 w 359"/>
              <a:gd name="T61" fmla="*/ 2147483647 h 407"/>
              <a:gd name="T62" fmla="*/ 2147483647 w 359"/>
              <a:gd name="T63" fmla="*/ 2147483647 h 407"/>
              <a:gd name="T64" fmla="*/ 2147483647 w 359"/>
              <a:gd name="T65" fmla="*/ 2147483647 h 407"/>
              <a:gd name="T66" fmla="*/ 2147483647 w 359"/>
              <a:gd name="T67" fmla="*/ 0 h 407"/>
              <a:gd name="T68" fmla="*/ 2147483647 w 359"/>
              <a:gd name="T69" fmla="*/ 0 h 407"/>
              <a:gd name="T70" fmla="*/ 2147483647 w 359"/>
              <a:gd name="T71" fmla="*/ 0 h 407"/>
              <a:gd name="T72" fmla="*/ 2147483647 w 359"/>
              <a:gd name="T73" fmla="*/ 2147483647 h 407"/>
              <a:gd name="T74" fmla="*/ 2147483647 w 359"/>
              <a:gd name="T75" fmla="*/ 2147483647 h 407"/>
              <a:gd name="T76" fmla="*/ 2147483647 w 359"/>
              <a:gd name="T77" fmla="*/ 2147483647 h 407"/>
              <a:gd name="T78" fmla="*/ 2147483647 w 359"/>
              <a:gd name="T79" fmla="*/ 2147483647 h 407"/>
              <a:gd name="T80" fmla="*/ 2147483647 w 359"/>
              <a:gd name="T81" fmla="*/ 2147483647 h 407"/>
              <a:gd name="T82" fmla="*/ 2147483647 w 359"/>
              <a:gd name="T83" fmla="*/ 2147483647 h 407"/>
              <a:gd name="T84" fmla="*/ 2147483647 w 359"/>
              <a:gd name="T85" fmla="*/ 2147483647 h 407"/>
              <a:gd name="T86" fmla="*/ 2147483647 w 359"/>
              <a:gd name="T87" fmla="*/ 2147483647 h 407"/>
              <a:gd name="T88" fmla="*/ 2147483647 w 359"/>
              <a:gd name="T89" fmla="*/ 2147483647 h 407"/>
              <a:gd name="T90" fmla="*/ 2147483647 w 359"/>
              <a:gd name="T91" fmla="*/ 2147483647 h 407"/>
              <a:gd name="T92" fmla="*/ 2147483647 w 359"/>
              <a:gd name="T93" fmla="*/ 2147483647 h 407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359"/>
              <a:gd name="T142" fmla="*/ 0 h 407"/>
              <a:gd name="T143" fmla="*/ 359 w 359"/>
              <a:gd name="T144" fmla="*/ 407 h 407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359" h="407">
                <a:moveTo>
                  <a:pt x="171" y="144"/>
                </a:moveTo>
                <a:lnTo>
                  <a:pt x="162" y="170"/>
                </a:lnTo>
                <a:lnTo>
                  <a:pt x="156" y="193"/>
                </a:lnTo>
                <a:lnTo>
                  <a:pt x="147" y="218"/>
                </a:lnTo>
                <a:lnTo>
                  <a:pt x="139" y="243"/>
                </a:lnTo>
                <a:lnTo>
                  <a:pt x="105" y="254"/>
                </a:lnTo>
                <a:lnTo>
                  <a:pt x="69" y="266"/>
                </a:lnTo>
                <a:lnTo>
                  <a:pt x="35" y="278"/>
                </a:lnTo>
                <a:lnTo>
                  <a:pt x="0" y="291"/>
                </a:lnTo>
                <a:lnTo>
                  <a:pt x="24" y="349"/>
                </a:lnTo>
                <a:lnTo>
                  <a:pt x="48" y="407"/>
                </a:lnTo>
                <a:lnTo>
                  <a:pt x="99" y="388"/>
                </a:lnTo>
                <a:lnTo>
                  <a:pt x="136" y="390"/>
                </a:lnTo>
                <a:lnTo>
                  <a:pt x="151" y="376"/>
                </a:lnTo>
                <a:lnTo>
                  <a:pt x="151" y="362"/>
                </a:lnTo>
                <a:lnTo>
                  <a:pt x="164" y="347"/>
                </a:lnTo>
                <a:lnTo>
                  <a:pt x="204" y="340"/>
                </a:lnTo>
                <a:lnTo>
                  <a:pt x="221" y="303"/>
                </a:lnTo>
                <a:lnTo>
                  <a:pt x="238" y="291"/>
                </a:lnTo>
                <a:lnTo>
                  <a:pt x="266" y="288"/>
                </a:lnTo>
                <a:lnTo>
                  <a:pt x="264" y="238"/>
                </a:lnTo>
                <a:lnTo>
                  <a:pt x="276" y="224"/>
                </a:lnTo>
                <a:lnTo>
                  <a:pt x="286" y="213"/>
                </a:lnTo>
                <a:lnTo>
                  <a:pt x="292" y="221"/>
                </a:lnTo>
                <a:lnTo>
                  <a:pt x="300" y="220"/>
                </a:lnTo>
                <a:lnTo>
                  <a:pt x="317" y="190"/>
                </a:lnTo>
                <a:lnTo>
                  <a:pt x="351" y="149"/>
                </a:lnTo>
                <a:lnTo>
                  <a:pt x="359" y="122"/>
                </a:lnTo>
                <a:lnTo>
                  <a:pt x="334" y="104"/>
                </a:lnTo>
                <a:lnTo>
                  <a:pt x="308" y="66"/>
                </a:lnTo>
                <a:lnTo>
                  <a:pt x="261" y="53"/>
                </a:lnTo>
                <a:lnTo>
                  <a:pt x="224" y="34"/>
                </a:lnTo>
                <a:lnTo>
                  <a:pt x="204" y="11"/>
                </a:lnTo>
                <a:lnTo>
                  <a:pt x="200" y="0"/>
                </a:lnTo>
                <a:lnTo>
                  <a:pt x="185" y="0"/>
                </a:lnTo>
                <a:lnTo>
                  <a:pt x="171" y="0"/>
                </a:lnTo>
                <a:lnTo>
                  <a:pt x="178" y="20"/>
                </a:lnTo>
                <a:lnTo>
                  <a:pt x="185" y="39"/>
                </a:lnTo>
                <a:lnTo>
                  <a:pt x="158" y="49"/>
                </a:lnTo>
                <a:lnTo>
                  <a:pt x="153" y="80"/>
                </a:lnTo>
                <a:lnTo>
                  <a:pt x="150" y="110"/>
                </a:lnTo>
                <a:lnTo>
                  <a:pt x="171" y="144"/>
                </a:lnTo>
                <a:close/>
                <a:moveTo>
                  <a:pt x="305" y="230"/>
                </a:moveTo>
                <a:lnTo>
                  <a:pt x="318" y="215"/>
                </a:lnTo>
                <a:lnTo>
                  <a:pt x="317" y="209"/>
                </a:lnTo>
                <a:lnTo>
                  <a:pt x="306" y="221"/>
                </a:lnTo>
                <a:lnTo>
                  <a:pt x="305" y="230"/>
                </a:lnTo>
                <a:close/>
              </a:path>
            </a:pathLst>
          </a:custGeom>
          <a:solidFill>
            <a:srgbClr val="93C196"/>
          </a:solidFill>
          <a:ln w="6350" cap="flat" cmpd="sng">
            <a:solidFill>
              <a:srgbClr val="82673C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26" name="Freeform 115"/>
          <p:cNvSpPr>
            <a:spLocks noChangeAspect="1" noEditPoints="1"/>
          </p:cNvSpPr>
          <p:nvPr/>
        </p:nvSpPr>
        <p:spPr bwMode="gray">
          <a:xfrm>
            <a:off x="5362575" y="3398838"/>
            <a:ext cx="268288" cy="155575"/>
          </a:xfrm>
          <a:custGeom>
            <a:avLst/>
            <a:gdLst>
              <a:gd name="T0" fmla="*/ 2147483647 w 549"/>
              <a:gd name="T1" fmla="*/ 0 h 320"/>
              <a:gd name="T2" fmla="*/ 2147483647 w 549"/>
              <a:gd name="T3" fmla="*/ 2147483647 h 320"/>
              <a:gd name="T4" fmla="*/ 2147483647 w 549"/>
              <a:gd name="T5" fmla="*/ 2147483647 h 320"/>
              <a:gd name="T6" fmla="*/ 2147483647 w 549"/>
              <a:gd name="T7" fmla="*/ 2147483647 h 320"/>
              <a:gd name="T8" fmla="*/ 2147483647 w 549"/>
              <a:gd name="T9" fmla="*/ 2147483647 h 320"/>
              <a:gd name="T10" fmla="*/ 2147483647 w 549"/>
              <a:gd name="T11" fmla="*/ 2147483647 h 320"/>
              <a:gd name="T12" fmla="*/ 2147483647 w 549"/>
              <a:gd name="T13" fmla="*/ 2147483647 h 320"/>
              <a:gd name="T14" fmla="*/ 2147483647 w 549"/>
              <a:gd name="T15" fmla="*/ 2147483647 h 320"/>
              <a:gd name="T16" fmla="*/ 2147483647 w 549"/>
              <a:gd name="T17" fmla="*/ 2147483647 h 320"/>
              <a:gd name="T18" fmla="*/ 2147483647 w 549"/>
              <a:gd name="T19" fmla="*/ 2147483647 h 320"/>
              <a:gd name="T20" fmla="*/ 2147483647 w 549"/>
              <a:gd name="T21" fmla="*/ 2147483647 h 320"/>
              <a:gd name="T22" fmla="*/ 2147483647 w 549"/>
              <a:gd name="T23" fmla="*/ 2147483647 h 320"/>
              <a:gd name="T24" fmla="*/ 2147483647 w 549"/>
              <a:gd name="T25" fmla="*/ 2147483647 h 320"/>
              <a:gd name="T26" fmla="*/ 2147483647 w 549"/>
              <a:gd name="T27" fmla="*/ 2147483647 h 320"/>
              <a:gd name="T28" fmla="*/ 2147483647 w 549"/>
              <a:gd name="T29" fmla="*/ 2147483647 h 320"/>
              <a:gd name="T30" fmla="*/ 2147483647 w 549"/>
              <a:gd name="T31" fmla="*/ 2147483647 h 320"/>
              <a:gd name="T32" fmla="*/ 2147483647 w 549"/>
              <a:gd name="T33" fmla="*/ 2147483647 h 320"/>
              <a:gd name="T34" fmla="*/ 2147483647 w 549"/>
              <a:gd name="T35" fmla="*/ 2147483647 h 320"/>
              <a:gd name="T36" fmla="*/ 2147483647 w 549"/>
              <a:gd name="T37" fmla="*/ 2147483647 h 320"/>
              <a:gd name="T38" fmla="*/ 0 w 549"/>
              <a:gd name="T39" fmla="*/ 2147483647 h 320"/>
              <a:gd name="T40" fmla="*/ 2147483647 w 549"/>
              <a:gd name="T41" fmla="*/ 2147483647 h 320"/>
              <a:gd name="T42" fmla="*/ 2147483647 w 549"/>
              <a:gd name="T43" fmla="*/ 2147483647 h 320"/>
              <a:gd name="T44" fmla="*/ 2147483647 w 549"/>
              <a:gd name="T45" fmla="*/ 2147483647 h 320"/>
              <a:gd name="T46" fmla="*/ 2147483647 w 549"/>
              <a:gd name="T47" fmla="*/ 2147483647 h 320"/>
              <a:gd name="T48" fmla="*/ 2147483647 w 549"/>
              <a:gd name="T49" fmla="*/ 2147483647 h 320"/>
              <a:gd name="T50" fmla="*/ 2147483647 w 549"/>
              <a:gd name="T51" fmla="*/ 2147483647 h 320"/>
              <a:gd name="T52" fmla="*/ 2147483647 w 549"/>
              <a:gd name="T53" fmla="*/ 2147483647 h 320"/>
              <a:gd name="T54" fmla="*/ 2147483647 w 549"/>
              <a:gd name="T55" fmla="*/ 2147483647 h 320"/>
              <a:gd name="T56" fmla="*/ 2147483647 w 549"/>
              <a:gd name="T57" fmla="*/ 2147483647 h 320"/>
              <a:gd name="T58" fmla="*/ 2147483647 w 549"/>
              <a:gd name="T59" fmla="*/ 2147483647 h 320"/>
              <a:gd name="T60" fmla="*/ 2147483647 w 549"/>
              <a:gd name="T61" fmla="*/ 2147483647 h 320"/>
              <a:gd name="T62" fmla="*/ 2147483647 w 549"/>
              <a:gd name="T63" fmla="*/ 2147483647 h 320"/>
              <a:gd name="T64" fmla="*/ 2147483647 w 549"/>
              <a:gd name="T65" fmla="*/ 2147483647 h 320"/>
              <a:gd name="T66" fmla="*/ 2147483647 w 549"/>
              <a:gd name="T67" fmla="*/ 2147483647 h 320"/>
              <a:gd name="T68" fmla="*/ 2147483647 w 549"/>
              <a:gd name="T69" fmla="*/ 2147483647 h 320"/>
              <a:gd name="T70" fmla="*/ 2147483647 w 549"/>
              <a:gd name="T71" fmla="*/ 2147483647 h 320"/>
              <a:gd name="T72" fmla="*/ 2147483647 w 549"/>
              <a:gd name="T73" fmla="*/ 2147483647 h 320"/>
              <a:gd name="T74" fmla="*/ 2147483647 w 549"/>
              <a:gd name="T75" fmla="*/ 2147483647 h 320"/>
              <a:gd name="T76" fmla="*/ 2147483647 w 549"/>
              <a:gd name="T77" fmla="*/ 2147483647 h 320"/>
              <a:gd name="T78" fmla="*/ 2147483647 w 549"/>
              <a:gd name="T79" fmla="*/ 2147483647 h 320"/>
              <a:gd name="T80" fmla="*/ 2147483647 w 549"/>
              <a:gd name="T81" fmla="*/ 2147483647 h 320"/>
              <a:gd name="T82" fmla="*/ 2147483647 w 549"/>
              <a:gd name="T83" fmla="*/ 2147483647 h 320"/>
              <a:gd name="T84" fmla="*/ 2147483647 w 549"/>
              <a:gd name="T85" fmla="*/ 2147483647 h 320"/>
              <a:gd name="T86" fmla="*/ 2147483647 w 549"/>
              <a:gd name="T87" fmla="*/ 0 h 320"/>
              <a:gd name="T88" fmla="*/ 2147483647 w 549"/>
              <a:gd name="T89" fmla="*/ 2147483647 h 320"/>
              <a:gd name="T90" fmla="*/ 2147483647 w 549"/>
              <a:gd name="T91" fmla="*/ 2147483647 h 320"/>
              <a:gd name="T92" fmla="*/ 2147483647 w 549"/>
              <a:gd name="T93" fmla="*/ 2147483647 h 320"/>
              <a:gd name="T94" fmla="*/ 2147483647 w 549"/>
              <a:gd name="T95" fmla="*/ 2147483647 h 320"/>
              <a:gd name="T96" fmla="*/ 2147483647 w 549"/>
              <a:gd name="T97" fmla="*/ 2147483647 h 320"/>
              <a:gd name="T98" fmla="*/ 2147483647 w 549"/>
              <a:gd name="T99" fmla="*/ 2147483647 h 320"/>
              <a:gd name="T100" fmla="*/ 2147483647 w 549"/>
              <a:gd name="T101" fmla="*/ 2147483647 h 320"/>
              <a:gd name="T102" fmla="*/ 2147483647 w 549"/>
              <a:gd name="T103" fmla="*/ 2147483647 h 320"/>
              <a:gd name="T104" fmla="*/ 2147483647 w 549"/>
              <a:gd name="T105" fmla="*/ 2147483647 h 320"/>
              <a:gd name="T106" fmla="*/ 2147483647 w 549"/>
              <a:gd name="T107" fmla="*/ 2147483647 h 320"/>
              <a:gd name="T108" fmla="*/ 2147483647 w 549"/>
              <a:gd name="T109" fmla="*/ 2147483647 h 320"/>
              <a:gd name="T110" fmla="*/ 2147483647 w 549"/>
              <a:gd name="T111" fmla="*/ 2147483647 h 32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49"/>
              <a:gd name="T169" fmla="*/ 0 h 320"/>
              <a:gd name="T170" fmla="*/ 549 w 549"/>
              <a:gd name="T171" fmla="*/ 320 h 320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49" h="320">
                <a:moveTo>
                  <a:pt x="432" y="0"/>
                </a:moveTo>
                <a:lnTo>
                  <a:pt x="396" y="9"/>
                </a:lnTo>
                <a:lnTo>
                  <a:pt x="359" y="17"/>
                </a:lnTo>
                <a:lnTo>
                  <a:pt x="322" y="26"/>
                </a:lnTo>
                <a:lnTo>
                  <a:pt x="285" y="34"/>
                </a:lnTo>
                <a:lnTo>
                  <a:pt x="256" y="66"/>
                </a:lnTo>
                <a:lnTo>
                  <a:pt x="227" y="99"/>
                </a:lnTo>
                <a:lnTo>
                  <a:pt x="198" y="131"/>
                </a:lnTo>
                <a:lnTo>
                  <a:pt x="170" y="162"/>
                </a:lnTo>
                <a:lnTo>
                  <a:pt x="170" y="110"/>
                </a:lnTo>
                <a:lnTo>
                  <a:pt x="127" y="97"/>
                </a:lnTo>
                <a:lnTo>
                  <a:pt x="85" y="82"/>
                </a:lnTo>
                <a:lnTo>
                  <a:pt x="37" y="94"/>
                </a:lnTo>
                <a:lnTo>
                  <a:pt x="19" y="108"/>
                </a:lnTo>
                <a:lnTo>
                  <a:pt x="12" y="121"/>
                </a:lnTo>
                <a:lnTo>
                  <a:pt x="3" y="124"/>
                </a:lnTo>
                <a:lnTo>
                  <a:pt x="7" y="150"/>
                </a:lnTo>
                <a:lnTo>
                  <a:pt x="2" y="158"/>
                </a:lnTo>
                <a:lnTo>
                  <a:pt x="5" y="176"/>
                </a:lnTo>
                <a:lnTo>
                  <a:pt x="0" y="178"/>
                </a:lnTo>
                <a:lnTo>
                  <a:pt x="11" y="190"/>
                </a:lnTo>
                <a:lnTo>
                  <a:pt x="20" y="238"/>
                </a:lnTo>
                <a:lnTo>
                  <a:pt x="28" y="247"/>
                </a:lnTo>
                <a:lnTo>
                  <a:pt x="29" y="278"/>
                </a:lnTo>
                <a:lnTo>
                  <a:pt x="41" y="300"/>
                </a:lnTo>
                <a:lnTo>
                  <a:pt x="59" y="303"/>
                </a:lnTo>
                <a:lnTo>
                  <a:pt x="105" y="298"/>
                </a:lnTo>
                <a:lnTo>
                  <a:pt x="132" y="285"/>
                </a:lnTo>
                <a:lnTo>
                  <a:pt x="147" y="268"/>
                </a:lnTo>
                <a:lnTo>
                  <a:pt x="192" y="268"/>
                </a:lnTo>
                <a:lnTo>
                  <a:pt x="214" y="263"/>
                </a:lnTo>
                <a:lnTo>
                  <a:pt x="241" y="243"/>
                </a:lnTo>
                <a:lnTo>
                  <a:pt x="273" y="243"/>
                </a:lnTo>
                <a:lnTo>
                  <a:pt x="283" y="235"/>
                </a:lnTo>
                <a:lnTo>
                  <a:pt x="299" y="215"/>
                </a:lnTo>
                <a:lnTo>
                  <a:pt x="320" y="204"/>
                </a:lnTo>
                <a:lnTo>
                  <a:pt x="402" y="181"/>
                </a:lnTo>
                <a:lnTo>
                  <a:pt x="418" y="170"/>
                </a:lnTo>
                <a:lnTo>
                  <a:pt x="444" y="164"/>
                </a:lnTo>
                <a:lnTo>
                  <a:pt x="442" y="148"/>
                </a:lnTo>
                <a:lnTo>
                  <a:pt x="449" y="136"/>
                </a:lnTo>
                <a:lnTo>
                  <a:pt x="480" y="116"/>
                </a:lnTo>
                <a:lnTo>
                  <a:pt x="456" y="58"/>
                </a:lnTo>
                <a:lnTo>
                  <a:pt x="432" y="0"/>
                </a:lnTo>
                <a:close/>
                <a:moveTo>
                  <a:pt x="543" y="305"/>
                </a:moveTo>
                <a:lnTo>
                  <a:pt x="549" y="306"/>
                </a:lnTo>
                <a:lnTo>
                  <a:pt x="542" y="315"/>
                </a:lnTo>
                <a:lnTo>
                  <a:pt x="525" y="320"/>
                </a:lnTo>
                <a:lnTo>
                  <a:pt x="498" y="311"/>
                </a:lnTo>
                <a:lnTo>
                  <a:pt x="506" y="300"/>
                </a:lnTo>
                <a:lnTo>
                  <a:pt x="514" y="305"/>
                </a:lnTo>
                <a:lnTo>
                  <a:pt x="543" y="305"/>
                </a:lnTo>
                <a:close/>
                <a:moveTo>
                  <a:pt x="2" y="243"/>
                </a:moveTo>
                <a:lnTo>
                  <a:pt x="7" y="244"/>
                </a:lnTo>
                <a:lnTo>
                  <a:pt x="5" y="239"/>
                </a:lnTo>
                <a:lnTo>
                  <a:pt x="2" y="243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27" name="Freeform 116"/>
          <p:cNvSpPr>
            <a:spLocks noChangeAspect="1" noEditPoints="1"/>
          </p:cNvSpPr>
          <p:nvPr/>
        </p:nvSpPr>
        <p:spPr bwMode="gray">
          <a:xfrm>
            <a:off x="4991100" y="2792413"/>
            <a:ext cx="419100" cy="182562"/>
          </a:xfrm>
          <a:custGeom>
            <a:avLst/>
            <a:gdLst>
              <a:gd name="T0" fmla="*/ 2147483647 w 866"/>
              <a:gd name="T1" fmla="*/ 2147483647 h 376"/>
              <a:gd name="T2" fmla="*/ 2147483647 w 866"/>
              <a:gd name="T3" fmla="*/ 2147483647 h 376"/>
              <a:gd name="T4" fmla="*/ 2147483647 w 866"/>
              <a:gd name="T5" fmla="*/ 2147483647 h 376"/>
              <a:gd name="T6" fmla="*/ 2147483647 w 866"/>
              <a:gd name="T7" fmla="*/ 2147483647 h 376"/>
              <a:gd name="T8" fmla="*/ 2147483647 w 866"/>
              <a:gd name="T9" fmla="*/ 2147483647 h 376"/>
              <a:gd name="T10" fmla="*/ 2147483647 w 866"/>
              <a:gd name="T11" fmla="*/ 2147483647 h 376"/>
              <a:gd name="T12" fmla="*/ 2147483647 w 866"/>
              <a:gd name="T13" fmla="*/ 2147483647 h 376"/>
              <a:gd name="T14" fmla="*/ 2147483647 w 866"/>
              <a:gd name="T15" fmla="*/ 2147483647 h 376"/>
              <a:gd name="T16" fmla="*/ 2147483647 w 866"/>
              <a:gd name="T17" fmla="*/ 2147483647 h 376"/>
              <a:gd name="T18" fmla="*/ 2147483647 w 866"/>
              <a:gd name="T19" fmla="*/ 2147483647 h 376"/>
              <a:gd name="T20" fmla="*/ 2147483647 w 866"/>
              <a:gd name="T21" fmla="*/ 2147483647 h 376"/>
              <a:gd name="T22" fmla="*/ 2147483647 w 866"/>
              <a:gd name="T23" fmla="*/ 2147483647 h 376"/>
              <a:gd name="T24" fmla="*/ 2147483647 w 866"/>
              <a:gd name="T25" fmla="*/ 2147483647 h 376"/>
              <a:gd name="T26" fmla="*/ 2147483647 w 866"/>
              <a:gd name="T27" fmla="*/ 2147483647 h 376"/>
              <a:gd name="T28" fmla="*/ 2147483647 w 866"/>
              <a:gd name="T29" fmla="*/ 2147483647 h 376"/>
              <a:gd name="T30" fmla="*/ 2147483647 w 866"/>
              <a:gd name="T31" fmla="*/ 2147483647 h 376"/>
              <a:gd name="T32" fmla="*/ 2147483647 w 866"/>
              <a:gd name="T33" fmla="*/ 2147483647 h 376"/>
              <a:gd name="T34" fmla="*/ 2147483647 w 866"/>
              <a:gd name="T35" fmla="*/ 2147483647 h 376"/>
              <a:gd name="T36" fmla="*/ 2147483647 w 866"/>
              <a:gd name="T37" fmla="*/ 2147483647 h 376"/>
              <a:gd name="T38" fmla="*/ 2147483647 w 866"/>
              <a:gd name="T39" fmla="*/ 2147483647 h 376"/>
              <a:gd name="T40" fmla="*/ 2147483647 w 866"/>
              <a:gd name="T41" fmla="*/ 2147483647 h 376"/>
              <a:gd name="T42" fmla="*/ 2147483647 w 866"/>
              <a:gd name="T43" fmla="*/ 2147483647 h 376"/>
              <a:gd name="T44" fmla="*/ 2147483647 w 866"/>
              <a:gd name="T45" fmla="*/ 2147483647 h 376"/>
              <a:gd name="T46" fmla="*/ 2147483647 w 866"/>
              <a:gd name="T47" fmla="*/ 2147483647 h 376"/>
              <a:gd name="T48" fmla="*/ 2147483647 w 866"/>
              <a:gd name="T49" fmla="*/ 2147483647 h 376"/>
              <a:gd name="T50" fmla="*/ 2147483647 w 866"/>
              <a:gd name="T51" fmla="*/ 2147483647 h 376"/>
              <a:gd name="T52" fmla="*/ 2147483647 w 866"/>
              <a:gd name="T53" fmla="*/ 2147483647 h 376"/>
              <a:gd name="T54" fmla="*/ 2147483647 w 866"/>
              <a:gd name="T55" fmla="*/ 2147483647 h 376"/>
              <a:gd name="T56" fmla="*/ 2147483647 w 866"/>
              <a:gd name="T57" fmla="*/ 2147483647 h 376"/>
              <a:gd name="T58" fmla="*/ 2147483647 w 866"/>
              <a:gd name="T59" fmla="*/ 2147483647 h 376"/>
              <a:gd name="T60" fmla="*/ 2147483647 w 866"/>
              <a:gd name="T61" fmla="*/ 2147483647 h 376"/>
              <a:gd name="T62" fmla="*/ 2147483647 w 866"/>
              <a:gd name="T63" fmla="*/ 2147483647 h 376"/>
              <a:gd name="T64" fmla="*/ 2147483647 w 866"/>
              <a:gd name="T65" fmla="*/ 2147483647 h 376"/>
              <a:gd name="T66" fmla="*/ 2147483647 w 866"/>
              <a:gd name="T67" fmla="*/ 2147483647 h 376"/>
              <a:gd name="T68" fmla="*/ 2147483647 w 866"/>
              <a:gd name="T69" fmla="*/ 2147483647 h 376"/>
              <a:gd name="T70" fmla="*/ 2147483647 w 866"/>
              <a:gd name="T71" fmla="*/ 2147483647 h 376"/>
              <a:gd name="T72" fmla="*/ 2147483647 w 866"/>
              <a:gd name="T73" fmla="*/ 2147483647 h 376"/>
              <a:gd name="T74" fmla="*/ 2147483647 w 866"/>
              <a:gd name="T75" fmla="*/ 2147483647 h 376"/>
              <a:gd name="T76" fmla="*/ 2147483647 w 866"/>
              <a:gd name="T77" fmla="*/ 2147483647 h 376"/>
              <a:gd name="T78" fmla="*/ 2147483647 w 866"/>
              <a:gd name="T79" fmla="*/ 2147483647 h 376"/>
              <a:gd name="T80" fmla="*/ 2147483647 w 866"/>
              <a:gd name="T81" fmla="*/ 2147483647 h 376"/>
              <a:gd name="T82" fmla="*/ 2147483647 w 866"/>
              <a:gd name="T83" fmla="*/ 2147483647 h 376"/>
              <a:gd name="T84" fmla="*/ 2147483647 w 866"/>
              <a:gd name="T85" fmla="*/ 2147483647 h 376"/>
              <a:gd name="T86" fmla="*/ 2147483647 w 866"/>
              <a:gd name="T87" fmla="*/ 2147483647 h 376"/>
              <a:gd name="T88" fmla="*/ 2147483647 w 866"/>
              <a:gd name="T89" fmla="*/ 2147483647 h 376"/>
              <a:gd name="T90" fmla="*/ 2147483647 w 866"/>
              <a:gd name="T91" fmla="*/ 2147483647 h 37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866"/>
              <a:gd name="T139" fmla="*/ 0 h 376"/>
              <a:gd name="T140" fmla="*/ 866 w 866"/>
              <a:gd name="T141" fmla="*/ 376 h 37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866" h="376">
                <a:moveTo>
                  <a:pt x="857" y="136"/>
                </a:moveTo>
                <a:lnTo>
                  <a:pt x="822" y="112"/>
                </a:lnTo>
                <a:lnTo>
                  <a:pt x="817" y="104"/>
                </a:lnTo>
                <a:lnTo>
                  <a:pt x="812" y="75"/>
                </a:lnTo>
                <a:lnTo>
                  <a:pt x="806" y="63"/>
                </a:lnTo>
                <a:lnTo>
                  <a:pt x="798" y="56"/>
                </a:lnTo>
                <a:lnTo>
                  <a:pt x="773" y="29"/>
                </a:lnTo>
                <a:lnTo>
                  <a:pt x="752" y="37"/>
                </a:lnTo>
                <a:lnTo>
                  <a:pt x="719" y="34"/>
                </a:lnTo>
                <a:lnTo>
                  <a:pt x="713" y="29"/>
                </a:lnTo>
                <a:lnTo>
                  <a:pt x="661" y="67"/>
                </a:lnTo>
                <a:lnTo>
                  <a:pt x="615" y="62"/>
                </a:lnTo>
                <a:lnTo>
                  <a:pt x="558" y="71"/>
                </a:lnTo>
                <a:lnTo>
                  <a:pt x="541" y="63"/>
                </a:lnTo>
                <a:lnTo>
                  <a:pt x="531" y="68"/>
                </a:lnTo>
                <a:lnTo>
                  <a:pt x="500" y="51"/>
                </a:lnTo>
                <a:lnTo>
                  <a:pt x="478" y="50"/>
                </a:lnTo>
                <a:lnTo>
                  <a:pt x="466" y="22"/>
                </a:lnTo>
                <a:lnTo>
                  <a:pt x="456" y="29"/>
                </a:lnTo>
                <a:lnTo>
                  <a:pt x="444" y="25"/>
                </a:lnTo>
                <a:lnTo>
                  <a:pt x="433" y="19"/>
                </a:lnTo>
                <a:lnTo>
                  <a:pt x="421" y="0"/>
                </a:lnTo>
                <a:lnTo>
                  <a:pt x="405" y="8"/>
                </a:lnTo>
                <a:lnTo>
                  <a:pt x="340" y="5"/>
                </a:lnTo>
                <a:lnTo>
                  <a:pt x="294" y="22"/>
                </a:lnTo>
                <a:lnTo>
                  <a:pt x="236" y="65"/>
                </a:lnTo>
                <a:lnTo>
                  <a:pt x="150" y="53"/>
                </a:lnTo>
                <a:lnTo>
                  <a:pt x="141" y="67"/>
                </a:lnTo>
                <a:lnTo>
                  <a:pt x="148" y="75"/>
                </a:lnTo>
                <a:lnTo>
                  <a:pt x="178" y="85"/>
                </a:lnTo>
                <a:lnTo>
                  <a:pt x="141" y="87"/>
                </a:lnTo>
                <a:lnTo>
                  <a:pt x="133" y="90"/>
                </a:lnTo>
                <a:lnTo>
                  <a:pt x="141" y="101"/>
                </a:lnTo>
                <a:lnTo>
                  <a:pt x="131" y="102"/>
                </a:lnTo>
                <a:lnTo>
                  <a:pt x="91" y="104"/>
                </a:lnTo>
                <a:lnTo>
                  <a:pt x="91" y="99"/>
                </a:lnTo>
                <a:lnTo>
                  <a:pt x="80" y="95"/>
                </a:lnTo>
                <a:lnTo>
                  <a:pt x="83" y="107"/>
                </a:lnTo>
                <a:lnTo>
                  <a:pt x="58" y="101"/>
                </a:lnTo>
                <a:lnTo>
                  <a:pt x="36" y="104"/>
                </a:lnTo>
                <a:lnTo>
                  <a:pt x="17" y="126"/>
                </a:lnTo>
                <a:lnTo>
                  <a:pt x="9" y="135"/>
                </a:lnTo>
                <a:lnTo>
                  <a:pt x="6" y="156"/>
                </a:lnTo>
                <a:lnTo>
                  <a:pt x="40" y="153"/>
                </a:lnTo>
                <a:lnTo>
                  <a:pt x="32" y="173"/>
                </a:lnTo>
                <a:lnTo>
                  <a:pt x="45" y="195"/>
                </a:lnTo>
                <a:lnTo>
                  <a:pt x="37" y="207"/>
                </a:lnTo>
                <a:lnTo>
                  <a:pt x="51" y="220"/>
                </a:lnTo>
                <a:lnTo>
                  <a:pt x="29" y="220"/>
                </a:lnTo>
                <a:lnTo>
                  <a:pt x="20" y="206"/>
                </a:lnTo>
                <a:lnTo>
                  <a:pt x="19" y="224"/>
                </a:lnTo>
                <a:lnTo>
                  <a:pt x="14" y="229"/>
                </a:lnTo>
                <a:lnTo>
                  <a:pt x="53" y="244"/>
                </a:lnTo>
                <a:lnTo>
                  <a:pt x="58" y="252"/>
                </a:lnTo>
                <a:lnTo>
                  <a:pt x="49" y="263"/>
                </a:lnTo>
                <a:lnTo>
                  <a:pt x="54" y="269"/>
                </a:lnTo>
                <a:lnTo>
                  <a:pt x="66" y="266"/>
                </a:lnTo>
                <a:lnTo>
                  <a:pt x="58" y="280"/>
                </a:lnTo>
                <a:lnTo>
                  <a:pt x="71" y="290"/>
                </a:lnTo>
                <a:lnTo>
                  <a:pt x="63" y="299"/>
                </a:lnTo>
                <a:lnTo>
                  <a:pt x="65" y="303"/>
                </a:lnTo>
                <a:lnTo>
                  <a:pt x="102" y="299"/>
                </a:lnTo>
                <a:lnTo>
                  <a:pt x="108" y="300"/>
                </a:lnTo>
                <a:lnTo>
                  <a:pt x="71" y="319"/>
                </a:lnTo>
                <a:lnTo>
                  <a:pt x="68" y="324"/>
                </a:lnTo>
                <a:lnTo>
                  <a:pt x="96" y="316"/>
                </a:lnTo>
                <a:lnTo>
                  <a:pt x="97" y="325"/>
                </a:lnTo>
                <a:lnTo>
                  <a:pt x="107" y="316"/>
                </a:lnTo>
                <a:lnTo>
                  <a:pt x="119" y="314"/>
                </a:lnTo>
                <a:lnTo>
                  <a:pt x="133" y="324"/>
                </a:lnTo>
                <a:lnTo>
                  <a:pt x="138" y="319"/>
                </a:lnTo>
                <a:lnTo>
                  <a:pt x="144" y="320"/>
                </a:lnTo>
                <a:lnTo>
                  <a:pt x="147" y="337"/>
                </a:lnTo>
                <a:lnTo>
                  <a:pt x="155" y="344"/>
                </a:lnTo>
                <a:lnTo>
                  <a:pt x="180" y="351"/>
                </a:lnTo>
                <a:lnTo>
                  <a:pt x="209" y="342"/>
                </a:lnTo>
                <a:lnTo>
                  <a:pt x="215" y="311"/>
                </a:lnTo>
                <a:lnTo>
                  <a:pt x="231" y="310"/>
                </a:lnTo>
                <a:lnTo>
                  <a:pt x="277" y="328"/>
                </a:lnTo>
                <a:lnTo>
                  <a:pt x="300" y="354"/>
                </a:lnTo>
                <a:lnTo>
                  <a:pt x="317" y="359"/>
                </a:lnTo>
                <a:lnTo>
                  <a:pt x="373" y="341"/>
                </a:lnTo>
                <a:lnTo>
                  <a:pt x="391" y="319"/>
                </a:lnTo>
                <a:lnTo>
                  <a:pt x="399" y="316"/>
                </a:lnTo>
                <a:lnTo>
                  <a:pt x="441" y="328"/>
                </a:lnTo>
                <a:lnTo>
                  <a:pt x="447" y="327"/>
                </a:lnTo>
                <a:lnTo>
                  <a:pt x="447" y="319"/>
                </a:lnTo>
                <a:lnTo>
                  <a:pt x="463" y="311"/>
                </a:lnTo>
                <a:lnTo>
                  <a:pt x="472" y="319"/>
                </a:lnTo>
                <a:lnTo>
                  <a:pt x="459" y="333"/>
                </a:lnTo>
                <a:lnTo>
                  <a:pt x="456" y="373"/>
                </a:lnTo>
                <a:lnTo>
                  <a:pt x="464" y="376"/>
                </a:lnTo>
                <a:lnTo>
                  <a:pt x="467" y="370"/>
                </a:lnTo>
                <a:lnTo>
                  <a:pt x="478" y="359"/>
                </a:lnTo>
                <a:lnTo>
                  <a:pt x="478" y="350"/>
                </a:lnTo>
                <a:lnTo>
                  <a:pt x="493" y="345"/>
                </a:lnTo>
                <a:lnTo>
                  <a:pt x="484" y="333"/>
                </a:lnTo>
                <a:lnTo>
                  <a:pt x="492" y="311"/>
                </a:lnTo>
                <a:lnTo>
                  <a:pt x="509" y="317"/>
                </a:lnTo>
                <a:lnTo>
                  <a:pt x="510" y="322"/>
                </a:lnTo>
                <a:lnTo>
                  <a:pt x="529" y="322"/>
                </a:lnTo>
                <a:lnTo>
                  <a:pt x="569" y="307"/>
                </a:lnTo>
                <a:lnTo>
                  <a:pt x="586" y="317"/>
                </a:lnTo>
                <a:lnTo>
                  <a:pt x="608" y="322"/>
                </a:lnTo>
                <a:lnTo>
                  <a:pt x="679" y="295"/>
                </a:lnTo>
                <a:lnTo>
                  <a:pt x="725" y="297"/>
                </a:lnTo>
                <a:lnTo>
                  <a:pt x="747" y="283"/>
                </a:lnTo>
                <a:lnTo>
                  <a:pt x="752" y="293"/>
                </a:lnTo>
                <a:lnTo>
                  <a:pt x="755" y="299"/>
                </a:lnTo>
                <a:lnTo>
                  <a:pt x="781" y="274"/>
                </a:lnTo>
                <a:lnTo>
                  <a:pt x="800" y="282"/>
                </a:lnTo>
                <a:lnTo>
                  <a:pt x="839" y="282"/>
                </a:lnTo>
                <a:lnTo>
                  <a:pt x="848" y="291"/>
                </a:lnTo>
                <a:lnTo>
                  <a:pt x="859" y="293"/>
                </a:lnTo>
                <a:lnTo>
                  <a:pt x="866" y="286"/>
                </a:lnTo>
                <a:lnTo>
                  <a:pt x="864" y="273"/>
                </a:lnTo>
                <a:lnTo>
                  <a:pt x="842" y="252"/>
                </a:lnTo>
                <a:lnTo>
                  <a:pt x="842" y="185"/>
                </a:lnTo>
                <a:lnTo>
                  <a:pt x="835" y="163"/>
                </a:lnTo>
                <a:lnTo>
                  <a:pt x="848" y="156"/>
                </a:lnTo>
                <a:lnTo>
                  <a:pt x="857" y="136"/>
                </a:lnTo>
                <a:close/>
                <a:moveTo>
                  <a:pt x="91" y="12"/>
                </a:moveTo>
                <a:lnTo>
                  <a:pt x="66" y="14"/>
                </a:lnTo>
                <a:lnTo>
                  <a:pt x="51" y="5"/>
                </a:lnTo>
                <a:lnTo>
                  <a:pt x="14" y="19"/>
                </a:lnTo>
                <a:lnTo>
                  <a:pt x="25" y="31"/>
                </a:lnTo>
                <a:lnTo>
                  <a:pt x="25" y="41"/>
                </a:lnTo>
                <a:lnTo>
                  <a:pt x="14" y="48"/>
                </a:lnTo>
                <a:lnTo>
                  <a:pt x="9" y="73"/>
                </a:lnTo>
                <a:lnTo>
                  <a:pt x="0" y="85"/>
                </a:lnTo>
                <a:lnTo>
                  <a:pt x="9" y="92"/>
                </a:lnTo>
                <a:lnTo>
                  <a:pt x="37" y="88"/>
                </a:lnTo>
                <a:lnTo>
                  <a:pt x="9" y="105"/>
                </a:lnTo>
                <a:lnTo>
                  <a:pt x="9" y="122"/>
                </a:lnTo>
                <a:lnTo>
                  <a:pt x="71" y="68"/>
                </a:lnTo>
                <a:lnTo>
                  <a:pt x="136" y="67"/>
                </a:lnTo>
                <a:lnTo>
                  <a:pt x="139" y="51"/>
                </a:lnTo>
                <a:lnTo>
                  <a:pt x="99" y="34"/>
                </a:lnTo>
                <a:lnTo>
                  <a:pt x="94" y="28"/>
                </a:lnTo>
                <a:lnTo>
                  <a:pt x="91" y="12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28" name="Freeform 117"/>
          <p:cNvSpPr>
            <a:spLocks noChangeAspect="1"/>
          </p:cNvSpPr>
          <p:nvPr/>
        </p:nvSpPr>
        <p:spPr bwMode="gray">
          <a:xfrm>
            <a:off x="8661400" y="4919663"/>
            <a:ext cx="11113" cy="9525"/>
          </a:xfrm>
          <a:custGeom>
            <a:avLst/>
            <a:gdLst>
              <a:gd name="T0" fmla="*/ 2147483647 w 23"/>
              <a:gd name="T1" fmla="*/ 0 h 20"/>
              <a:gd name="T2" fmla="*/ 2147483647 w 23"/>
              <a:gd name="T3" fmla="*/ 2147483647 h 20"/>
              <a:gd name="T4" fmla="*/ 2147483647 w 23"/>
              <a:gd name="T5" fmla="*/ 2147483647 h 20"/>
              <a:gd name="T6" fmla="*/ 2147483647 w 23"/>
              <a:gd name="T7" fmla="*/ 2147483647 h 20"/>
              <a:gd name="T8" fmla="*/ 0 w 23"/>
              <a:gd name="T9" fmla="*/ 2147483647 h 20"/>
              <a:gd name="T10" fmla="*/ 2147483647 w 23"/>
              <a:gd name="T11" fmla="*/ 0 h 2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3"/>
              <a:gd name="T19" fmla="*/ 0 h 20"/>
              <a:gd name="T20" fmla="*/ 23 w 23"/>
              <a:gd name="T21" fmla="*/ 20 h 2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3" h="20">
                <a:moveTo>
                  <a:pt x="23" y="0"/>
                </a:moveTo>
                <a:lnTo>
                  <a:pt x="22" y="16"/>
                </a:lnTo>
                <a:lnTo>
                  <a:pt x="12" y="20"/>
                </a:lnTo>
                <a:lnTo>
                  <a:pt x="8" y="5"/>
                </a:lnTo>
                <a:lnTo>
                  <a:pt x="0" y="3"/>
                </a:lnTo>
                <a:lnTo>
                  <a:pt x="23" y="0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29" name="Freeform 118"/>
          <p:cNvSpPr>
            <a:spLocks noChangeAspect="1"/>
          </p:cNvSpPr>
          <p:nvPr/>
        </p:nvSpPr>
        <p:spPr bwMode="gray">
          <a:xfrm>
            <a:off x="5173663" y="3087688"/>
            <a:ext cx="7937" cy="11112"/>
          </a:xfrm>
          <a:custGeom>
            <a:avLst/>
            <a:gdLst>
              <a:gd name="T0" fmla="*/ 2147483647 w 17"/>
              <a:gd name="T1" fmla="*/ 2147483647 h 20"/>
              <a:gd name="T2" fmla="*/ 2147483647 w 17"/>
              <a:gd name="T3" fmla="*/ 2147483647 h 20"/>
              <a:gd name="T4" fmla="*/ 2147483647 w 17"/>
              <a:gd name="T5" fmla="*/ 2147483647 h 20"/>
              <a:gd name="T6" fmla="*/ 2147483647 w 17"/>
              <a:gd name="T7" fmla="*/ 2147483647 h 20"/>
              <a:gd name="T8" fmla="*/ 2147483647 w 17"/>
              <a:gd name="T9" fmla="*/ 0 h 20"/>
              <a:gd name="T10" fmla="*/ 0 w 17"/>
              <a:gd name="T11" fmla="*/ 2147483647 h 20"/>
              <a:gd name="T12" fmla="*/ 2147483647 w 17"/>
              <a:gd name="T13" fmla="*/ 2147483647 h 2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7"/>
              <a:gd name="T22" fmla="*/ 0 h 20"/>
              <a:gd name="T23" fmla="*/ 17 w 17"/>
              <a:gd name="T24" fmla="*/ 20 h 2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7" h="20">
                <a:moveTo>
                  <a:pt x="3" y="20"/>
                </a:moveTo>
                <a:lnTo>
                  <a:pt x="9" y="17"/>
                </a:lnTo>
                <a:lnTo>
                  <a:pt x="9" y="14"/>
                </a:lnTo>
                <a:lnTo>
                  <a:pt x="17" y="3"/>
                </a:lnTo>
                <a:lnTo>
                  <a:pt x="13" y="0"/>
                </a:lnTo>
                <a:lnTo>
                  <a:pt x="0" y="12"/>
                </a:lnTo>
                <a:lnTo>
                  <a:pt x="3" y="20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30" name="Freeform 119"/>
          <p:cNvSpPr>
            <a:spLocks noChangeAspect="1"/>
          </p:cNvSpPr>
          <p:nvPr/>
        </p:nvSpPr>
        <p:spPr bwMode="gray">
          <a:xfrm>
            <a:off x="4775200" y="4332288"/>
            <a:ext cx="368300" cy="323850"/>
          </a:xfrm>
          <a:custGeom>
            <a:avLst/>
            <a:gdLst>
              <a:gd name="T0" fmla="*/ 2147483647 w 755"/>
              <a:gd name="T1" fmla="*/ 2147483647 h 664"/>
              <a:gd name="T2" fmla="*/ 2147483647 w 755"/>
              <a:gd name="T3" fmla="*/ 2147483647 h 664"/>
              <a:gd name="T4" fmla="*/ 2147483647 w 755"/>
              <a:gd name="T5" fmla="*/ 2147483647 h 664"/>
              <a:gd name="T6" fmla="*/ 0 w 755"/>
              <a:gd name="T7" fmla="*/ 2147483647 h 664"/>
              <a:gd name="T8" fmla="*/ 2147483647 w 755"/>
              <a:gd name="T9" fmla="*/ 2147483647 h 664"/>
              <a:gd name="T10" fmla="*/ 2147483647 w 755"/>
              <a:gd name="T11" fmla="*/ 2147483647 h 664"/>
              <a:gd name="T12" fmla="*/ 2147483647 w 755"/>
              <a:gd name="T13" fmla="*/ 2147483647 h 664"/>
              <a:gd name="T14" fmla="*/ 2147483647 w 755"/>
              <a:gd name="T15" fmla="*/ 2147483647 h 664"/>
              <a:gd name="T16" fmla="*/ 2147483647 w 755"/>
              <a:gd name="T17" fmla="*/ 2147483647 h 664"/>
              <a:gd name="T18" fmla="*/ 2147483647 w 755"/>
              <a:gd name="T19" fmla="*/ 2147483647 h 664"/>
              <a:gd name="T20" fmla="*/ 2147483647 w 755"/>
              <a:gd name="T21" fmla="*/ 2147483647 h 664"/>
              <a:gd name="T22" fmla="*/ 2147483647 w 755"/>
              <a:gd name="T23" fmla="*/ 2147483647 h 664"/>
              <a:gd name="T24" fmla="*/ 2147483647 w 755"/>
              <a:gd name="T25" fmla="*/ 2147483647 h 664"/>
              <a:gd name="T26" fmla="*/ 2147483647 w 755"/>
              <a:gd name="T27" fmla="*/ 2147483647 h 664"/>
              <a:gd name="T28" fmla="*/ 2147483647 w 755"/>
              <a:gd name="T29" fmla="*/ 2147483647 h 664"/>
              <a:gd name="T30" fmla="*/ 2147483647 w 755"/>
              <a:gd name="T31" fmla="*/ 2147483647 h 664"/>
              <a:gd name="T32" fmla="*/ 2147483647 w 755"/>
              <a:gd name="T33" fmla="*/ 2147483647 h 664"/>
              <a:gd name="T34" fmla="*/ 2147483647 w 755"/>
              <a:gd name="T35" fmla="*/ 2147483647 h 664"/>
              <a:gd name="T36" fmla="*/ 2147483647 w 755"/>
              <a:gd name="T37" fmla="*/ 2147483647 h 664"/>
              <a:gd name="T38" fmla="*/ 2147483647 w 755"/>
              <a:gd name="T39" fmla="*/ 2147483647 h 664"/>
              <a:gd name="T40" fmla="*/ 2147483647 w 755"/>
              <a:gd name="T41" fmla="*/ 2147483647 h 664"/>
              <a:gd name="T42" fmla="*/ 2147483647 w 755"/>
              <a:gd name="T43" fmla="*/ 2147483647 h 664"/>
              <a:gd name="T44" fmla="*/ 2147483647 w 755"/>
              <a:gd name="T45" fmla="*/ 2147483647 h 664"/>
              <a:gd name="T46" fmla="*/ 2147483647 w 755"/>
              <a:gd name="T47" fmla="*/ 2147483647 h 664"/>
              <a:gd name="T48" fmla="*/ 2147483647 w 755"/>
              <a:gd name="T49" fmla="*/ 2147483647 h 664"/>
              <a:gd name="T50" fmla="*/ 2147483647 w 755"/>
              <a:gd name="T51" fmla="*/ 2147483647 h 664"/>
              <a:gd name="T52" fmla="*/ 2147483647 w 755"/>
              <a:gd name="T53" fmla="*/ 0 h 664"/>
              <a:gd name="T54" fmla="*/ 2147483647 w 755"/>
              <a:gd name="T55" fmla="*/ 2147483647 h 664"/>
              <a:gd name="T56" fmla="*/ 2147483647 w 755"/>
              <a:gd name="T57" fmla="*/ 2147483647 h 664"/>
              <a:gd name="T58" fmla="*/ 2147483647 w 755"/>
              <a:gd name="T59" fmla="*/ 2147483647 h 664"/>
              <a:gd name="T60" fmla="*/ 2147483647 w 755"/>
              <a:gd name="T61" fmla="*/ 2147483647 h 664"/>
              <a:gd name="T62" fmla="*/ 2147483647 w 755"/>
              <a:gd name="T63" fmla="*/ 2147483647 h 664"/>
              <a:gd name="T64" fmla="*/ 2147483647 w 755"/>
              <a:gd name="T65" fmla="*/ 2147483647 h 664"/>
              <a:gd name="T66" fmla="*/ 2147483647 w 755"/>
              <a:gd name="T67" fmla="*/ 2147483647 h 664"/>
              <a:gd name="T68" fmla="*/ 2147483647 w 755"/>
              <a:gd name="T69" fmla="*/ 2147483647 h 664"/>
              <a:gd name="T70" fmla="*/ 2147483647 w 755"/>
              <a:gd name="T71" fmla="*/ 2147483647 h 664"/>
              <a:gd name="T72" fmla="*/ 2147483647 w 755"/>
              <a:gd name="T73" fmla="*/ 2147483647 h 664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755"/>
              <a:gd name="T112" fmla="*/ 0 h 664"/>
              <a:gd name="T113" fmla="*/ 755 w 755"/>
              <a:gd name="T114" fmla="*/ 664 h 664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755" h="664">
                <a:moveTo>
                  <a:pt x="118" y="354"/>
                </a:moveTo>
                <a:lnTo>
                  <a:pt x="59" y="354"/>
                </a:lnTo>
                <a:lnTo>
                  <a:pt x="49" y="344"/>
                </a:lnTo>
                <a:lnTo>
                  <a:pt x="49" y="331"/>
                </a:lnTo>
                <a:lnTo>
                  <a:pt x="27" y="316"/>
                </a:lnTo>
                <a:lnTo>
                  <a:pt x="16" y="319"/>
                </a:lnTo>
                <a:lnTo>
                  <a:pt x="8" y="333"/>
                </a:lnTo>
                <a:lnTo>
                  <a:pt x="0" y="337"/>
                </a:lnTo>
                <a:lnTo>
                  <a:pt x="44" y="441"/>
                </a:lnTo>
                <a:lnTo>
                  <a:pt x="81" y="509"/>
                </a:lnTo>
                <a:lnTo>
                  <a:pt x="84" y="545"/>
                </a:lnTo>
                <a:lnTo>
                  <a:pt x="76" y="559"/>
                </a:lnTo>
                <a:lnTo>
                  <a:pt x="66" y="554"/>
                </a:lnTo>
                <a:lnTo>
                  <a:pt x="62" y="568"/>
                </a:lnTo>
                <a:lnTo>
                  <a:pt x="70" y="574"/>
                </a:lnTo>
                <a:lnTo>
                  <a:pt x="69" y="580"/>
                </a:lnTo>
                <a:lnTo>
                  <a:pt x="90" y="610"/>
                </a:lnTo>
                <a:lnTo>
                  <a:pt x="86" y="630"/>
                </a:lnTo>
                <a:lnTo>
                  <a:pt x="92" y="647"/>
                </a:lnTo>
                <a:lnTo>
                  <a:pt x="95" y="630"/>
                </a:lnTo>
                <a:lnTo>
                  <a:pt x="109" y="630"/>
                </a:lnTo>
                <a:lnTo>
                  <a:pt x="107" y="645"/>
                </a:lnTo>
                <a:lnTo>
                  <a:pt x="127" y="647"/>
                </a:lnTo>
                <a:lnTo>
                  <a:pt x="130" y="656"/>
                </a:lnTo>
                <a:lnTo>
                  <a:pt x="140" y="662"/>
                </a:lnTo>
                <a:lnTo>
                  <a:pt x="164" y="664"/>
                </a:lnTo>
                <a:lnTo>
                  <a:pt x="180" y="652"/>
                </a:lnTo>
                <a:lnTo>
                  <a:pt x="247" y="645"/>
                </a:lnTo>
                <a:lnTo>
                  <a:pt x="248" y="638"/>
                </a:lnTo>
                <a:lnTo>
                  <a:pt x="265" y="628"/>
                </a:lnTo>
                <a:lnTo>
                  <a:pt x="279" y="627"/>
                </a:lnTo>
                <a:lnTo>
                  <a:pt x="307" y="631"/>
                </a:lnTo>
                <a:lnTo>
                  <a:pt x="332" y="625"/>
                </a:lnTo>
                <a:lnTo>
                  <a:pt x="386" y="635"/>
                </a:lnTo>
                <a:lnTo>
                  <a:pt x="393" y="625"/>
                </a:lnTo>
                <a:lnTo>
                  <a:pt x="426" y="630"/>
                </a:lnTo>
                <a:lnTo>
                  <a:pt x="423" y="616"/>
                </a:lnTo>
                <a:lnTo>
                  <a:pt x="430" y="611"/>
                </a:lnTo>
                <a:lnTo>
                  <a:pt x="474" y="610"/>
                </a:lnTo>
                <a:lnTo>
                  <a:pt x="492" y="599"/>
                </a:lnTo>
                <a:lnTo>
                  <a:pt x="557" y="546"/>
                </a:lnTo>
                <a:lnTo>
                  <a:pt x="601" y="494"/>
                </a:lnTo>
                <a:lnTo>
                  <a:pt x="628" y="471"/>
                </a:lnTo>
                <a:lnTo>
                  <a:pt x="689" y="367"/>
                </a:lnTo>
                <a:lnTo>
                  <a:pt x="737" y="325"/>
                </a:lnTo>
                <a:lnTo>
                  <a:pt x="755" y="237"/>
                </a:lnTo>
                <a:lnTo>
                  <a:pt x="720" y="235"/>
                </a:lnTo>
                <a:lnTo>
                  <a:pt x="717" y="188"/>
                </a:lnTo>
                <a:lnTo>
                  <a:pt x="712" y="110"/>
                </a:lnTo>
                <a:lnTo>
                  <a:pt x="695" y="29"/>
                </a:lnTo>
                <a:lnTo>
                  <a:pt x="679" y="14"/>
                </a:lnTo>
                <a:lnTo>
                  <a:pt x="662" y="8"/>
                </a:lnTo>
                <a:lnTo>
                  <a:pt x="630" y="8"/>
                </a:lnTo>
                <a:lnTo>
                  <a:pt x="602" y="0"/>
                </a:lnTo>
                <a:lnTo>
                  <a:pt x="594" y="3"/>
                </a:lnTo>
                <a:lnTo>
                  <a:pt x="540" y="34"/>
                </a:lnTo>
                <a:lnTo>
                  <a:pt x="509" y="57"/>
                </a:lnTo>
                <a:lnTo>
                  <a:pt x="484" y="88"/>
                </a:lnTo>
                <a:lnTo>
                  <a:pt x="469" y="108"/>
                </a:lnTo>
                <a:lnTo>
                  <a:pt x="434" y="141"/>
                </a:lnTo>
                <a:lnTo>
                  <a:pt x="417" y="175"/>
                </a:lnTo>
                <a:lnTo>
                  <a:pt x="381" y="183"/>
                </a:lnTo>
                <a:lnTo>
                  <a:pt x="338" y="167"/>
                </a:lnTo>
                <a:lnTo>
                  <a:pt x="316" y="169"/>
                </a:lnTo>
                <a:lnTo>
                  <a:pt x="262" y="232"/>
                </a:lnTo>
                <a:lnTo>
                  <a:pt x="234" y="240"/>
                </a:lnTo>
                <a:lnTo>
                  <a:pt x="197" y="234"/>
                </a:lnTo>
                <a:lnTo>
                  <a:pt x="193" y="226"/>
                </a:lnTo>
                <a:lnTo>
                  <a:pt x="202" y="198"/>
                </a:lnTo>
                <a:lnTo>
                  <a:pt x="200" y="180"/>
                </a:lnTo>
                <a:lnTo>
                  <a:pt x="157" y="133"/>
                </a:lnTo>
                <a:lnTo>
                  <a:pt x="157" y="189"/>
                </a:lnTo>
                <a:lnTo>
                  <a:pt x="157" y="247"/>
                </a:lnTo>
                <a:lnTo>
                  <a:pt x="157" y="328"/>
                </a:lnTo>
                <a:lnTo>
                  <a:pt x="118" y="354"/>
                </a:lnTo>
                <a:close/>
              </a:path>
            </a:pathLst>
          </a:custGeom>
          <a:solidFill>
            <a:srgbClr val="DFAA75"/>
          </a:solidFill>
          <a:ln w="6350" cap="flat" cmpd="sng">
            <a:solidFill>
              <a:srgbClr val="82673C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31" name="Freeform 120"/>
          <p:cNvSpPr>
            <a:spLocks noChangeAspect="1"/>
          </p:cNvSpPr>
          <p:nvPr/>
        </p:nvSpPr>
        <p:spPr bwMode="gray">
          <a:xfrm>
            <a:off x="4899025" y="4011613"/>
            <a:ext cx="265113" cy="225425"/>
          </a:xfrm>
          <a:custGeom>
            <a:avLst/>
            <a:gdLst>
              <a:gd name="T0" fmla="*/ 2147483647 w 539"/>
              <a:gd name="T1" fmla="*/ 2147483647 h 464"/>
              <a:gd name="T2" fmla="*/ 2147483647 w 539"/>
              <a:gd name="T3" fmla="*/ 2147483647 h 464"/>
              <a:gd name="T4" fmla="*/ 2147483647 w 539"/>
              <a:gd name="T5" fmla="*/ 2147483647 h 464"/>
              <a:gd name="T6" fmla="*/ 2147483647 w 539"/>
              <a:gd name="T7" fmla="*/ 2147483647 h 464"/>
              <a:gd name="T8" fmla="*/ 2147483647 w 539"/>
              <a:gd name="T9" fmla="*/ 2147483647 h 464"/>
              <a:gd name="T10" fmla="*/ 2147483647 w 539"/>
              <a:gd name="T11" fmla="*/ 2147483647 h 464"/>
              <a:gd name="T12" fmla="*/ 2147483647 w 539"/>
              <a:gd name="T13" fmla="*/ 2147483647 h 464"/>
              <a:gd name="T14" fmla="*/ 2147483647 w 539"/>
              <a:gd name="T15" fmla="*/ 2147483647 h 464"/>
              <a:gd name="T16" fmla="*/ 2147483647 w 539"/>
              <a:gd name="T17" fmla="*/ 2147483647 h 464"/>
              <a:gd name="T18" fmla="*/ 2147483647 w 539"/>
              <a:gd name="T19" fmla="*/ 2147483647 h 464"/>
              <a:gd name="T20" fmla="*/ 2147483647 w 539"/>
              <a:gd name="T21" fmla="*/ 2147483647 h 464"/>
              <a:gd name="T22" fmla="*/ 2147483647 w 539"/>
              <a:gd name="T23" fmla="*/ 2147483647 h 464"/>
              <a:gd name="T24" fmla="*/ 2147483647 w 539"/>
              <a:gd name="T25" fmla="*/ 2147483647 h 464"/>
              <a:gd name="T26" fmla="*/ 2147483647 w 539"/>
              <a:gd name="T27" fmla="*/ 2147483647 h 464"/>
              <a:gd name="T28" fmla="*/ 2147483647 w 539"/>
              <a:gd name="T29" fmla="*/ 2147483647 h 464"/>
              <a:gd name="T30" fmla="*/ 2147483647 w 539"/>
              <a:gd name="T31" fmla="*/ 2147483647 h 464"/>
              <a:gd name="T32" fmla="*/ 2147483647 w 539"/>
              <a:gd name="T33" fmla="*/ 0 h 464"/>
              <a:gd name="T34" fmla="*/ 2147483647 w 539"/>
              <a:gd name="T35" fmla="*/ 2147483647 h 464"/>
              <a:gd name="T36" fmla="*/ 2147483647 w 539"/>
              <a:gd name="T37" fmla="*/ 2147483647 h 464"/>
              <a:gd name="T38" fmla="*/ 2147483647 w 539"/>
              <a:gd name="T39" fmla="*/ 2147483647 h 464"/>
              <a:gd name="T40" fmla="*/ 2147483647 w 539"/>
              <a:gd name="T41" fmla="*/ 2147483647 h 464"/>
              <a:gd name="T42" fmla="*/ 2147483647 w 539"/>
              <a:gd name="T43" fmla="*/ 2147483647 h 464"/>
              <a:gd name="T44" fmla="*/ 2147483647 w 539"/>
              <a:gd name="T45" fmla="*/ 2147483647 h 464"/>
              <a:gd name="T46" fmla="*/ 2147483647 w 539"/>
              <a:gd name="T47" fmla="*/ 2147483647 h 464"/>
              <a:gd name="T48" fmla="*/ 2147483647 w 539"/>
              <a:gd name="T49" fmla="*/ 2147483647 h 464"/>
              <a:gd name="T50" fmla="*/ 2147483647 w 539"/>
              <a:gd name="T51" fmla="*/ 2147483647 h 464"/>
              <a:gd name="T52" fmla="*/ 2147483647 w 539"/>
              <a:gd name="T53" fmla="*/ 2147483647 h 464"/>
              <a:gd name="T54" fmla="*/ 2147483647 w 539"/>
              <a:gd name="T55" fmla="*/ 2147483647 h 464"/>
              <a:gd name="T56" fmla="*/ 2147483647 w 539"/>
              <a:gd name="T57" fmla="*/ 2147483647 h 464"/>
              <a:gd name="T58" fmla="*/ 2147483647 w 539"/>
              <a:gd name="T59" fmla="*/ 2147483647 h 464"/>
              <a:gd name="T60" fmla="*/ 2147483647 w 539"/>
              <a:gd name="T61" fmla="*/ 2147483647 h 464"/>
              <a:gd name="T62" fmla="*/ 0 w 539"/>
              <a:gd name="T63" fmla="*/ 2147483647 h 464"/>
              <a:gd name="T64" fmla="*/ 0 w 539"/>
              <a:gd name="T65" fmla="*/ 2147483647 h 464"/>
              <a:gd name="T66" fmla="*/ 2147483647 w 539"/>
              <a:gd name="T67" fmla="*/ 2147483647 h 464"/>
              <a:gd name="T68" fmla="*/ 2147483647 w 539"/>
              <a:gd name="T69" fmla="*/ 2147483647 h 464"/>
              <a:gd name="T70" fmla="*/ 2147483647 w 539"/>
              <a:gd name="T71" fmla="*/ 2147483647 h 464"/>
              <a:gd name="T72" fmla="*/ 2147483647 w 539"/>
              <a:gd name="T73" fmla="*/ 2147483647 h 464"/>
              <a:gd name="T74" fmla="*/ 2147483647 w 539"/>
              <a:gd name="T75" fmla="*/ 2147483647 h 464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539"/>
              <a:gd name="T115" fmla="*/ 0 h 464"/>
              <a:gd name="T116" fmla="*/ 539 w 539"/>
              <a:gd name="T117" fmla="*/ 464 h 464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539" h="464">
                <a:moveTo>
                  <a:pt x="227" y="456"/>
                </a:moveTo>
                <a:lnTo>
                  <a:pt x="261" y="408"/>
                </a:lnTo>
                <a:lnTo>
                  <a:pt x="273" y="406"/>
                </a:lnTo>
                <a:lnTo>
                  <a:pt x="288" y="392"/>
                </a:lnTo>
                <a:lnTo>
                  <a:pt x="305" y="392"/>
                </a:lnTo>
                <a:lnTo>
                  <a:pt x="307" y="386"/>
                </a:lnTo>
                <a:lnTo>
                  <a:pt x="308" y="366"/>
                </a:lnTo>
                <a:lnTo>
                  <a:pt x="354" y="347"/>
                </a:lnTo>
                <a:lnTo>
                  <a:pt x="367" y="352"/>
                </a:lnTo>
                <a:lnTo>
                  <a:pt x="381" y="349"/>
                </a:lnTo>
                <a:lnTo>
                  <a:pt x="370" y="323"/>
                </a:lnTo>
                <a:lnTo>
                  <a:pt x="405" y="312"/>
                </a:lnTo>
                <a:lnTo>
                  <a:pt x="441" y="299"/>
                </a:lnTo>
                <a:lnTo>
                  <a:pt x="481" y="284"/>
                </a:lnTo>
                <a:lnTo>
                  <a:pt x="515" y="275"/>
                </a:lnTo>
                <a:lnTo>
                  <a:pt x="505" y="270"/>
                </a:lnTo>
                <a:lnTo>
                  <a:pt x="497" y="258"/>
                </a:lnTo>
                <a:lnTo>
                  <a:pt x="508" y="235"/>
                </a:lnTo>
                <a:lnTo>
                  <a:pt x="509" y="211"/>
                </a:lnTo>
                <a:lnTo>
                  <a:pt x="531" y="201"/>
                </a:lnTo>
                <a:lnTo>
                  <a:pt x="520" y="188"/>
                </a:lnTo>
                <a:lnTo>
                  <a:pt x="520" y="157"/>
                </a:lnTo>
                <a:lnTo>
                  <a:pt x="526" y="126"/>
                </a:lnTo>
                <a:lnTo>
                  <a:pt x="539" y="117"/>
                </a:lnTo>
                <a:lnTo>
                  <a:pt x="522" y="75"/>
                </a:lnTo>
                <a:lnTo>
                  <a:pt x="517" y="69"/>
                </a:lnTo>
                <a:lnTo>
                  <a:pt x="509" y="69"/>
                </a:lnTo>
                <a:lnTo>
                  <a:pt x="508" y="57"/>
                </a:lnTo>
                <a:lnTo>
                  <a:pt x="452" y="37"/>
                </a:lnTo>
                <a:lnTo>
                  <a:pt x="434" y="20"/>
                </a:lnTo>
                <a:lnTo>
                  <a:pt x="422" y="18"/>
                </a:lnTo>
                <a:lnTo>
                  <a:pt x="415" y="29"/>
                </a:lnTo>
                <a:lnTo>
                  <a:pt x="396" y="18"/>
                </a:lnTo>
                <a:lnTo>
                  <a:pt x="395" y="0"/>
                </a:lnTo>
                <a:lnTo>
                  <a:pt x="333" y="15"/>
                </a:lnTo>
                <a:lnTo>
                  <a:pt x="325" y="20"/>
                </a:lnTo>
                <a:lnTo>
                  <a:pt x="324" y="32"/>
                </a:lnTo>
                <a:lnTo>
                  <a:pt x="317" y="41"/>
                </a:lnTo>
                <a:lnTo>
                  <a:pt x="317" y="52"/>
                </a:lnTo>
                <a:lnTo>
                  <a:pt x="319" y="84"/>
                </a:lnTo>
                <a:lnTo>
                  <a:pt x="319" y="105"/>
                </a:lnTo>
                <a:lnTo>
                  <a:pt x="302" y="168"/>
                </a:lnTo>
                <a:lnTo>
                  <a:pt x="322" y="190"/>
                </a:lnTo>
                <a:lnTo>
                  <a:pt x="354" y="190"/>
                </a:lnTo>
                <a:lnTo>
                  <a:pt x="356" y="239"/>
                </a:lnTo>
                <a:lnTo>
                  <a:pt x="344" y="230"/>
                </a:lnTo>
                <a:lnTo>
                  <a:pt x="334" y="233"/>
                </a:lnTo>
                <a:lnTo>
                  <a:pt x="317" y="228"/>
                </a:lnTo>
                <a:lnTo>
                  <a:pt x="294" y="211"/>
                </a:lnTo>
                <a:lnTo>
                  <a:pt x="282" y="191"/>
                </a:lnTo>
                <a:lnTo>
                  <a:pt x="251" y="181"/>
                </a:lnTo>
                <a:lnTo>
                  <a:pt x="234" y="165"/>
                </a:lnTo>
                <a:lnTo>
                  <a:pt x="195" y="173"/>
                </a:lnTo>
                <a:lnTo>
                  <a:pt x="158" y="156"/>
                </a:lnTo>
                <a:lnTo>
                  <a:pt x="146" y="135"/>
                </a:lnTo>
                <a:lnTo>
                  <a:pt x="115" y="145"/>
                </a:lnTo>
                <a:lnTo>
                  <a:pt x="107" y="122"/>
                </a:lnTo>
                <a:lnTo>
                  <a:pt x="93" y="125"/>
                </a:lnTo>
                <a:lnTo>
                  <a:pt x="96" y="131"/>
                </a:lnTo>
                <a:lnTo>
                  <a:pt x="88" y="215"/>
                </a:lnTo>
                <a:lnTo>
                  <a:pt x="101" y="225"/>
                </a:lnTo>
                <a:lnTo>
                  <a:pt x="67" y="225"/>
                </a:lnTo>
                <a:lnTo>
                  <a:pt x="33" y="225"/>
                </a:lnTo>
                <a:lnTo>
                  <a:pt x="0" y="225"/>
                </a:lnTo>
                <a:lnTo>
                  <a:pt x="0" y="258"/>
                </a:lnTo>
                <a:lnTo>
                  <a:pt x="0" y="293"/>
                </a:lnTo>
                <a:lnTo>
                  <a:pt x="0" y="340"/>
                </a:lnTo>
                <a:lnTo>
                  <a:pt x="2" y="394"/>
                </a:lnTo>
                <a:lnTo>
                  <a:pt x="54" y="443"/>
                </a:lnTo>
                <a:lnTo>
                  <a:pt x="96" y="433"/>
                </a:lnTo>
                <a:lnTo>
                  <a:pt x="129" y="439"/>
                </a:lnTo>
                <a:lnTo>
                  <a:pt x="144" y="453"/>
                </a:lnTo>
                <a:lnTo>
                  <a:pt x="178" y="460"/>
                </a:lnTo>
                <a:lnTo>
                  <a:pt x="203" y="457"/>
                </a:lnTo>
                <a:lnTo>
                  <a:pt x="212" y="464"/>
                </a:lnTo>
                <a:lnTo>
                  <a:pt x="222" y="462"/>
                </a:lnTo>
                <a:lnTo>
                  <a:pt x="227" y="456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32" name="Freeform 121"/>
          <p:cNvSpPr>
            <a:spLocks noChangeAspect="1"/>
          </p:cNvSpPr>
          <p:nvPr/>
        </p:nvSpPr>
        <p:spPr bwMode="gray">
          <a:xfrm>
            <a:off x="5080000" y="4062413"/>
            <a:ext cx="241300" cy="387350"/>
          </a:xfrm>
          <a:custGeom>
            <a:avLst/>
            <a:gdLst>
              <a:gd name="T0" fmla="*/ 2147483647 w 490"/>
              <a:gd name="T1" fmla="*/ 2147483647 h 794"/>
              <a:gd name="T2" fmla="*/ 2147483647 w 490"/>
              <a:gd name="T3" fmla="*/ 2147483647 h 794"/>
              <a:gd name="T4" fmla="*/ 2147483647 w 490"/>
              <a:gd name="T5" fmla="*/ 2147483647 h 794"/>
              <a:gd name="T6" fmla="*/ 2147483647 w 490"/>
              <a:gd name="T7" fmla="*/ 2147483647 h 794"/>
              <a:gd name="T8" fmla="*/ 2147483647 w 490"/>
              <a:gd name="T9" fmla="*/ 2147483647 h 794"/>
              <a:gd name="T10" fmla="*/ 2147483647 w 490"/>
              <a:gd name="T11" fmla="*/ 2147483647 h 794"/>
              <a:gd name="T12" fmla="*/ 2147483647 w 490"/>
              <a:gd name="T13" fmla="*/ 2147483647 h 794"/>
              <a:gd name="T14" fmla="*/ 2147483647 w 490"/>
              <a:gd name="T15" fmla="*/ 2147483647 h 794"/>
              <a:gd name="T16" fmla="*/ 2147483647 w 490"/>
              <a:gd name="T17" fmla="*/ 2147483647 h 794"/>
              <a:gd name="T18" fmla="*/ 2147483647 w 490"/>
              <a:gd name="T19" fmla="*/ 2147483647 h 794"/>
              <a:gd name="T20" fmla="*/ 2147483647 w 490"/>
              <a:gd name="T21" fmla="*/ 2147483647 h 794"/>
              <a:gd name="T22" fmla="*/ 2147483647 w 490"/>
              <a:gd name="T23" fmla="*/ 2147483647 h 794"/>
              <a:gd name="T24" fmla="*/ 2147483647 w 490"/>
              <a:gd name="T25" fmla="*/ 2147483647 h 794"/>
              <a:gd name="T26" fmla="*/ 2147483647 w 490"/>
              <a:gd name="T27" fmla="*/ 2147483647 h 794"/>
              <a:gd name="T28" fmla="*/ 2147483647 w 490"/>
              <a:gd name="T29" fmla="*/ 2147483647 h 794"/>
              <a:gd name="T30" fmla="*/ 2147483647 w 490"/>
              <a:gd name="T31" fmla="*/ 2147483647 h 794"/>
              <a:gd name="T32" fmla="*/ 2147483647 w 490"/>
              <a:gd name="T33" fmla="*/ 2147483647 h 794"/>
              <a:gd name="T34" fmla="*/ 2147483647 w 490"/>
              <a:gd name="T35" fmla="*/ 2147483647 h 794"/>
              <a:gd name="T36" fmla="*/ 2147483647 w 490"/>
              <a:gd name="T37" fmla="*/ 2147483647 h 794"/>
              <a:gd name="T38" fmla="*/ 2147483647 w 490"/>
              <a:gd name="T39" fmla="*/ 2147483647 h 794"/>
              <a:gd name="T40" fmla="*/ 2147483647 w 490"/>
              <a:gd name="T41" fmla="*/ 2147483647 h 794"/>
              <a:gd name="T42" fmla="*/ 2147483647 w 490"/>
              <a:gd name="T43" fmla="*/ 2147483647 h 794"/>
              <a:gd name="T44" fmla="*/ 2147483647 w 490"/>
              <a:gd name="T45" fmla="*/ 2147483647 h 794"/>
              <a:gd name="T46" fmla="*/ 2147483647 w 490"/>
              <a:gd name="T47" fmla="*/ 2147483647 h 794"/>
              <a:gd name="T48" fmla="*/ 2147483647 w 490"/>
              <a:gd name="T49" fmla="*/ 2147483647 h 794"/>
              <a:gd name="T50" fmla="*/ 2147483647 w 490"/>
              <a:gd name="T51" fmla="*/ 2147483647 h 794"/>
              <a:gd name="T52" fmla="*/ 2147483647 w 490"/>
              <a:gd name="T53" fmla="*/ 2147483647 h 794"/>
              <a:gd name="T54" fmla="*/ 2147483647 w 490"/>
              <a:gd name="T55" fmla="*/ 2147483647 h 794"/>
              <a:gd name="T56" fmla="*/ 2147483647 w 490"/>
              <a:gd name="T57" fmla="*/ 2147483647 h 794"/>
              <a:gd name="T58" fmla="*/ 2147483647 w 490"/>
              <a:gd name="T59" fmla="*/ 2147483647 h 794"/>
              <a:gd name="T60" fmla="*/ 2147483647 w 490"/>
              <a:gd name="T61" fmla="*/ 2147483647 h 794"/>
              <a:gd name="T62" fmla="*/ 2147483647 w 490"/>
              <a:gd name="T63" fmla="*/ 2147483647 h 794"/>
              <a:gd name="T64" fmla="*/ 2147483647 w 490"/>
              <a:gd name="T65" fmla="*/ 2147483647 h 794"/>
              <a:gd name="T66" fmla="*/ 2147483647 w 490"/>
              <a:gd name="T67" fmla="*/ 2147483647 h 794"/>
              <a:gd name="T68" fmla="*/ 2147483647 w 490"/>
              <a:gd name="T69" fmla="*/ 2147483647 h 794"/>
              <a:gd name="T70" fmla="*/ 2147483647 w 490"/>
              <a:gd name="T71" fmla="*/ 2147483647 h 794"/>
              <a:gd name="T72" fmla="*/ 2147483647 w 490"/>
              <a:gd name="T73" fmla="*/ 2147483647 h 794"/>
              <a:gd name="T74" fmla="*/ 2147483647 w 490"/>
              <a:gd name="T75" fmla="*/ 2147483647 h 794"/>
              <a:gd name="T76" fmla="*/ 2147483647 w 490"/>
              <a:gd name="T77" fmla="*/ 2147483647 h 794"/>
              <a:gd name="T78" fmla="*/ 2147483647 w 490"/>
              <a:gd name="T79" fmla="*/ 2147483647 h 794"/>
              <a:gd name="T80" fmla="*/ 2147483647 w 490"/>
              <a:gd name="T81" fmla="*/ 2147483647 h 794"/>
              <a:gd name="T82" fmla="*/ 0 w 490"/>
              <a:gd name="T83" fmla="*/ 2147483647 h 794"/>
              <a:gd name="T84" fmla="*/ 2147483647 w 490"/>
              <a:gd name="T85" fmla="*/ 2147483647 h 794"/>
              <a:gd name="T86" fmla="*/ 2147483647 w 490"/>
              <a:gd name="T87" fmla="*/ 2147483647 h 794"/>
              <a:gd name="T88" fmla="*/ 2147483647 w 490"/>
              <a:gd name="T89" fmla="*/ 2147483647 h 794"/>
              <a:gd name="T90" fmla="*/ 2147483647 w 490"/>
              <a:gd name="T91" fmla="*/ 2147483647 h 794"/>
              <a:gd name="T92" fmla="*/ 2147483647 w 490"/>
              <a:gd name="T93" fmla="*/ 2147483647 h 794"/>
              <a:gd name="T94" fmla="*/ 2147483647 w 490"/>
              <a:gd name="T95" fmla="*/ 2147483647 h 794"/>
              <a:gd name="T96" fmla="*/ 2147483647 w 490"/>
              <a:gd name="T97" fmla="*/ 2147483647 h 794"/>
              <a:gd name="T98" fmla="*/ 2147483647 w 490"/>
              <a:gd name="T99" fmla="*/ 2147483647 h 794"/>
              <a:gd name="T100" fmla="*/ 2147483647 w 490"/>
              <a:gd name="T101" fmla="*/ 2147483647 h 794"/>
              <a:gd name="T102" fmla="*/ 2147483647 w 490"/>
              <a:gd name="T103" fmla="*/ 2147483647 h 794"/>
              <a:gd name="T104" fmla="*/ 2147483647 w 490"/>
              <a:gd name="T105" fmla="*/ 2147483647 h 79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490"/>
              <a:gd name="T160" fmla="*/ 0 h 794"/>
              <a:gd name="T161" fmla="*/ 490 w 490"/>
              <a:gd name="T162" fmla="*/ 794 h 794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490" h="794">
                <a:moveTo>
                  <a:pt x="223" y="147"/>
                </a:moveTo>
                <a:lnTo>
                  <a:pt x="216" y="96"/>
                </a:lnTo>
                <a:lnTo>
                  <a:pt x="228" y="54"/>
                </a:lnTo>
                <a:lnTo>
                  <a:pt x="263" y="56"/>
                </a:lnTo>
                <a:lnTo>
                  <a:pt x="277" y="51"/>
                </a:lnTo>
                <a:lnTo>
                  <a:pt x="296" y="62"/>
                </a:lnTo>
                <a:lnTo>
                  <a:pt x="319" y="54"/>
                </a:lnTo>
                <a:lnTo>
                  <a:pt x="351" y="54"/>
                </a:lnTo>
                <a:lnTo>
                  <a:pt x="365" y="42"/>
                </a:lnTo>
                <a:lnTo>
                  <a:pt x="385" y="39"/>
                </a:lnTo>
                <a:lnTo>
                  <a:pt x="398" y="46"/>
                </a:lnTo>
                <a:lnTo>
                  <a:pt x="413" y="44"/>
                </a:lnTo>
                <a:lnTo>
                  <a:pt x="460" y="28"/>
                </a:lnTo>
                <a:lnTo>
                  <a:pt x="481" y="8"/>
                </a:lnTo>
                <a:lnTo>
                  <a:pt x="482" y="0"/>
                </a:lnTo>
                <a:lnTo>
                  <a:pt x="486" y="8"/>
                </a:lnTo>
                <a:lnTo>
                  <a:pt x="490" y="14"/>
                </a:lnTo>
                <a:lnTo>
                  <a:pt x="490" y="29"/>
                </a:lnTo>
                <a:lnTo>
                  <a:pt x="475" y="65"/>
                </a:lnTo>
                <a:lnTo>
                  <a:pt x="478" y="113"/>
                </a:lnTo>
                <a:lnTo>
                  <a:pt x="473" y="119"/>
                </a:lnTo>
                <a:lnTo>
                  <a:pt x="478" y="125"/>
                </a:lnTo>
                <a:lnTo>
                  <a:pt x="478" y="180"/>
                </a:lnTo>
                <a:lnTo>
                  <a:pt x="484" y="180"/>
                </a:lnTo>
                <a:lnTo>
                  <a:pt x="487" y="184"/>
                </a:lnTo>
                <a:lnTo>
                  <a:pt x="484" y="192"/>
                </a:lnTo>
                <a:lnTo>
                  <a:pt x="490" y="195"/>
                </a:lnTo>
                <a:lnTo>
                  <a:pt x="490" y="201"/>
                </a:lnTo>
                <a:lnTo>
                  <a:pt x="475" y="227"/>
                </a:lnTo>
                <a:lnTo>
                  <a:pt x="482" y="229"/>
                </a:lnTo>
                <a:lnTo>
                  <a:pt x="481" y="242"/>
                </a:lnTo>
                <a:lnTo>
                  <a:pt x="455" y="269"/>
                </a:lnTo>
                <a:lnTo>
                  <a:pt x="441" y="277"/>
                </a:lnTo>
                <a:lnTo>
                  <a:pt x="447" y="281"/>
                </a:lnTo>
                <a:lnTo>
                  <a:pt x="443" y="289"/>
                </a:lnTo>
                <a:lnTo>
                  <a:pt x="416" y="305"/>
                </a:lnTo>
                <a:lnTo>
                  <a:pt x="411" y="313"/>
                </a:lnTo>
                <a:lnTo>
                  <a:pt x="376" y="323"/>
                </a:lnTo>
                <a:lnTo>
                  <a:pt x="339" y="340"/>
                </a:lnTo>
                <a:lnTo>
                  <a:pt x="314" y="359"/>
                </a:lnTo>
                <a:lnTo>
                  <a:pt x="313" y="367"/>
                </a:lnTo>
                <a:lnTo>
                  <a:pt x="297" y="373"/>
                </a:lnTo>
                <a:lnTo>
                  <a:pt x="305" y="378"/>
                </a:lnTo>
                <a:lnTo>
                  <a:pt x="283" y="403"/>
                </a:lnTo>
                <a:lnTo>
                  <a:pt x="280" y="403"/>
                </a:lnTo>
                <a:lnTo>
                  <a:pt x="277" y="393"/>
                </a:lnTo>
                <a:lnTo>
                  <a:pt x="271" y="407"/>
                </a:lnTo>
                <a:lnTo>
                  <a:pt x="223" y="452"/>
                </a:lnTo>
                <a:lnTo>
                  <a:pt x="213" y="454"/>
                </a:lnTo>
                <a:lnTo>
                  <a:pt x="211" y="487"/>
                </a:lnTo>
                <a:lnTo>
                  <a:pt x="226" y="501"/>
                </a:lnTo>
                <a:lnTo>
                  <a:pt x="228" y="506"/>
                </a:lnTo>
                <a:lnTo>
                  <a:pt x="243" y="565"/>
                </a:lnTo>
                <a:lnTo>
                  <a:pt x="246" y="562"/>
                </a:lnTo>
                <a:lnTo>
                  <a:pt x="250" y="565"/>
                </a:lnTo>
                <a:lnTo>
                  <a:pt x="249" y="616"/>
                </a:lnTo>
                <a:lnTo>
                  <a:pt x="237" y="655"/>
                </a:lnTo>
                <a:lnTo>
                  <a:pt x="238" y="664"/>
                </a:lnTo>
                <a:lnTo>
                  <a:pt x="249" y="648"/>
                </a:lnTo>
                <a:lnTo>
                  <a:pt x="245" y="662"/>
                </a:lnTo>
                <a:lnTo>
                  <a:pt x="228" y="687"/>
                </a:lnTo>
                <a:lnTo>
                  <a:pt x="216" y="696"/>
                </a:lnTo>
                <a:lnTo>
                  <a:pt x="162" y="715"/>
                </a:lnTo>
                <a:lnTo>
                  <a:pt x="127" y="737"/>
                </a:lnTo>
                <a:lnTo>
                  <a:pt x="111" y="757"/>
                </a:lnTo>
                <a:lnTo>
                  <a:pt x="122" y="770"/>
                </a:lnTo>
                <a:lnTo>
                  <a:pt x="131" y="761"/>
                </a:lnTo>
                <a:lnTo>
                  <a:pt x="128" y="794"/>
                </a:lnTo>
                <a:lnTo>
                  <a:pt x="93" y="792"/>
                </a:lnTo>
                <a:lnTo>
                  <a:pt x="90" y="745"/>
                </a:lnTo>
                <a:lnTo>
                  <a:pt x="85" y="667"/>
                </a:lnTo>
                <a:lnTo>
                  <a:pt x="68" y="586"/>
                </a:lnTo>
                <a:lnTo>
                  <a:pt x="73" y="562"/>
                </a:lnTo>
                <a:lnTo>
                  <a:pt x="94" y="542"/>
                </a:lnTo>
                <a:lnTo>
                  <a:pt x="130" y="455"/>
                </a:lnTo>
                <a:lnTo>
                  <a:pt x="122" y="408"/>
                </a:lnTo>
                <a:lnTo>
                  <a:pt x="135" y="373"/>
                </a:lnTo>
                <a:lnTo>
                  <a:pt x="135" y="334"/>
                </a:lnTo>
                <a:lnTo>
                  <a:pt x="128" y="294"/>
                </a:lnTo>
                <a:lnTo>
                  <a:pt x="119" y="288"/>
                </a:lnTo>
                <a:lnTo>
                  <a:pt x="59" y="264"/>
                </a:lnTo>
                <a:lnTo>
                  <a:pt x="11" y="260"/>
                </a:lnTo>
                <a:lnTo>
                  <a:pt x="11" y="246"/>
                </a:lnTo>
                <a:lnTo>
                  <a:pt x="0" y="220"/>
                </a:lnTo>
                <a:lnTo>
                  <a:pt x="35" y="209"/>
                </a:lnTo>
                <a:lnTo>
                  <a:pt x="71" y="196"/>
                </a:lnTo>
                <a:lnTo>
                  <a:pt x="111" y="181"/>
                </a:lnTo>
                <a:lnTo>
                  <a:pt x="145" y="172"/>
                </a:lnTo>
                <a:lnTo>
                  <a:pt x="165" y="196"/>
                </a:lnTo>
                <a:lnTo>
                  <a:pt x="201" y="192"/>
                </a:lnTo>
                <a:lnTo>
                  <a:pt x="207" y="196"/>
                </a:lnTo>
                <a:lnTo>
                  <a:pt x="211" y="230"/>
                </a:lnTo>
                <a:lnTo>
                  <a:pt x="198" y="260"/>
                </a:lnTo>
                <a:lnTo>
                  <a:pt x="204" y="276"/>
                </a:lnTo>
                <a:lnTo>
                  <a:pt x="237" y="306"/>
                </a:lnTo>
                <a:lnTo>
                  <a:pt x="233" y="317"/>
                </a:lnTo>
                <a:lnTo>
                  <a:pt x="243" y="317"/>
                </a:lnTo>
                <a:lnTo>
                  <a:pt x="245" y="302"/>
                </a:lnTo>
                <a:lnTo>
                  <a:pt x="240" y="289"/>
                </a:lnTo>
                <a:lnTo>
                  <a:pt x="243" y="276"/>
                </a:lnTo>
                <a:lnTo>
                  <a:pt x="267" y="263"/>
                </a:lnTo>
                <a:lnTo>
                  <a:pt x="272" y="238"/>
                </a:lnTo>
                <a:lnTo>
                  <a:pt x="267" y="227"/>
                </a:lnTo>
                <a:lnTo>
                  <a:pt x="272" y="212"/>
                </a:lnTo>
                <a:lnTo>
                  <a:pt x="267" y="196"/>
                </a:lnTo>
                <a:lnTo>
                  <a:pt x="223" y="147"/>
                </a:lnTo>
                <a:close/>
              </a:path>
            </a:pathLst>
          </a:custGeom>
          <a:solidFill>
            <a:srgbClr val="DFAA75"/>
          </a:solidFill>
          <a:ln w="6350" cap="flat" cmpd="sng">
            <a:solidFill>
              <a:srgbClr val="82673C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33" name="Freeform 122"/>
          <p:cNvSpPr>
            <a:spLocks noChangeAspect="1"/>
          </p:cNvSpPr>
          <p:nvPr/>
        </p:nvSpPr>
        <p:spPr bwMode="gray">
          <a:xfrm>
            <a:off x="5143500" y="4041775"/>
            <a:ext cx="69850" cy="174625"/>
          </a:xfrm>
          <a:custGeom>
            <a:avLst/>
            <a:gdLst>
              <a:gd name="T0" fmla="*/ 2147483647 w 145"/>
              <a:gd name="T1" fmla="*/ 2147483647 h 363"/>
              <a:gd name="T2" fmla="*/ 2147483647 w 145"/>
              <a:gd name="T3" fmla="*/ 2147483647 h 363"/>
              <a:gd name="T4" fmla="*/ 2147483647 w 145"/>
              <a:gd name="T5" fmla="*/ 2147483647 h 363"/>
              <a:gd name="T6" fmla="*/ 2147483647 w 145"/>
              <a:gd name="T7" fmla="*/ 2147483647 h 363"/>
              <a:gd name="T8" fmla="*/ 2147483647 w 145"/>
              <a:gd name="T9" fmla="*/ 2147483647 h 363"/>
              <a:gd name="T10" fmla="*/ 2147483647 w 145"/>
              <a:gd name="T11" fmla="*/ 2147483647 h 363"/>
              <a:gd name="T12" fmla="*/ 2147483647 w 145"/>
              <a:gd name="T13" fmla="*/ 2147483647 h 363"/>
              <a:gd name="T14" fmla="*/ 2147483647 w 145"/>
              <a:gd name="T15" fmla="*/ 2147483647 h 363"/>
              <a:gd name="T16" fmla="*/ 2147483647 w 145"/>
              <a:gd name="T17" fmla="*/ 2147483647 h 363"/>
              <a:gd name="T18" fmla="*/ 2147483647 w 145"/>
              <a:gd name="T19" fmla="*/ 2147483647 h 363"/>
              <a:gd name="T20" fmla="*/ 2147483647 w 145"/>
              <a:gd name="T21" fmla="*/ 2147483647 h 363"/>
              <a:gd name="T22" fmla="*/ 2147483647 w 145"/>
              <a:gd name="T23" fmla="*/ 2147483647 h 363"/>
              <a:gd name="T24" fmla="*/ 2147483647 w 145"/>
              <a:gd name="T25" fmla="*/ 2147483647 h 363"/>
              <a:gd name="T26" fmla="*/ 2147483647 w 145"/>
              <a:gd name="T27" fmla="*/ 2147483647 h 363"/>
              <a:gd name="T28" fmla="*/ 2147483647 w 145"/>
              <a:gd name="T29" fmla="*/ 2147483647 h 363"/>
              <a:gd name="T30" fmla="*/ 2147483647 w 145"/>
              <a:gd name="T31" fmla="*/ 2147483647 h 363"/>
              <a:gd name="T32" fmla="*/ 2147483647 w 145"/>
              <a:gd name="T33" fmla="*/ 2147483647 h 363"/>
              <a:gd name="T34" fmla="*/ 2147483647 w 145"/>
              <a:gd name="T35" fmla="*/ 0 h 363"/>
              <a:gd name="T36" fmla="*/ 2147483647 w 145"/>
              <a:gd name="T37" fmla="*/ 2147483647 h 363"/>
              <a:gd name="T38" fmla="*/ 2147483647 w 145"/>
              <a:gd name="T39" fmla="*/ 2147483647 h 363"/>
              <a:gd name="T40" fmla="*/ 2147483647 w 145"/>
              <a:gd name="T41" fmla="*/ 2147483647 h 363"/>
              <a:gd name="T42" fmla="*/ 2147483647 w 145"/>
              <a:gd name="T43" fmla="*/ 2147483647 h 363"/>
              <a:gd name="T44" fmla="*/ 2147483647 w 145"/>
              <a:gd name="T45" fmla="*/ 2147483647 h 363"/>
              <a:gd name="T46" fmla="*/ 2147483647 w 145"/>
              <a:gd name="T47" fmla="*/ 2147483647 h 363"/>
              <a:gd name="T48" fmla="*/ 2147483647 w 145"/>
              <a:gd name="T49" fmla="*/ 2147483647 h 363"/>
              <a:gd name="T50" fmla="*/ 2147483647 w 145"/>
              <a:gd name="T51" fmla="*/ 2147483647 h 363"/>
              <a:gd name="T52" fmla="*/ 2147483647 w 145"/>
              <a:gd name="T53" fmla="*/ 2147483647 h 363"/>
              <a:gd name="T54" fmla="*/ 2147483647 w 145"/>
              <a:gd name="T55" fmla="*/ 2147483647 h 363"/>
              <a:gd name="T56" fmla="*/ 0 w 145"/>
              <a:gd name="T57" fmla="*/ 2147483647 h 363"/>
              <a:gd name="T58" fmla="*/ 2147483647 w 145"/>
              <a:gd name="T59" fmla="*/ 2147483647 h 363"/>
              <a:gd name="T60" fmla="*/ 2147483647 w 145"/>
              <a:gd name="T61" fmla="*/ 2147483647 h 363"/>
              <a:gd name="T62" fmla="*/ 2147483647 w 145"/>
              <a:gd name="T63" fmla="*/ 2147483647 h 363"/>
              <a:gd name="T64" fmla="*/ 2147483647 w 145"/>
              <a:gd name="T65" fmla="*/ 2147483647 h 363"/>
              <a:gd name="T66" fmla="*/ 2147483647 w 145"/>
              <a:gd name="T67" fmla="*/ 2147483647 h 363"/>
              <a:gd name="T68" fmla="*/ 2147483647 w 145"/>
              <a:gd name="T69" fmla="*/ 2147483647 h 363"/>
              <a:gd name="T70" fmla="*/ 2147483647 w 145"/>
              <a:gd name="T71" fmla="*/ 2147483647 h 363"/>
              <a:gd name="T72" fmla="*/ 2147483647 w 145"/>
              <a:gd name="T73" fmla="*/ 2147483647 h 363"/>
              <a:gd name="T74" fmla="*/ 2147483647 w 145"/>
              <a:gd name="T75" fmla="*/ 2147483647 h 363"/>
              <a:gd name="T76" fmla="*/ 2147483647 w 145"/>
              <a:gd name="T77" fmla="*/ 2147483647 h 363"/>
              <a:gd name="T78" fmla="*/ 2147483647 w 145"/>
              <a:gd name="T79" fmla="*/ 2147483647 h 363"/>
              <a:gd name="T80" fmla="*/ 2147483647 w 145"/>
              <a:gd name="T81" fmla="*/ 2147483647 h 363"/>
              <a:gd name="T82" fmla="*/ 2147483647 w 145"/>
              <a:gd name="T83" fmla="*/ 2147483647 h 363"/>
              <a:gd name="T84" fmla="*/ 2147483647 w 145"/>
              <a:gd name="T85" fmla="*/ 2147483647 h 363"/>
              <a:gd name="T86" fmla="*/ 2147483647 w 145"/>
              <a:gd name="T87" fmla="*/ 2147483647 h 363"/>
              <a:gd name="T88" fmla="*/ 2147483647 w 145"/>
              <a:gd name="T89" fmla="*/ 2147483647 h 363"/>
              <a:gd name="T90" fmla="*/ 2147483647 w 145"/>
              <a:gd name="T91" fmla="*/ 2147483647 h 363"/>
              <a:gd name="T92" fmla="*/ 2147483647 w 145"/>
              <a:gd name="T93" fmla="*/ 2147483647 h 363"/>
              <a:gd name="T94" fmla="*/ 2147483647 w 145"/>
              <a:gd name="T95" fmla="*/ 2147483647 h 363"/>
              <a:gd name="T96" fmla="*/ 2147483647 w 145"/>
              <a:gd name="T97" fmla="*/ 2147483647 h 36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145"/>
              <a:gd name="T148" fmla="*/ 0 h 363"/>
              <a:gd name="T149" fmla="*/ 145 w 145"/>
              <a:gd name="T150" fmla="*/ 363 h 363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145" h="363">
                <a:moveTo>
                  <a:pt x="96" y="193"/>
                </a:moveTo>
                <a:lnTo>
                  <a:pt x="96" y="204"/>
                </a:lnTo>
                <a:lnTo>
                  <a:pt x="105" y="209"/>
                </a:lnTo>
                <a:lnTo>
                  <a:pt x="113" y="236"/>
                </a:lnTo>
                <a:lnTo>
                  <a:pt x="96" y="219"/>
                </a:lnTo>
                <a:lnTo>
                  <a:pt x="93" y="227"/>
                </a:lnTo>
                <a:lnTo>
                  <a:pt x="82" y="224"/>
                </a:lnTo>
                <a:lnTo>
                  <a:pt x="82" y="205"/>
                </a:lnTo>
                <a:lnTo>
                  <a:pt x="74" y="193"/>
                </a:lnTo>
                <a:lnTo>
                  <a:pt x="68" y="158"/>
                </a:lnTo>
                <a:lnTo>
                  <a:pt x="57" y="137"/>
                </a:lnTo>
                <a:lnTo>
                  <a:pt x="69" y="108"/>
                </a:lnTo>
                <a:lnTo>
                  <a:pt x="68" y="48"/>
                </a:lnTo>
                <a:lnTo>
                  <a:pt x="52" y="26"/>
                </a:lnTo>
                <a:lnTo>
                  <a:pt x="55" y="12"/>
                </a:lnTo>
                <a:lnTo>
                  <a:pt x="46" y="7"/>
                </a:lnTo>
                <a:lnTo>
                  <a:pt x="34" y="10"/>
                </a:lnTo>
                <a:lnTo>
                  <a:pt x="11" y="0"/>
                </a:lnTo>
                <a:lnTo>
                  <a:pt x="12" y="12"/>
                </a:lnTo>
                <a:lnTo>
                  <a:pt x="20" y="12"/>
                </a:lnTo>
                <a:lnTo>
                  <a:pt x="25" y="18"/>
                </a:lnTo>
                <a:lnTo>
                  <a:pt x="42" y="60"/>
                </a:lnTo>
                <a:lnTo>
                  <a:pt x="29" y="69"/>
                </a:lnTo>
                <a:lnTo>
                  <a:pt x="23" y="100"/>
                </a:lnTo>
                <a:lnTo>
                  <a:pt x="23" y="131"/>
                </a:lnTo>
                <a:lnTo>
                  <a:pt x="34" y="144"/>
                </a:lnTo>
                <a:lnTo>
                  <a:pt x="12" y="154"/>
                </a:lnTo>
                <a:lnTo>
                  <a:pt x="11" y="178"/>
                </a:lnTo>
                <a:lnTo>
                  <a:pt x="0" y="201"/>
                </a:lnTo>
                <a:lnTo>
                  <a:pt x="8" y="213"/>
                </a:lnTo>
                <a:lnTo>
                  <a:pt x="18" y="218"/>
                </a:lnTo>
                <a:lnTo>
                  <a:pt x="38" y="242"/>
                </a:lnTo>
                <a:lnTo>
                  <a:pt x="74" y="238"/>
                </a:lnTo>
                <a:lnTo>
                  <a:pt x="80" y="242"/>
                </a:lnTo>
                <a:lnTo>
                  <a:pt x="84" y="276"/>
                </a:lnTo>
                <a:lnTo>
                  <a:pt x="71" y="306"/>
                </a:lnTo>
                <a:lnTo>
                  <a:pt x="77" y="322"/>
                </a:lnTo>
                <a:lnTo>
                  <a:pt x="110" y="352"/>
                </a:lnTo>
                <a:lnTo>
                  <a:pt x="106" y="363"/>
                </a:lnTo>
                <a:lnTo>
                  <a:pt x="116" y="363"/>
                </a:lnTo>
                <a:lnTo>
                  <a:pt x="118" y="348"/>
                </a:lnTo>
                <a:lnTo>
                  <a:pt x="113" y="335"/>
                </a:lnTo>
                <a:lnTo>
                  <a:pt x="116" y="322"/>
                </a:lnTo>
                <a:lnTo>
                  <a:pt x="140" y="309"/>
                </a:lnTo>
                <a:lnTo>
                  <a:pt x="145" y="284"/>
                </a:lnTo>
                <a:lnTo>
                  <a:pt x="140" y="273"/>
                </a:lnTo>
                <a:lnTo>
                  <a:pt x="145" y="258"/>
                </a:lnTo>
                <a:lnTo>
                  <a:pt x="140" y="242"/>
                </a:lnTo>
                <a:lnTo>
                  <a:pt x="96" y="193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34" name="Freeform 123"/>
          <p:cNvSpPr>
            <a:spLocks noChangeAspect="1"/>
          </p:cNvSpPr>
          <p:nvPr/>
        </p:nvSpPr>
        <p:spPr bwMode="gray">
          <a:xfrm>
            <a:off x="5168900" y="3725863"/>
            <a:ext cx="179388" cy="207962"/>
          </a:xfrm>
          <a:custGeom>
            <a:avLst/>
            <a:gdLst>
              <a:gd name="T0" fmla="*/ 2147483647 w 366"/>
              <a:gd name="T1" fmla="*/ 2147483647 h 423"/>
              <a:gd name="T2" fmla="*/ 2147483647 w 366"/>
              <a:gd name="T3" fmla="*/ 2147483647 h 423"/>
              <a:gd name="T4" fmla="*/ 2147483647 w 366"/>
              <a:gd name="T5" fmla="*/ 2147483647 h 423"/>
              <a:gd name="T6" fmla="*/ 2147483647 w 366"/>
              <a:gd name="T7" fmla="*/ 2147483647 h 423"/>
              <a:gd name="T8" fmla="*/ 2147483647 w 366"/>
              <a:gd name="T9" fmla="*/ 2147483647 h 423"/>
              <a:gd name="T10" fmla="*/ 2147483647 w 366"/>
              <a:gd name="T11" fmla="*/ 2147483647 h 423"/>
              <a:gd name="T12" fmla="*/ 2147483647 w 366"/>
              <a:gd name="T13" fmla="*/ 2147483647 h 423"/>
              <a:gd name="T14" fmla="*/ 2147483647 w 366"/>
              <a:gd name="T15" fmla="*/ 2147483647 h 423"/>
              <a:gd name="T16" fmla="*/ 2147483647 w 366"/>
              <a:gd name="T17" fmla="*/ 2147483647 h 423"/>
              <a:gd name="T18" fmla="*/ 2147483647 w 366"/>
              <a:gd name="T19" fmla="*/ 2147483647 h 423"/>
              <a:gd name="T20" fmla="*/ 2147483647 w 366"/>
              <a:gd name="T21" fmla="*/ 2147483647 h 423"/>
              <a:gd name="T22" fmla="*/ 2147483647 w 366"/>
              <a:gd name="T23" fmla="*/ 2147483647 h 423"/>
              <a:gd name="T24" fmla="*/ 2147483647 w 366"/>
              <a:gd name="T25" fmla="*/ 2147483647 h 423"/>
              <a:gd name="T26" fmla="*/ 2147483647 w 366"/>
              <a:gd name="T27" fmla="*/ 2147483647 h 423"/>
              <a:gd name="T28" fmla="*/ 2147483647 w 366"/>
              <a:gd name="T29" fmla="*/ 2147483647 h 423"/>
              <a:gd name="T30" fmla="*/ 2147483647 w 366"/>
              <a:gd name="T31" fmla="*/ 2147483647 h 423"/>
              <a:gd name="T32" fmla="*/ 2147483647 w 366"/>
              <a:gd name="T33" fmla="*/ 2147483647 h 423"/>
              <a:gd name="T34" fmla="*/ 2147483647 w 366"/>
              <a:gd name="T35" fmla="*/ 2147483647 h 423"/>
              <a:gd name="T36" fmla="*/ 2147483647 w 366"/>
              <a:gd name="T37" fmla="*/ 2147483647 h 423"/>
              <a:gd name="T38" fmla="*/ 0 w 366"/>
              <a:gd name="T39" fmla="*/ 2147483647 h 423"/>
              <a:gd name="T40" fmla="*/ 2147483647 w 366"/>
              <a:gd name="T41" fmla="*/ 2147483647 h 423"/>
              <a:gd name="T42" fmla="*/ 2147483647 w 366"/>
              <a:gd name="T43" fmla="*/ 0 h 423"/>
              <a:gd name="T44" fmla="*/ 2147483647 w 366"/>
              <a:gd name="T45" fmla="*/ 2147483647 h 423"/>
              <a:gd name="T46" fmla="*/ 2147483647 w 366"/>
              <a:gd name="T47" fmla="*/ 2147483647 h 423"/>
              <a:gd name="T48" fmla="*/ 2147483647 w 366"/>
              <a:gd name="T49" fmla="*/ 2147483647 h 423"/>
              <a:gd name="T50" fmla="*/ 2147483647 w 366"/>
              <a:gd name="T51" fmla="*/ 2147483647 h 423"/>
              <a:gd name="T52" fmla="*/ 2147483647 w 366"/>
              <a:gd name="T53" fmla="*/ 2147483647 h 423"/>
              <a:gd name="T54" fmla="*/ 2147483647 w 366"/>
              <a:gd name="T55" fmla="*/ 2147483647 h 423"/>
              <a:gd name="T56" fmla="*/ 2147483647 w 366"/>
              <a:gd name="T57" fmla="*/ 2147483647 h 423"/>
              <a:gd name="T58" fmla="*/ 2147483647 w 366"/>
              <a:gd name="T59" fmla="*/ 2147483647 h 423"/>
              <a:gd name="T60" fmla="*/ 2147483647 w 366"/>
              <a:gd name="T61" fmla="*/ 2147483647 h 423"/>
              <a:gd name="T62" fmla="*/ 2147483647 w 366"/>
              <a:gd name="T63" fmla="*/ 2147483647 h 423"/>
              <a:gd name="T64" fmla="*/ 2147483647 w 366"/>
              <a:gd name="T65" fmla="*/ 2147483647 h 423"/>
              <a:gd name="T66" fmla="*/ 2147483647 w 366"/>
              <a:gd name="T67" fmla="*/ 2147483647 h 423"/>
              <a:gd name="T68" fmla="*/ 2147483647 w 366"/>
              <a:gd name="T69" fmla="*/ 2147483647 h 423"/>
              <a:gd name="T70" fmla="*/ 2147483647 w 366"/>
              <a:gd name="T71" fmla="*/ 2147483647 h 423"/>
              <a:gd name="T72" fmla="*/ 2147483647 w 366"/>
              <a:gd name="T73" fmla="*/ 2147483647 h 423"/>
              <a:gd name="T74" fmla="*/ 2147483647 w 366"/>
              <a:gd name="T75" fmla="*/ 2147483647 h 423"/>
              <a:gd name="T76" fmla="*/ 2147483647 w 366"/>
              <a:gd name="T77" fmla="*/ 2147483647 h 423"/>
              <a:gd name="T78" fmla="*/ 2147483647 w 366"/>
              <a:gd name="T79" fmla="*/ 2147483647 h 423"/>
              <a:gd name="T80" fmla="*/ 2147483647 w 366"/>
              <a:gd name="T81" fmla="*/ 2147483647 h 423"/>
              <a:gd name="T82" fmla="*/ 2147483647 w 366"/>
              <a:gd name="T83" fmla="*/ 2147483647 h 423"/>
              <a:gd name="T84" fmla="*/ 2147483647 w 366"/>
              <a:gd name="T85" fmla="*/ 2147483647 h 423"/>
              <a:gd name="T86" fmla="*/ 2147483647 w 366"/>
              <a:gd name="T87" fmla="*/ 2147483647 h 423"/>
              <a:gd name="T88" fmla="*/ 2147483647 w 366"/>
              <a:gd name="T89" fmla="*/ 2147483647 h 423"/>
              <a:gd name="T90" fmla="*/ 2147483647 w 366"/>
              <a:gd name="T91" fmla="*/ 2147483647 h 423"/>
              <a:gd name="T92" fmla="*/ 2147483647 w 366"/>
              <a:gd name="T93" fmla="*/ 2147483647 h 423"/>
              <a:gd name="T94" fmla="*/ 2147483647 w 366"/>
              <a:gd name="T95" fmla="*/ 2147483647 h 423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366"/>
              <a:gd name="T145" fmla="*/ 0 h 423"/>
              <a:gd name="T146" fmla="*/ 366 w 366"/>
              <a:gd name="T147" fmla="*/ 423 h 423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366" h="423">
                <a:moveTo>
                  <a:pt x="13" y="256"/>
                </a:moveTo>
                <a:lnTo>
                  <a:pt x="5" y="247"/>
                </a:lnTo>
                <a:lnTo>
                  <a:pt x="13" y="237"/>
                </a:lnTo>
                <a:lnTo>
                  <a:pt x="22" y="237"/>
                </a:lnTo>
                <a:lnTo>
                  <a:pt x="29" y="231"/>
                </a:lnTo>
                <a:lnTo>
                  <a:pt x="39" y="227"/>
                </a:lnTo>
                <a:lnTo>
                  <a:pt x="39" y="223"/>
                </a:lnTo>
                <a:lnTo>
                  <a:pt x="29" y="222"/>
                </a:lnTo>
                <a:lnTo>
                  <a:pt x="21" y="223"/>
                </a:lnTo>
                <a:lnTo>
                  <a:pt x="16" y="227"/>
                </a:lnTo>
                <a:lnTo>
                  <a:pt x="10" y="227"/>
                </a:lnTo>
                <a:lnTo>
                  <a:pt x="7" y="220"/>
                </a:lnTo>
                <a:lnTo>
                  <a:pt x="2" y="214"/>
                </a:lnTo>
                <a:lnTo>
                  <a:pt x="2" y="202"/>
                </a:lnTo>
                <a:lnTo>
                  <a:pt x="46" y="143"/>
                </a:lnTo>
                <a:lnTo>
                  <a:pt x="50" y="113"/>
                </a:lnTo>
                <a:lnTo>
                  <a:pt x="46" y="84"/>
                </a:lnTo>
                <a:lnTo>
                  <a:pt x="25" y="67"/>
                </a:lnTo>
                <a:lnTo>
                  <a:pt x="17" y="30"/>
                </a:lnTo>
                <a:lnTo>
                  <a:pt x="0" y="24"/>
                </a:lnTo>
                <a:lnTo>
                  <a:pt x="24" y="2"/>
                </a:lnTo>
                <a:lnTo>
                  <a:pt x="87" y="0"/>
                </a:lnTo>
                <a:lnTo>
                  <a:pt x="124" y="4"/>
                </a:lnTo>
                <a:lnTo>
                  <a:pt x="180" y="39"/>
                </a:lnTo>
                <a:lnTo>
                  <a:pt x="229" y="51"/>
                </a:lnTo>
                <a:lnTo>
                  <a:pt x="249" y="51"/>
                </a:lnTo>
                <a:lnTo>
                  <a:pt x="270" y="41"/>
                </a:lnTo>
                <a:lnTo>
                  <a:pt x="283" y="27"/>
                </a:lnTo>
                <a:lnTo>
                  <a:pt x="315" y="19"/>
                </a:lnTo>
                <a:lnTo>
                  <a:pt x="342" y="33"/>
                </a:lnTo>
                <a:lnTo>
                  <a:pt x="366" y="33"/>
                </a:lnTo>
                <a:lnTo>
                  <a:pt x="347" y="62"/>
                </a:lnTo>
                <a:lnTo>
                  <a:pt x="325" y="83"/>
                </a:lnTo>
                <a:lnTo>
                  <a:pt x="325" y="126"/>
                </a:lnTo>
                <a:lnTo>
                  <a:pt x="325" y="168"/>
                </a:lnTo>
                <a:lnTo>
                  <a:pt x="325" y="210"/>
                </a:lnTo>
                <a:lnTo>
                  <a:pt x="325" y="253"/>
                </a:lnTo>
                <a:lnTo>
                  <a:pt x="350" y="287"/>
                </a:lnTo>
                <a:lnTo>
                  <a:pt x="339" y="299"/>
                </a:lnTo>
                <a:lnTo>
                  <a:pt x="327" y="304"/>
                </a:lnTo>
                <a:lnTo>
                  <a:pt x="319" y="322"/>
                </a:lnTo>
                <a:lnTo>
                  <a:pt x="304" y="328"/>
                </a:lnTo>
                <a:lnTo>
                  <a:pt x="296" y="335"/>
                </a:lnTo>
                <a:lnTo>
                  <a:pt x="265" y="409"/>
                </a:lnTo>
                <a:lnTo>
                  <a:pt x="249" y="423"/>
                </a:lnTo>
                <a:lnTo>
                  <a:pt x="185" y="384"/>
                </a:lnTo>
                <a:lnTo>
                  <a:pt x="175" y="349"/>
                </a:lnTo>
                <a:lnTo>
                  <a:pt x="13" y="256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35" name="Freeform 124"/>
          <p:cNvSpPr>
            <a:spLocks noChangeAspect="1"/>
          </p:cNvSpPr>
          <p:nvPr/>
        </p:nvSpPr>
        <p:spPr bwMode="gray">
          <a:xfrm>
            <a:off x="4665663" y="3959225"/>
            <a:ext cx="284162" cy="280988"/>
          </a:xfrm>
          <a:custGeom>
            <a:avLst/>
            <a:gdLst>
              <a:gd name="T0" fmla="*/ 2147483647 w 582"/>
              <a:gd name="T1" fmla="*/ 2147483647 h 574"/>
              <a:gd name="T2" fmla="*/ 2147483647 w 582"/>
              <a:gd name="T3" fmla="*/ 2147483647 h 574"/>
              <a:gd name="T4" fmla="*/ 2147483647 w 582"/>
              <a:gd name="T5" fmla="*/ 2147483647 h 574"/>
              <a:gd name="T6" fmla="*/ 2147483647 w 582"/>
              <a:gd name="T7" fmla="*/ 2147483647 h 574"/>
              <a:gd name="T8" fmla="*/ 2147483647 w 582"/>
              <a:gd name="T9" fmla="*/ 2147483647 h 574"/>
              <a:gd name="T10" fmla="*/ 0 w 582"/>
              <a:gd name="T11" fmla="*/ 2147483647 h 574"/>
              <a:gd name="T12" fmla="*/ 2147483647 w 582"/>
              <a:gd name="T13" fmla="*/ 2147483647 h 574"/>
              <a:gd name="T14" fmla="*/ 2147483647 w 582"/>
              <a:gd name="T15" fmla="*/ 2147483647 h 574"/>
              <a:gd name="T16" fmla="*/ 2147483647 w 582"/>
              <a:gd name="T17" fmla="*/ 2147483647 h 574"/>
              <a:gd name="T18" fmla="*/ 2147483647 w 582"/>
              <a:gd name="T19" fmla="*/ 2147483647 h 574"/>
              <a:gd name="T20" fmla="*/ 2147483647 w 582"/>
              <a:gd name="T21" fmla="*/ 2147483647 h 574"/>
              <a:gd name="T22" fmla="*/ 2147483647 w 582"/>
              <a:gd name="T23" fmla="*/ 2147483647 h 574"/>
              <a:gd name="T24" fmla="*/ 2147483647 w 582"/>
              <a:gd name="T25" fmla="*/ 2147483647 h 574"/>
              <a:gd name="T26" fmla="*/ 2147483647 w 582"/>
              <a:gd name="T27" fmla="*/ 2147483647 h 574"/>
              <a:gd name="T28" fmla="*/ 2147483647 w 582"/>
              <a:gd name="T29" fmla="*/ 2147483647 h 574"/>
              <a:gd name="T30" fmla="*/ 2147483647 w 582"/>
              <a:gd name="T31" fmla="*/ 2147483647 h 574"/>
              <a:gd name="T32" fmla="*/ 2147483647 w 582"/>
              <a:gd name="T33" fmla="*/ 2147483647 h 574"/>
              <a:gd name="T34" fmla="*/ 2147483647 w 582"/>
              <a:gd name="T35" fmla="*/ 0 h 574"/>
              <a:gd name="T36" fmla="*/ 2147483647 w 582"/>
              <a:gd name="T37" fmla="*/ 2147483647 h 574"/>
              <a:gd name="T38" fmla="*/ 2147483647 w 582"/>
              <a:gd name="T39" fmla="*/ 2147483647 h 574"/>
              <a:gd name="T40" fmla="*/ 2147483647 w 582"/>
              <a:gd name="T41" fmla="*/ 2147483647 h 574"/>
              <a:gd name="T42" fmla="*/ 2147483647 w 582"/>
              <a:gd name="T43" fmla="*/ 2147483647 h 574"/>
              <a:gd name="T44" fmla="*/ 2147483647 w 582"/>
              <a:gd name="T45" fmla="*/ 2147483647 h 574"/>
              <a:gd name="T46" fmla="*/ 2147483647 w 582"/>
              <a:gd name="T47" fmla="*/ 2147483647 h 574"/>
              <a:gd name="T48" fmla="*/ 2147483647 w 582"/>
              <a:gd name="T49" fmla="*/ 2147483647 h 574"/>
              <a:gd name="T50" fmla="*/ 2147483647 w 582"/>
              <a:gd name="T51" fmla="*/ 2147483647 h 574"/>
              <a:gd name="T52" fmla="*/ 2147483647 w 582"/>
              <a:gd name="T53" fmla="*/ 2147483647 h 574"/>
              <a:gd name="T54" fmla="*/ 2147483647 w 582"/>
              <a:gd name="T55" fmla="*/ 2147483647 h 574"/>
              <a:gd name="T56" fmla="*/ 2147483647 w 582"/>
              <a:gd name="T57" fmla="*/ 2147483647 h 574"/>
              <a:gd name="T58" fmla="*/ 2147483647 w 582"/>
              <a:gd name="T59" fmla="*/ 2147483647 h 574"/>
              <a:gd name="T60" fmla="*/ 2147483647 w 582"/>
              <a:gd name="T61" fmla="*/ 2147483647 h 574"/>
              <a:gd name="T62" fmla="*/ 2147483647 w 582"/>
              <a:gd name="T63" fmla="*/ 2147483647 h 574"/>
              <a:gd name="T64" fmla="*/ 2147483647 w 582"/>
              <a:gd name="T65" fmla="*/ 2147483647 h 574"/>
              <a:gd name="T66" fmla="*/ 2147483647 w 582"/>
              <a:gd name="T67" fmla="*/ 2147483647 h 574"/>
              <a:gd name="T68" fmla="*/ 2147483647 w 582"/>
              <a:gd name="T69" fmla="*/ 2147483647 h 574"/>
              <a:gd name="T70" fmla="*/ 2147483647 w 582"/>
              <a:gd name="T71" fmla="*/ 2147483647 h 574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582"/>
              <a:gd name="T109" fmla="*/ 0 h 574"/>
              <a:gd name="T110" fmla="*/ 582 w 582"/>
              <a:gd name="T111" fmla="*/ 574 h 574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582" h="574">
                <a:moveTo>
                  <a:pt x="310" y="540"/>
                </a:moveTo>
                <a:lnTo>
                  <a:pt x="260" y="540"/>
                </a:lnTo>
                <a:lnTo>
                  <a:pt x="207" y="540"/>
                </a:lnTo>
                <a:lnTo>
                  <a:pt x="156" y="540"/>
                </a:lnTo>
                <a:lnTo>
                  <a:pt x="105" y="540"/>
                </a:lnTo>
                <a:lnTo>
                  <a:pt x="78" y="518"/>
                </a:lnTo>
                <a:lnTo>
                  <a:pt x="71" y="518"/>
                </a:lnTo>
                <a:lnTo>
                  <a:pt x="51" y="518"/>
                </a:lnTo>
                <a:lnTo>
                  <a:pt x="29" y="532"/>
                </a:lnTo>
                <a:lnTo>
                  <a:pt x="20" y="526"/>
                </a:lnTo>
                <a:lnTo>
                  <a:pt x="2" y="539"/>
                </a:lnTo>
                <a:lnTo>
                  <a:pt x="0" y="506"/>
                </a:lnTo>
                <a:lnTo>
                  <a:pt x="5" y="515"/>
                </a:lnTo>
                <a:lnTo>
                  <a:pt x="5" y="472"/>
                </a:lnTo>
                <a:lnTo>
                  <a:pt x="12" y="466"/>
                </a:lnTo>
                <a:lnTo>
                  <a:pt x="20" y="438"/>
                </a:lnTo>
                <a:lnTo>
                  <a:pt x="36" y="371"/>
                </a:lnTo>
                <a:lnTo>
                  <a:pt x="45" y="350"/>
                </a:lnTo>
                <a:lnTo>
                  <a:pt x="58" y="337"/>
                </a:lnTo>
                <a:lnTo>
                  <a:pt x="58" y="327"/>
                </a:lnTo>
                <a:lnTo>
                  <a:pt x="75" y="319"/>
                </a:lnTo>
                <a:lnTo>
                  <a:pt x="90" y="299"/>
                </a:lnTo>
                <a:lnTo>
                  <a:pt x="96" y="277"/>
                </a:lnTo>
                <a:lnTo>
                  <a:pt x="99" y="243"/>
                </a:lnTo>
                <a:lnTo>
                  <a:pt x="102" y="235"/>
                </a:lnTo>
                <a:lnTo>
                  <a:pt x="99" y="220"/>
                </a:lnTo>
                <a:lnTo>
                  <a:pt x="78" y="195"/>
                </a:lnTo>
                <a:lnTo>
                  <a:pt x="68" y="156"/>
                </a:lnTo>
                <a:lnTo>
                  <a:pt x="78" y="139"/>
                </a:lnTo>
                <a:lnTo>
                  <a:pt x="75" y="114"/>
                </a:lnTo>
                <a:lnTo>
                  <a:pt x="56" y="58"/>
                </a:lnTo>
                <a:lnTo>
                  <a:pt x="33" y="20"/>
                </a:lnTo>
                <a:lnTo>
                  <a:pt x="78" y="2"/>
                </a:lnTo>
                <a:lnTo>
                  <a:pt x="112" y="2"/>
                </a:lnTo>
                <a:lnTo>
                  <a:pt x="146" y="0"/>
                </a:lnTo>
                <a:lnTo>
                  <a:pt x="180" y="0"/>
                </a:lnTo>
                <a:lnTo>
                  <a:pt x="215" y="0"/>
                </a:lnTo>
                <a:lnTo>
                  <a:pt x="231" y="14"/>
                </a:lnTo>
                <a:lnTo>
                  <a:pt x="246" y="70"/>
                </a:lnTo>
                <a:lnTo>
                  <a:pt x="274" y="104"/>
                </a:lnTo>
                <a:lnTo>
                  <a:pt x="285" y="107"/>
                </a:lnTo>
                <a:lnTo>
                  <a:pt x="325" y="99"/>
                </a:lnTo>
                <a:lnTo>
                  <a:pt x="356" y="101"/>
                </a:lnTo>
                <a:lnTo>
                  <a:pt x="367" y="54"/>
                </a:lnTo>
                <a:lnTo>
                  <a:pt x="424" y="50"/>
                </a:lnTo>
                <a:lnTo>
                  <a:pt x="424" y="68"/>
                </a:lnTo>
                <a:lnTo>
                  <a:pt x="464" y="68"/>
                </a:lnTo>
                <a:lnTo>
                  <a:pt x="469" y="79"/>
                </a:lnTo>
                <a:lnTo>
                  <a:pt x="475" y="142"/>
                </a:lnTo>
                <a:lnTo>
                  <a:pt x="471" y="168"/>
                </a:lnTo>
                <a:lnTo>
                  <a:pt x="484" y="220"/>
                </a:lnTo>
                <a:lnTo>
                  <a:pt x="480" y="246"/>
                </a:lnTo>
                <a:lnTo>
                  <a:pt x="493" y="254"/>
                </a:lnTo>
                <a:lnTo>
                  <a:pt x="503" y="241"/>
                </a:lnTo>
                <a:lnTo>
                  <a:pt x="532" y="240"/>
                </a:lnTo>
                <a:lnTo>
                  <a:pt x="565" y="240"/>
                </a:lnTo>
                <a:lnTo>
                  <a:pt x="574" y="234"/>
                </a:lnTo>
                <a:lnTo>
                  <a:pt x="577" y="240"/>
                </a:lnTo>
                <a:lnTo>
                  <a:pt x="569" y="324"/>
                </a:lnTo>
                <a:lnTo>
                  <a:pt x="582" y="334"/>
                </a:lnTo>
                <a:lnTo>
                  <a:pt x="548" y="334"/>
                </a:lnTo>
                <a:lnTo>
                  <a:pt x="514" y="334"/>
                </a:lnTo>
                <a:lnTo>
                  <a:pt x="481" y="334"/>
                </a:lnTo>
                <a:lnTo>
                  <a:pt x="481" y="368"/>
                </a:lnTo>
                <a:lnTo>
                  <a:pt x="481" y="402"/>
                </a:lnTo>
                <a:lnTo>
                  <a:pt x="481" y="449"/>
                </a:lnTo>
                <a:lnTo>
                  <a:pt x="483" y="503"/>
                </a:lnTo>
                <a:lnTo>
                  <a:pt x="535" y="552"/>
                </a:lnTo>
                <a:lnTo>
                  <a:pt x="454" y="574"/>
                </a:lnTo>
                <a:lnTo>
                  <a:pt x="390" y="560"/>
                </a:lnTo>
                <a:lnTo>
                  <a:pt x="344" y="562"/>
                </a:lnTo>
                <a:lnTo>
                  <a:pt x="328" y="557"/>
                </a:lnTo>
                <a:lnTo>
                  <a:pt x="310" y="540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36" name="Freeform 125"/>
          <p:cNvSpPr>
            <a:spLocks noChangeAspect="1"/>
          </p:cNvSpPr>
          <p:nvPr/>
        </p:nvSpPr>
        <p:spPr bwMode="gray">
          <a:xfrm>
            <a:off x="4968875" y="4181475"/>
            <a:ext cx="179388" cy="165100"/>
          </a:xfrm>
          <a:custGeom>
            <a:avLst/>
            <a:gdLst>
              <a:gd name="T0" fmla="*/ 2147483647 w 361"/>
              <a:gd name="T1" fmla="*/ 2147483647 h 342"/>
              <a:gd name="T2" fmla="*/ 2147483647 w 361"/>
              <a:gd name="T3" fmla="*/ 2147483647 h 342"/>
              <a:gd name="T4" fmla="*/ 2147483647 w 361"/>
              <a:gd name="T5" fmla="*/ 2147483647 h 342"/>
              <a:gd name="T6" fmla="*/ 2147483647 w 361"/>
              <a:gd name="T7" fmla="*/ 2147483647 h 342"/>
              <a:gd name="T8" fmla="*/ 2147483647 w 361"/>
              <a:gd name="T9" fmla="*/ 2147483647 h 342"/>
              <a:gd name="T10" fmla="*/ 2147483647 w 361"/>
              <a:gd name="T11" fmla="*/ 2147483647 h 342"/>
              <a:gd name="T12" fmla="*/ 2147483647 w 361"/>
              <a:gd name="T13" fmla="*/ 2147483647 h 342"/>
              <a:gd name="T14" fmla="*/ 2147483647 w 361"/>
              <a:gd name="T15" fmla="*/ 2147483647 h 342"/>
              <a:gd name="T16" fmla="*/ 2147483647 w 361"/>
              <a:gd name="T17" fmla="*/ 2147483647 h 342"/>
              <a:gd name="T18" fmla="*/ 2147483647 w 361"/>
              <a:gd name="T19" fmla="*/ 2147483647 h 342"/>
              <a:gd name="T20" fmla="*/ 2147483647 w 361"/>
              <a:gd name="T21" fmla="*/ 2147483647 h 342"/>
              <a:gd name="T22" fmla="*/ 2147483647 w 361"/>
              <a:gd name="T23" fmla="*/ 0 h 342"/>
              <a:gd name="T24" fmla="*/ 2147483647 w 361"/>
              <a:gd name="T25" fmla="*/ 2147483647 h 342"/>
              <a:gd name="T26" fmla="*/ 2147483647 w 361"/>
              <a:gd name="T27" fmla="*/ 2147483647 h 342"/>
              <a:gd name="T28" fmla="*/ 2147483647 w 361"/>
              <a:gd name="T29" fmla="*/ 2147483647 h 342"/>
              <a:gd name="T30" fmla="*/ 2147483647 w 361"/>
              <a:gd name="T31" fmla="*/ 2147483647 h 342"/>
              <a:gd name="T32" fmla="*/ 2147483647 w 361"/>
              <a:gd name="T33" fmla="*/ 2147483647 h 342"/>
              <a:gd name="T34" fmla="*/ 2147483647 w 361"/>
              <a:gd name="T35" fmla="*/ 2147483647 h 342"/>
              <a:gd name="T36" fmla="*/ 2147483647 w 361"/>
              <a:gd name="T37" fmla="*/ 2147483647 h 342"/>
              <a:gd name="T38" fmla="*/ 2147483647 w 361"/>
              <a:gd name="T39" fmla="*/ 2147483647 h 342"/>
              <a:gd name="T40" fmla="*/ 2147483647 w 361"/>
              <a:gd name="T41" fmla="*/ 2147483647 h 342"/>
              <a:gd name="T42" fmla="*/ 2147483647 w 361"/>
              <a:gd name="T43" fmla="*/ 2147483647 h 342"/>
              <a:gd name="T44" fmla="*/ 2147483647 w 361"/>
              <a:gd name="T45" fmla="*/ 2147483647 h 342"/>
              <a:gd name="T46" fmla="*/ 2147483647 w 361"/>
              <a:gd name="T47" fmla="*/ 2147483647 h 342"/>
              <a:gd name="T48" fmla="*/ 2147483647 w 361"/>
              <a:gd name="T49" fmla="*/ 2147483647 h 342"/>
              <a:gd name="T50" fmla="*/ 2147483647 w 361"/>
              <a:gd name="T51" fmla="*/ 2147483647 h 342"/>
              <a:gd name="T52" fmla="*/ 2147483647 w 361"/>
              <a:gd name="T53" fmla="*/ 2147483647 h 342"/>
              <a:gd name="T54" fmla="*/ 2147483647 w 361"/>
              <a:gd name="T55" fmla="*/ 2147483647 h 342"/>
              <a:gd name="T56" fmla="*/ 2147483647 w 361"/>
              <a:gd name="T57" fmla="*/ 2147483647 h 342"/>
              <a:gd name="T58" fmla="*/ 2147483647 w 361"/>
              <a:gd name="T59" fmla="*/ 2147483647 h 342"/>
              <a:gd name="T60" fmla="*/ 2147483647 w 361"/>
              <a:gd name="T61" fmla="*/ 2147483647 h 342"/>
              <a:gd name="T62" fmla="*/ 2147483647 w 361"/>
              <a:gd name="T63" fmla="*/ 2147483647 h 342"/>
              <a:gd name="T64" fmla="*/ 2147483647 w 361"/>
              <a:gd name="T65" fmla="*/ 2147483647 h 342"/>
              <a:gd name="T66" fmla="*/ 2147483647 w 361"/>
              <a:gd name="T67" fmla="*/ 2147483647 h 342"/>
              <a:gd name="T68" fmla="*/ 2147483647 w 361"/>
              <a:gd name="T69" fmla="*/ 2147483647 h 342"/>
              <a:gd name="T70" fmla="*/ 2147483647 w 361"/>
              <a:gd name="T71" fmla="*/ 2147483647 h 342"/>
              <a:gd name="T72" fmla="*/ 2147483647 w 361"/>
              <a:gd name="T73" fmla="*/ 2147483647 h 342"/>
              <a:gd name="T74" fmla="*/ 2147483647 w 361"/>
              <a:gd name="T75" fmla="*/ 2147483647 h 342"/>
              <a:gd name="T76" fmla="*/ 2147483647 w 361"/>
              <a:gd name="T77" fmla="*/ 2147483647 h 342"/>
              <a:gd name="T78" fmla="*/ 0 w 361"/>
              <a:gd name="T79" fmla="*/ 2147483647 h 342"/>
              <a:gd name="T80" fmla="*/ 2147483647 w 361"/>
              <a:gd name="T81" fmla="*/ 2147483647 h 342"/>
              <a:gd name="T82" fmla="*/ 2147483647 w 361"/>
              <a:gd name="T83" fmla="*/ 2147483647 h 342"/>
              <a:gd name="T84" fmla="*/ 2147483647 w 361"/>
              <a:gd name="T85" fmla="*/ 2147483647 h 342"/>
              <a:gd name="T86" fmla="*/ 2147483647 w 361"/>
              <a:gd name="T87" fmla="*/ 2147483647 h 342"/>
              <a:gd name="T88" fmla="*/ 2147483647 w 361"/>
              <a:gd name="T89" fmla="*/ 2147483647 h 342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361"/>
              <a:gd name="T136" fmla="*/ 0 h 342"/>
              <a:gd name="T137" fmla="*/ 361 w 361"/>
              <a:gd name="T138" fmla="*/ 342 h 342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361" h="342">
                <a:moveTo>
                  <a:pt x="83" y="109"/>
                </a:moveTo>
                <a:lnTo>
                  <a:pt x="95" y="104"/>
                </a:lnTo>
                <a:lnTo>
                  <a:pt x="115" y="83"/>
                </a:lnTo>
                <a:lnTo>
                  <a:pt x="132" y="73"/>
                </a:lnTo>
                <a:lnTo>
                  <a:pt x="133" y="64"/>
                </a:lnTo>
                <a:lnTo>
                  <a:pt x="150" y="58"/>
                </a:lnTo>
                <a:lnTo>
                  <a:pt x="164" y="61"/>
                </a:lnTo>
                <a:lnTo>
                  <a:pt x="172" y="52"/>
                </a:lnTo>
                <a:lnTo>
                  <a:pt x="161" y="45"/>
                </a:lnTo>
                <a:lnTo>
                  <a:pt x="163" y="39"/>
                </a:lnTo>
                <a:lnTo>
                  <a:pt x="164" y="19"/>
                </a:lnTo>
                <a:lnTo>
                  <a:pt x="210" y="0"/>
                </a:lnTo>
                <a:lnTo>
                  <a:pt x="223" y="5"/>
                </a:lnTo>
                <a:lnTo>
                  <a:pt x="237" y="2"/>
                </a:lnTo>
                <a:lnTo>
                  <a:pt x="237" y="16"/>
                </a:lnTo>
                <a:lnTo>
                  <a:pt x="285" y="20"/>
                </a:lnTo>
                <a:lnTo>
                  <a:pt x="345" y="44"/>
                </a:lnTo>
                <a:lnTo>
                  <a:pt x="354" y="50"/>
                </a:lnTo>
                <a:lnTo>
                  <a:pt x="361" y="90"/>
                </a:lnTo>
                <a:lnTo>
                  <a:pt x="361" y="129"/>
                </a:lnTo>
                <a:lnTo>
                  <a:pt x="348" y="164"/>
                </a:lnTo>
                <a:lnTo>
                  <a:pt x="356" y="211"/>
                </a:lnTo>
                <a:lnTo>
                  <a:pt x="320" y="298"/>
                </a:lnTo>
                <a:lnTo>
                  <a:pt x="299" y="318"/>
                </a:lnTo>
                <a:lnTo>
                  <a:pt x="294" y="342"/>
                </a:lnTo>
                <a:lnTo>
                  <a:pt x="278" y="327"/>
                </a:lnTo>
                <a:lnTo>
                  <a:pt x="261" y="321"/>
                </a:lnTo>
                <a:lnTo>
                  <a:pt x="229" y="321"/>
                </a:lnTo>
                <a:lnTo>
                  <a:pt x="201" y="313"/>
                </a:lnTo>
                <a:lnTo>
                  <a:pt x="193" y="316"/>
                </a:lnTo>
                <a:lnTo>
                  <a:pt x="163" y="301"/>
                </a:lnTo>
                <a:lnTo>
                  <a:pt x="141" y="299"/>
                </a:lnTo>
                <a:lnTo>
                  <a:pt x="127" y="288"/>
                </a:lnTo>
                <a:lnTo>
                  <a:pt x="119" y="242"/>
                </a:lnTo>
                <a:lnTo>
                  <a:pt x="79" y="211"/>
                </a:lnTo>
                <a:lnTo>
                  <a:pt x="67" y="208"/>
                </a:lnTo>
                <a:lnTo>
                  <a:pt x="41" y="183"/>
                </a:lnTo>
                <a:lnTo>
                  <a:pt x="22" y="146"/>
                </a:lnTo>
                <a:lnTo>
                  <a:pt x="3" y="118"/>
                </a:lnTo>
                <a:lnTo>
                  <a:pt x="0" y="106"/>
                </a:lnTo>
                <a:lnTo>
                  <a:pt x="34" y="113"/>
                </a:lnTo>
                <a:lnTo>
                  <a:pt x="59" y="110"/>
                </a:lnTo>
                <a:lnTo>
                  <a:pt x="68" y="117"/>
                </a:lnTo>
                <a:lnTo>
                  <a:pt x="78" y="115"/>
                </a:lnTo>
                <a:lnTo>
                  <a:pt x="83" y="109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37" name="Freeform 126"/>
          <p:cNvSpPr>
            <a:spLocks noChangeAspect="1"/>
          </p:cNvSpPr>
          <p:nvPr/>
        </p:nvSpPr>
        <p:spPr bwMode="gray">
          <a:xfrm>
            <a:off x="4852988" y="4232275"/>
            <a:ext cx="211137" cy="217488"/>
          </a:xfrm>
          <a:custGeom>
            <a:avLst/>
            <a:gdLst>
              <a:gd name="T0" fmla="*/ 2147483647 w 437"/>
              <a:gd name="T1" fmla="*/ 2147483647 h 449"/>
              <a:gd name="T2" fmla="*/ 2147483647 w 437"/>
              <a:gd name="T3" fmla="*/ 2147483647 h 449"/>
              <a:gd name="T4" fmla="*/ 2147483647 w 437"/>
              <a:gd name="T5" fmla="*/ 2147483647 h 449"/>
              <a:gd name="T6" fmla="*/ 2147483647 w 437"/>
              <a:gd name="T7" fmla="*/ 2147483647 h 449"/>
              <a:gd name="T8" fmla="*/ 2147483647 w 437"/>
              <a:gd name="T9" fmla="*/ 2147483647 h 449"/>
              <a:gd name="T10" fmla="*/ 2147483647 w 437"/>
              <a:gd name="T11" fmla="*/ 2147483647 h 449"/>
              <a:gd name="T12" fmla="*/ 2147483647 w 437"/>
              <a:gd name="T13" fmla="*/ 2147483647 h 449"/>
              <a:gd name="T14" fmla="*/ 2147483647 w 437"/>
              <a:gd name="T15" fmla="*/ 2147483647 h 449"/>
              <a:gd name="T16" fmla="*/ 2147483647 w 437"/>
              <a:gd name="T17" fmla="*/ 2147483647 h 449"/>
              <a:gd name="T18" fmla="*/ 2147483647 w 437"/>
              <a:gd name="T19" fmla="*/ 2147483647 h 449"/>
              <a:gd name="T20" fmla="*/ 2147483647 w 437"/>
              <a:gd name="T21" fmla="*/ 2147483647 h 449"/>
              <a:gd name="T22" fmla="*/ 2147483647 w 437"/>
              <a:gd name="T23" fmla="*/ 0 h 449"/>
              <a:gd name="T24" fmla="*/ 2147483647 w 437"/>
              <a:gd name="T25" fmla="*/ 2147483647 h 449"/>
              <a:gd name="T26" fmla="*/ 2147483647 w 437"/>
              <a:gd name="T27" fmla="*/ 2147483647 h 449"/>
              <a:gd name="T28" fmla="*/ 2147483647 w 437"/>
              <a:gd name="T29" fmla="*/ 2147483647 h 449"/>
              <a:gd name="T30" fmla="*/ 2147483647 w 437"/>
              <a:gd name="T31" fmla="*/ 2147483647 h 449"/>
              <a:gd name="T32" fmla="*/ 2147483647 w 437"/>
              <a:gd name="T33" fmla="*/ 2147483647 h 449"/>
              <a:gd name="T34" fmla="*/ 2147483647 w 437"/>
              <a:gd name="T35" fmla="*/ 2147483647 h 449"/>
              <a:gd name="T36" fmla="*/ 2147483647 w 437"/>
              <a:gd name="T37" fmla="*/ 2147483647 h 449"/>
              <a:gd name="T38" fmla="*/ 2147483647 w 437"/>
              <a:gd name="T39" fmla="*/ 2147483647 h 449"/>
              <a:gd name="T40" fmla="*/ 2147483647 w 437"/>
              <a:gd name="T41" fmla="*/ 2147483647 h 449"/>
              <a:gd name="T42" fmla="*/ 2147483647 w 437"/>
              <a:gd name="T43" fmla="*/ 2147483647 h 449"/>
              <a:gd name="T44" fmla="*/ 2147483647 w 437"/>
              <a:gd name="T45" fmla="*/ 2147483647 h 449"/>
              <a:gd name="T46" fmla="*/ 0 w 437"/>
              <a:gd name="T47" fmla="*/ 2147483647 h 449"/>
              <a:gd name="T48" fmla="*/ 0 w 437"/>
              <a:gd name="T49" fmla="*/ 2147483647 h 449"/>
              <a:gd name="T50" fmla="*/ 0 w 437"/>
              <a:gd name="T51" fmla="*/ 2147483647 h 449"/>
              <a:gd name="T52" fmla="*/ 2147483647 w 437"/>
              <a:gd name="T53" fmla="*/ 2147483647 h 449"/>
              <a:gd name="T54" fmla="*/ 2147483647 w 437"/>
              <a:gd name="T55" fmla="*/ 2147483647 h 449"/>
              <a:gd name="T56" fmla="*/ 2147483647 w 437"/>
              <a:gd name="T57" fmla="*/ 2147483647 h 449"/>
              <a:gd name="T58" fmla="*/ 2147483647 w 437"/>
              <a:gd name="T59" fmla="*/ 2147483647 h 449"/>
              <a:gd name="T60" fmla="*/ 2147483647 w 437"/>
              <a:gd name="T61" fmla="*/ 2147483647 h 449"/>
              <a:gd name="T62" fmla="*/ 2147483647 w 437"/>
              <a:gd name="T63" fmla="*/ 2147483647 h 449"/>
              <a:gd name="T64" fmla="*/ 2147483647 w 437"/>
              <a:gd name="T65" fmla="*/ 2147483647 h 449"/>
              <a:gd name="T66" fmla="*/ 2147483647 w 437"/>
              <a:gd name="T67" fmla="*/ 2147483647 h 449"/>
              <a:gd name="T68" fmla="*/ 2147483647 w 437"/>
              <a:gd name="T69" fmla="*/ 2147483647 h 449"/>
              <a:gd name="T70" fmla="*/ 2147483647 w 437"/>
              <a:gd name="T71" fmla="*/ 2147483647 h 449"/>
              <a:gd name="T72" fmla="*/ 2147483647 w 437"/>
              <a:gd name="T73" fmla="*/ 2147483647 h 449"/>
              <a:gd name="T74" fmla="*/ 2147483647 w 437"/>
              <a:gd name="T75" fmla="*/ 2147483647 h 449"/>
              <a:gd name="T76" fmla="*/ 2147483647 w 437"/>
              <a:gd name="T77" fmla="*/ 2147483647 h 449"/>
              <a:gd name="T78" fmla="*/ 2147483647 w 437"/>
              <a:gd name="T79" fmla="*/ 2147483647 h 449"/>
              <a:gd name="T80" fmla="*/ 2147483647 w 437"/>
              <a:gd name="T81" fmla="*/ 2147483647 h 449"/>
              <a:gd name="T82" fmla="*/ 2147483647 w 437"/>
              <a:gd name="T83" fmla="*/ 2147483647 h 449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437"/>
              <a:gd name="T127" fmla="*/ 0 h 449"/>
              <a:gd name="T128" fmla="*/ 437 w 437"/>
              <a:gd name="T129" fmla="*/ 449 h 449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437" h="449">
                <a:moveTo>
                  <a:pt x="437" y="212"/>
                </a:moveTo>
                <a:lnTo>
                  <a:pt x="407" y="197"/>
                </a:lnTo>
                <a:lnTo>
                  <a:pt x="385" y="195"/>
                </a:lnTo>
                <a:lnTo>
                  <a:pt x="371" y="184"/>
                </a:lnTo>
                <a:lnTo>
                  <a:pt x="363" y="138"/>
                </a:lnTo>
                <a:lnTo>
                  <a:pt x="323" y="107"/>
                </a:lnTo>
                <a:lnTo>
                  <a:pt x="311" y="104"/>
                </a:lnTo>
                <a:lnTo>
                  <a:pt x="285" y="79"/>
                </a:lnTo>
                <a:lnTo>
                  <a:pt x="266" y="42"/>
                </a:lnTo>
                <a:lnTo>
                  <a:pt x="247" y="14"/>
                </a:lnTo>
                <a:lnTo>
                  <a:pt x="244" y="2"/>
                </a:lnTo>
                <a:lnTo>
                  <a:pt x="229" y="0"/>
                </a:lnTo>
                <a:lnTo>
                  <a:pt x="219" y="9"/>
                </a:lnTo>
                <a:lnTo>
                  <a:pt x="196" y="16"/>
                </a:lnTo>
                <a:lnTo>
                  <a:pt x="170" y="42"/>
                </a:lnTo>
                <a:lnTo>
                  <a:pt x="161" y="19"/>
                </a:lnTo>
                <a:lnTo>
                  <a:pt x="139" y="14"/>
                </a:lnTo>
                <a:lnTo>
                  <a:pt x="48" y="34"/>
                </a:lnTo>
                <a:lnTo>
                  <a:pt x="48" y="81"/>
                </a:lnTo>
                <a:lnTo>
                  <a:pt x="48" y="115"/>
                </a:lnTo>
                <a:lnTo>
                  <a:pt x="48" y="155"/>
                </a:lnTo>
                <a:lnTo>
                  <a:pt x="48" y="204"/>
                </a:lnTo>
                <a:lnTo>
                  <a:pt x="6" y="203"/>
                </a:lnTo>
                <a:lnTo>
                  <a:pt x="0" y="206"/>
                </a:lnTo>
                <a:lnTo>
                  <a:pt x="0" y="277"/>
                </a:lnTo>
                <a:lnTo>
                  <a:pt x="0" y="342"/>
                </a:lnTo>
                <a:lnTo>
                  <a:pt x="43" y="389"/>
                </a:lnTo>
                <a:lnTo>
                  <a:pt x="45" y="407"/>
                </a:lnTo>
                <a:lnTo>
                  <a:pt x="36" y="435"/>
                </a:lnTo>
                <a:lnTo>
                  <a:pt x="40" y="443"/>
                </a:lnTo>
                <a:lnTo>
                  <a:pt x="77" y="449"/>
                </a:lnTo>
                <a:lnTo>
                  <a:pt x="105" y="441"/>
                </a:lnTo>
                <a:lnTo>
                  <a:pt x="159" y="378"/>
                </a:lnTo>
                <a:lnTo>
                  <a:pt x="181" y="376"/>
                </a:lnTo>
                <a:lnTo>
                  <a:pt x="224" y="392"/>
                </a:lnTo>
                <a:lnTo>
                  <a:pt x="260" y="384"/>
                </a:lnTo>
                <a:lnTo>
                  <a:pt x="277" y="350"/>
                </a:lnTo>
                <a:lnTo>
                  <a:pt x="312" y="317"/>
                </a:lnTo>
                <a:lnTo>
                  <a:pt x="327" y="297"/>
                </a:lnTo>
                <a:lnTo>
                  <a:pt x="352" y="266"/>
                </a:lnTo>
                <a:lnTo>
                  <a:pt x="383" y="243"/>
                </a:lnTo>
                <a:lnTo>
                  <a:pt x="437" y="212"/>
                </a:lnTo>
                <a:close/>
              </a:path>
            </a:pathLst>
          </a:custGeom>
          <a:solidFill>
            <a:srgbClr val="DFAA75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38" name="Freeform 127"/>
          <p:cNvSpPr>
            <a:spLocks noChangeAspect="1"/>
          </p:cNvSpPr>
          <p:nvPr/>
        </p:nvSpPr>
        <p:spPr bwMode="gray">
          <a:xfrm>
            <a:off x="4667250" y="4210050"/>
            <a:ext cx="301625" cy="295275"/>
          </a:xfrm>
          <a:custGeom>
            <a:avLst/>
            <a:gdLst>
              <a:gd name="T0" fmla="*/ 2147483647 w 623"/>
              <a:gd name="T1" fmla="*/ 2147483647 h 605"/>
              <a:gd name="T2" fmla="*/ 2147483647 w 623"/>
              <a:gd name="T3" fmla="*/ 2147483647 h 605"/>
              <a:gd name="T4" fmla="*/ 2147483647 w 623"/>
              <a:gd name="T5" fmla="*/ 2147483647 h 605"/>
              <a:gd name="T6" fmla="*/ 2147483647 w 623"/>
              <a:gd name="T7" fmla="*/ 2147483647 h 605"/>
              <a:gd name="T8" fmla="*/ 2147483647 w 623"/>
              <a:gd name="T9" fmla="*/ 2147483647 h 605"/>
              <a:gd name="T10" fmla="*/ 2147483647 w 623"/>
              <a:gd name="T11" fmla="*/ 0 h 605"/>
              <a:gd name="T12" fmla="*/ 2147483647 w 623"/>
              <a:gd name="T13" fmla="*/ 0 h 605"/>
              <a:gd name="T14" fmla="*/ 2147483647 w 623"/>
              <a:gd name="T15" fmla="*/ 0 h 605"/>
              <a:gd name="T16" fmla="*/ 2147483647 w 623"/>
              <a:gd name="T17" fmla="*/ 2147483647 h 605"/>
              <a:gd name="T18" fmla="*/ 2147483647 w 623"/>
              <a:gd name="T19" fmla="*/ 2147483647 h 605"/>
              <a:gd name="T20" fmla="*/ 0 w 623"/>
              <a:gd name="T21" fmla="*/ 2147483647 h 605"/>
              <a:gd name="T22" fmla="*/ 2147483647 w 623"/>
              <a:gd name="T23" fmla="*/ 2147483647 h 605"/>
              <a:gd name="T24" fmla="*/ 2147483647 w 623"/>
              <a:gd name="T25" fmla="*/ 2147483647 h 605"/>
              <a:gd name="T26" fmla="*/ 2147483647 w 623"/>
              <a:gd name="T27" fmla="*/ 2147483647 h 605"/>
              <a:gd name="T28" fmla="*/ 2147483647 w 623"/>
              <a:gd name="T29" fmla="*/ 2147483647 h 605"/>
              <a:gd name="T30" fmla="*/ 2147483647 w 623"/>
              <a:gd name="T31" fmla="*/ 2147483647 h 605"/>
              <a:gd name="T32" fmla="*/ 2147483647 w 623"/>
              <a:gd name="T33" fmla="*/ 2147483647 h 605"/>
              <a:gd name="T34" fmla="*/ 2147483647 w 623"/>
              <a:gd name="T35" fmla="*/ 2147483647 h 605"/>
              <a:gd name="T36" fmla="*/ 2147483647 w 623"/>
              <a:gd name="T37" fmla="*/ 2147483647 h 605"/>
              <a:gd name="T38" fmla="*/ 2147483647 w 623"/>
              <a:gd name="T39" fmla="*/ 2147483647 h 605"/>
              <a:gd name="T40" fmla="*/ 2147483647 w 623"/>
              <a:gd name="T41" fmla="*/ 2147483647 h 605"/>
              <a:gd name="T42" fmla="*/ 2147483647 w 623"/>
              <a:gd name="T43" fmla="*/ 2147483647 h 605"/>
              <a:gd name="T44" fmla="*/ 2147483647 w 623"/>
              <a:gd name="T45" fmla="*/ 2147483647 h 605"/>
              <a:gd name="T46" fmla="*/ 2147483647 w 623"/>
              <a:gd name="T47" fmla="*/ 2147483647 h 605"/>
              <a:gd name="T48" fmla="*/ 2147483647 w 623"/>
              <a:gd name="T49" fmla="*/ 2147483647 h 605"/>
              <a:gd name="T50" fmla="*/ 2147483647 w 623"/>
              <a:gd name="T51" fmla="*/ 2147483647 h 605"/>
              <a:gd name="T52" fmla="*/ 2147483647 w 623"/>
              <a:gd name="T53" fmla="*/ 2147483647 h 605"/>
              <a:gd name="T54" fmla="*/ 2147483647 w 623"/>
              <a:gd name="T55" fmla="*/ 2147483647 h 605"/>
              <a:gd name="T56" fmla="*/ 2147483647 w 623"/>
              <a:gd name="T57" fmla="*/ 2147483647 h 605"/>
              <a:gd name="T58" fmla="*/ 2147483647 w 623"/>
              <a:gd name="T59" fmla="*/ 2147483647 h 605"/>
              <a:gd name="T60" fmla="*/ 2147483647 w 623"/>
              <a:gd name="T61" fmla="*/ 2147483647 h 605"/>
              <a:gd name="T62" fmla="*/ 2147483647 w 623"/>
              <a:gd name="T63" fmla="*/ 2147483647 h 605"/>
              <a:gd name="T64" fmla="*/ 2147483647 w 623"/>
              <a:gd name="T65" fmla="*/ 2147483647 h 605"/>
              <a:gd name="T66" fmla="*/ 2147483647 w 623"/>
              <a:gd name="T67" fmla="*/ 2147483647 h 605"/>
              <a:gd name="T68" fmla="*/ 2147483647 w 623"/>
              <a:gd name="T69" fmla="*/ 2147483647 h 605"/>
              <a:gd name="T70" fmla="*/ 2147483647 w 623"/>
              <a:gd name="T71" fmla="*/ 2147483647 h 605"/>
              <a:gd name="T72" fmla="*/ 2147483647 w 623"/>
              <a:gd name="T73" fmla="*/ 2147483647 h 605"/>
              <a:gd name="T74" fmla="*/ 2147483647 w 623"/>
              <a:gd name="T75" fmla="*/ 2147483647 h 605"/>
              <a:gd name="T76" fmla="*/ 2147483647 w 623"/>
              <a:gd name="T77" fmla="*/ 2147483647 h 605"/>
              <a:gd name="T78" fmla="*/ 2147483647 w 623"/>
              <a:gd name="T79" fmla="*/ 2147483647 h 605"/>
              <a:gd name="T80" fmla="*/ 2147483647 w 623"/>
              <a:gd name="T81" fmla="*/ 2147483647 h 605"/>
              <a:gd name="T82" fmla="*/ 2147483647 w 623"/>
              <a:gd name="T83" fmla="*/ 2147483647 h 605"/>
              <a:gd name="T84" fmla="*/ 2147483647 w 623"/>
              <a:gd name="T85" fmla="*/ 2147483647 h 605"/>
              <a:gd name="T86" fmla="*/ 2147483647 w 623"/>
              <a:gd name="T87" fmla="*/ 2147483647 h 605"/>
              <a:gd name="T88" fmla="*/ 2147483647 w 623"/>
              <a:gd name="T89" fmla="*/ 2147483647 h 605"/>
              <a:gd name="T90" fmla="*/ 2147483647 w 623"/>
              <a:gd name="T91" fmla="*/ 2147483647 h 605"/>
              <a:gd name="T92" fmla="*/ 2147483647 w 623"/>
              <a:gd name="T93" fmla="*/ 2147483647 h 605"/>
              <a:gd name="T94" fmla="*/ 2147483647 w 623"/>
              <a:gd name="T95" fmla="*/ 2147483647 h 605"/>
              <a:gd name="T96" fmla="*/ 2147483647 w 623"/>
              <a:gd name="T97" fmla="*/ 2147483647 h 605"/>
              <a:gd name="T98" fmla="*/ 2147483647 w 623"/>
              <a:gd name="T99" fmla="*/ 2147483647 h 605"/>
              <a:gd name="T100" fmla="*/ 2147483647 w 623"/>
              <a:gd name="T101" fmla="*/ 2147483647 h 605"/>
              <a:gd name="T102" fmla="*/ 2147483647 w 623"/>
              <a:gd name="T103" fmla="*/ 2147483647 h 605"/>
              <a:gd name="T104" fmla="*/ 2147483647 w 623"/>
              <a:gd name="T105" fmla="*/ 2147483647 h 605"/>
              <a:gd name="T106" fmla="*/ 2147483647 w 623"/>
              <a:gd name="T107" fmla="*/ 2147483647 h 605"/>
              <a:gd name="T108" fmla="*/ 2147483647 w 623"/>
              <a:gd name="T109" fmla="*/ 2147483647 h 605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623"/>
              <a:gd name="T166" fmla="*/ 0 h 605"/>
              <a:gd name="T167" fmla="*/ 623 w 623"/>
              <a:gd name="T168" fmla="*/ 605 h 605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623" h="605">
                <a:moveTo>
                  <a:pt x="308" y="22"/>
                </a:moveTo>
                <a:lnTo>
                  <a:pt x="258" y="22"/>
                </a:lnTo>
                <a:lnTo>
                  <a:pt x="205" y="22"/>
                </a:lnTo>
                <a:lnTo>
                  <a:pt x="154" y="22"/>
                </a:lnTo>
                <a:lnTo>
                  <a:pt x="103" y="22"/>
                </a:lnTo>
                <a:lnTo>
                  <a:pt x="76" y="0"/>
                </a:lnTo>
                <a:lnTo>
                  <a:pt x="69" y="0"/>
                </a:lnTo>
                <a:lnTo>
                  <a:pt x="49" y="0"/>
                </a:lnTo>
                <a:lnTo>
                  <a:pt x="27" y="14"/>
                </a:lnTo>
                <a:lnTo>
                  <a:pt x="18" y="8"/>
                </a:lnTo>
                <a:lnTo>
                  <a:pt x="0" y="21"/>
                </a:lnTo>
                <a:lnTo>
                  <a:pt x="1" y="61"/>
                </a:lnTo>
                <a:lnTo>
                  <a:pt x="46" y="126"/>
                </a:lnTo>
                <a:lnTo>
                  <a:pt x="80" y="200"/>
                </a:lnTo>
                <a:lnTo>
                  <a:pt x="125" y="276"/>
                </a:lnTo>
                <a:lnTo>
                  <a:pt x="127" y="356"/>
                </a:lnTo>
                <a:lnTo>
                  <a:pt x="144" y="400"/>
                </a:lnTo>
                <a:lnTo>
                  <a:pt x="144" y="437"/>
                </a:lnTo>
                <a:lnTo>
                  <a:pt x="162" y="522"/>
                </a:lnTo>
                <a:lnTo>
                  <a:pt x="187" y="557"/>
                </a:lnTo>
                <a:lnTo>
                  <a:pt x="222" y="588"/>
                </a:lnTo>
                <a:lnTo>
                  <a:pt x="230" y="584"/>
                </a:lnTo>
                <a:lnTo>
                  <a:pt x="238" y="570"/>
                </a:lnTo>
                <a:lnTo>
                  <a:pt x="249" y="567"/>
                </a:lnTo>
                <a:lnTo>
                  <a:pt x="271" y="582"/>
                </a:lnTo>
                <a:lnTo>
                  <a:pt x="271" y="595"/>
                </a:lnTo>
                <a:lnTo>
                  <a:pt x="281" y="605"/>
                </a:lnTo>
                <a:lnTo>
                  <a:pt x="340" y="605"/>
                </a:lnTo>
                <a:lnTo>
                  <a:pt x="379" y="579"/>
                </a:lnTo>
                <a:lnTo>
                  <a:pt x="379" y="498"/>
                </a:lnTo>
                <a:lnTo>
                  <a:pt x="379" y="440"/>
                </a:lnTo>
                <a:lnTo>
                  <a:pt x="379" y="384"/>
                </a:lnTo>
                <a:lnTo>
                  <a:pt x="379" y="319"/>
                </a:lnTo>
                <a:lnTo>
                  <a:pt x="379" y="248"/>
                </a:lnTo>
                <a:lnTo>
                  <a:pt x="385" y="245"/>
                </a:lnTo>
                <a:lnTo>
                  <a:pt x="427" y="246"/>
                </a:lnTo>
                <a:lnTo>
                  <a:pt x="427" y="197"/>
                </a:lnTo>
                <a:lnTo>
                  <a:pt x="427" y="155"/>
                </a:lnTo>
                <a:lnTo>
                  <a:pt x="427" y="124"/>
                </a:lnTo>
                <a:lnTo>
                  <a:pt x="427" y="76"/>
                </a:lnTo>
                <a:lnTo>
                  <a:pt x="518" y="56"/>
                </a:lnTo>
                <a:lnTo>
                  <a:pt x="540" y="61"/>
                </a:lnTo>
                <a:lnTo>
                  <a:pt x="549" y="84"/>
                </a:lnTo>
                <a:lnTo>
                  <a:pt x="575" y="58"/>
                </a:lnTo>
                <a:lnTo>
                  <a:pt x="598" y="51"/>
                </a:lnTo>
                <a:lnTo>
                  <a:pt x="608" y="42"/>
                </a:lnTo>
                <a:lnTo>
                  <a:pt x="623" y="44"/>
                </a:lnTo>
                <a:lnTo>
                  <a:pt x="608" y="30"/>
                </a:lnTo>
                <a:lnTo>
                  <a:pt x="575" y="24"/>
                </a:lnTo>
                <a:lnTo>
                  <a:pt x="533" y="34"/>
                </a:lnTo>
                <a:lnTo>
                  <a:pt x="452" y="56"/>
                </a:lnTo>
                <a:lnTo>
                  <a:pt x="388" y="42"/>
                </a:lnTo>
                <a:lnTo>
                  <a:pt x="342" y="44"/>
                </a:lnTo>
                <a:lnTo>
                  <a:pt x="326" y="39"/>
                </a:lnTo>
                <a:lnTo>
                  <a:pt x="308" y="22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39" name="Freeform 128"/>
          <p:cNvSpPr>
            <a:spLocks noChangeAspect="1"/>
          </p:cNvSpPr>
          <p:nvPr/>
        </p:nvSpPr>
        <p:spPr bwMode="gray">
          <a:xfrm>
            <a:off x="5059363" y="3852863"/>
            <a:ext cx="39687" cy="38100"/>
          </a:xfrm>
          <a:custGeom>
            <a:avLst/>
            <a:gdLst>
              <a:gd name="T0" fmla="*/ 2147483647 w 87"/>
              <a:gd name="T1" fmla="*/ 0 h 79"/>
              <a:gd name="T2" fmla="*/ 2147483647 w 87"/>
              <a:gd name="T3" fmla="*/ 2147483647 h 79"/>
              <a:gd name="T4" fmla="*/ 2147483647 w 87"/>
              <a:gd name="T5" fmla="*/ 2147483647 h 79"/>
              <a:gd name="T6" fmla="*/ 2147483647 w 87"/>
              <a:gd name="T7" fmla="*/ 2147483647 h 79"/>
              <a:gd name="T8" fmla="*/ 2147483647 w 87"/>
              <a:gd name="T9" fmla="*/ 2147483647 h 79"/>
              <a:gd name="T10" fmla="*/ 0 w 87"/>
              <a:gd name="T11" fmla="*/ 2147483647 h 79"/>
              <a:gd name="T12" fmla="*/ 2147483647 w 87"/>
              <a:gd name="T13" fmla="*/ 2147483647 h 79"/>
              <a:gd name="T14" fmla="*/ 2147483647 w 87"/>
              <a:gd name="T15" fmla="*/ 2147483647 h 79"/>
              <a:gd name="T16" fmla="*/ 2147483647 w 87"/>
              <a:gd name="T17" fmla="*/ 2147483647 h 79"/>
              <a:gd name="T18" fmla="*/ 2147483647 w 87"/>
              <a:gd name="T19" fmla="*/ 2147483647 h 79"/>
              <a:gd name="T20" fmla="*/ 2147483647 w 87"/>
              <a:gd name="T21" fmla="*/ 2147483647 h 79"/>
              <a:gd name="T22" fmla="*/ 2147483647 w 87"/>
              <a:gd name="T23" fmla="*/ 2147483647 h 79"/>
              <a:gd name="T24" fmla="*/ 2147483647 w 87"/>
              <a:gd name="T25" fmla="*/ 2147483647 h 79"/>
              <a:gd name="T26" fmla="*/ 2147483647 w 87"/>
              <a:gd name="T27" fmla="*/ 2147483647 h 79"/>
              <a:gd name="T28" fmla="*/ 2147483647 w 87"/>
              <a:gd name="T29" fmla="*/ 2147483647 h 79"/>
              <a:gd name="T30" fmla="*/ 2147483647 w 87"/>
              <a:gd name="T31" fmla="*/ 0 h 7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87"/>
              <a:gd name="T49" fmla="*/ 0 h 79"/>
              <a:gd name="T50" fmla="*/ 87 w 87"/>
              <a:gd name="T51" fmla="*/ 79 h 79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87" h="79">
                <a:moveTo>
                  <a:pt x="67" y="0"/>
                </a:moveTo>
                <a:lnTo>
                  <a:pt x="56" y="4"/>
                </a:lnTo>
                <a:lnTo>
                  <a:pt x="48" y="16"/>
                </a:lnTo>
                <a:lnTo>
                  <a:pt x="33" y="13"/>
                </a:lnTo>
                <a:lnTo>
                  <a:pt x="12" y="42"/>
                </a:lnTo>
                <a:lnTo>
                  <a:pt x="0" y="62"/>
                </a:lnTo>
                <a:lnTo>
                  <a:pt x="5" y="76"/>
                </a:lnTo>
                <a:lnTo>
                  <a:pt x="11" y="67"/>
                </a:lnTo>
                <a:lnTo>
                  <a:pt x="16" y="68"/>
                </a:lnTo>
                <a:lnTo>
                  <a:pt x="24" y="79"/>
                </a:lnTo>
                <a:lnTo>
                  <a:pt x="39" y="76"/>
                </a:lnTo>
                <a:lnTo>
                  <a:pt x="46" y="61"/>
                </a:lnTo>
                <a:lnTo>
                  <a:pt x="68" y="59"/>
                </a:lnTo>
                <a:lnTo>
                  <a:pt x="75" y="62"/>
                </a:lnTo>
                <a:lnTo>
                  <a:pt x="87" y="42"/>
                </a:lnTo>
                <a:lnTo>
                  <a:pt x="67" y="0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40" name="Freeform 129"/>
          <p:cNvSpPr>
            <a:spLocks noChangeAspect="1"/>
          </p:cNvSpPr>
          <p:nvPr/>
        </p:nvSpPr>
        <p:spPr bwMode="gray">
          <a:xfrm>
            <a:off x="5060950" y="3881438"/>
            <a:ext cx="38100" cy="46037"/>
          </a:xfrm>
          <a:custGeom>
            <a:avLst/>
            <a:gdLst>
              <a:gd name="T0" fmla="*/ 2147483647 w 79"/>
              <a:gd name="T1" fmla="*/ 2147483647 h 96"/>
              <a:gd name="T2" fmla="*/ 2147483647 w 79"/>
              <a:gd name="T3" fmla="*/ 2147483647 h 96"/>
              <a:gd name="T4" fmla="*/ 2147483647 w 79"/>
              <a:gd name="T5" fmla="*/ 2147483647 h 96"/>
              <a:gd name="T6" fmla="*/ 2147483647 w 79"/>
              <a:gd name="T7" fmla="*/ 2147483647 h 96"/>
              <a:gd name="T8" fmla="*/ 0 w 79"/>
              <a:gd name="T9" fmla="*/ 2147483647 h 96"/>
              <a:gd name="T10" fmla="*/ 2147483647 w 79"/>
              <a:gd name="T11" fmla="*/ 2147483647 h 96"/>
              <a:gd name="T12" fmla="*/ 2147483647 w 79"/>
              <a:gd name="T13" fmla="*/ 2147483647 h 96"/>
              <a:gd name="T14" fmla="*/ 2147483647 w 79"/>
              <a:gd name="T15" fmla="*/ 2147483647 h 96"/>
              <a:gd name="T16" fmla="*/ 2147483647 w 79"/>
              <a:gd name="T17" fmla="*/ 2147483647 h 96"/>
              <a:gd name="T18" fmla="*/ 2147483647 w 79"/>
              <a:gd name="T19" fmla="*/ 2147483647 h 96"/>
              <a:gd name="T20" fmla="*/ 2147483647 w 79"/>
              <a:gd name="T21" fmla="*/ 0 h 96"/>
              <a:gd name="T22" fmla="*/ 2147483647 w 79"/>
              <a:gd name="T23" fmla="*/ 2147483647 h 96"/>
              <a:gd name="T24" fmla="*/ 2147483647 w 79"/>
              <a:gd name="T25" fmla="*/ 2147483647 h 96"/>
              <a:gd name="T26" fmla="*/ 2147483647 w 79"/>
              <a:gd name="T27" fmla="*/ 2147483647 h 96"/>
              <a:gd name="T28" fmla="*/ 2147483647 w 79"/>
              <a:gd name="T29" fmla="*/ 2147483647 h 96"/>
              <a:gd name="T30" fmla="*/ 2147483647 w 79"/>
              <a:gd name="T31" fmla="*/ 2147483647 h 96"/>
              <a:gd name="T32" fmla="*/ 2147483647 w 79"/>
              <a:gd name="T33" fmla="*/ 2147483647 h 96"/>
              <a:gd name="T34" fmla="*/ 2147483647 w 79"/>
              <a:gd name="T35" fmla="*/ 2147483647 h 9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79"/>
              <a:gd name="T55" fmla="*/ 0 h 96"/>
              <a:gd name="T56" fmla="*/ 79 w 79"/>
              <a:gd name="T57" fmla="*/ 96 h 9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79" h="96">
                <a:moveTo>
                  <a:pt x="19" y="96"/>
                </a:moveTo>
                <a:lnTo>
                  <a:pt x="9" y="71"/>
                </a:lnTo>
                <a:lnTo>
                  <a:pt x="9" y="48"/>
                </a:lnTo>
                <a:lnTo>
                  <a:pt x="7" y="28"/>
                </a:lnTo>
                <a:lnTo>
                  <a:pt x="0" y="17"/>
                </a:lnTo>
                <a:lnTo>
                  <a:pt x="6" y="8"/>
                </a:lnTo>
                <a:lnTo>
                  <a:pt x="11" y="9"/>
                </a:lnTo>
                <a:lnTo>
                  <a:pt x="19" y="20"/>
                </a:lnTo>
                <a:lnTo>
                  <a:pt x="34" y="17"/>
                </a:lnTo>
                <a:lnTo>
                  <a:pt x="41" y="2"/>
                </a:lnTo>
                <a:lnTo>
                  <a:pt x="63" y="0"/>
                </a:lnTo>
                <a:lnTo>
                  <a:pt x="70" y="3"/>
                </a:lnTo>
                <a:lnTo>
                  <a:pt x="65" y="19"/>
                </a:lnTo>
                <a:lnTo>
                  <a:pt x="77" y="28"/>
                </a:lnTo>
                <a:lnTo>
                  <a:pt x="79" y="39"/>
                </a:lnTo>
                <a:lnTo>
                  <a:pt x="48" y="88"/>
                </a:lnTo>
                <a:lnTo>
                  <a:pt x="24" y="96"/>
                </a:lnTo>
                <a:lnTo>
                  <a:pt x="19" y="96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41" name="Freeform 130"/>
          <p:cNvSpPr>
            <a:spLocks noChangeAspect="1"/>
          </p:cNvSpPr>
          <p:nvPr/>
        </p:nvSpPr>
        <p:spPr bwMode="gray">
          <a:xfrm>
            <a:off x="4673600" y="3927475"/>
            <a:ext cx="23813" cy="33338"/>
          </a:xfrm>
          <a:custGeom>
            <a:avLst/>
            <a:gdLst>
              <a:gd name="T0" fmla="*/ 2147483647 w 48"/>
              <a:gd name="T1" fmla="*/ 2147483647 h 66"/>
              <a:gd name="T2" fmla="*/ 2147483647 w 48"/>
              <a:gd name="T3" fmla="*/ 2147483647 h 66"/>
              <a:gd name="T4" fmla="*/ 2147483647 w 48"/>
              <a:gd name="T5" fmla="*/ 2147483647 h 66"/>
              <a:gd name="T6" fmla="*/ 0 w 48"/>
              <a:gd name="T7" fmla="*/ 2147483647 h 66"/>
              <a:gd name="T8" fmla="*/ 2147483647 w 48"/>
              <a:gd name="T9" fmla="*/ 2147483647 h 66"/>
              <a:gd name="T10" fmla="*/ 2147483647 w 48"/>
              <a:gd name="T11" fmla="*/ 2147483647 h 66"/>
              <a:gd name="T12" fmla="*/ 2147483647 w 48"/>
              <a:gd name="T13" fmla="*/ 0 h 66"/>
              <a:gd name="T14" fmla="*/ 2147483647 w 48"/>
              <a:gd name="T15" fmla="*/ 2147483647 h 66"/>
              <a:gd name="T16" fmla="*/ 2147483647 w 48"/>
              <a:gd name="T17" fmla="*/ 2147483647 h 66"/>
              <a:gd name="T18" fmla="*/ 2147483647 w 48"/>
              <a:gd name="T19" fmla="*/ 2147483647 h 66"/>
              <a:gd name="T20" fmla="*/ 2147483647 w 48"/>
              <a:gd name="T21" fmla="*/ 2147483647 h 66"/>
              <a:gd name="T22" fmla="*/ 2147483647 w 48"/>
              <a:gd name="T23" fmla="*/ 2147483647 h 6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8"/>
              <a:gd name="T37" fmla="*/ 0 h 66"/>
              <a:gd name="T38" fmla="*/ 48 w 48"/>
              <a:gd name="T39" fmla="*/ 66 h 6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8" h="66">
                <a:moveTo>
                  <a:pt x="16" y="66"/>
                </a:moveTo>
                <a:lnTo>
                  <a:pt x="8" y="61"/>
                </a:lnTo>
                <a:lnTo>
                  <a:pt x="5" y="36"/>
                </a:lnTo>
                <a:lnTo>
                  <a:pt x="0" y="30"/>
                </a:lnTo>
                <a:lnTo>
                  <a:pt x="20" y="17"/>
                </a:lnTo>
                <a:lnTo>
                  <a:pt x="28" y="5"/>
                </a:lnTo>
                <a:lnTo>
                  <a:pt x="36" y="0"/>
                </a:lnTo>
                <a:lnTo>
                  <a:pt x="42" y="4"/>
                </a:lnTo>
                <a:lnTo>
                  <a:pt x="48" y="13"/>
                </a:lnTo>
                <a:lnTo>
                  <a:pt x="29" y="27"/>
                </a:lnTo>
                <a:lnTo>
                  <a:pt x="24" y="63"/>
                </a:lnTo>
                <a:lnTo>
                  <a:pt x="16" y="66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42" name="Freeform 131"/>
          <p:cNvSpPr>
            <a:spLocks noChangeAspect="1"/>
          </p:cNvSpPr>
          <p:nvPr/>
        </p:nvSpPr>
        <p:spPr bwMode="gray">
          <a:xfrm>
            <a:off x="5014913" y="4492625"/>
            <a:ext cx="52387" cy="53975"/>
          </a:xfrm>
          <a:custGeom>
            <a:avLst/>
            <a:gdLst>
              <a:gd name="T0" fmla="*/ 2147483647 w 107"/>
              <a:gd name="T1" fmla="*/ 2147483647 h 110"/>
              <a:gd name="T2" fmla="*/ 2147483647 w 107"/>
              <a:gd name="T3" fmla="*/ 2147483647 h 110"/>
              <a:gd name="T4" fmla="*/ 2147483647 w 107"/>
              <a:gd name="T5" fmla="*/ 2147483647 h 110"/>
              <a:gd name="T6" fmla="*/ 2147483647 w 107"/>
              <a:gd name="T7" fmla="*/ 2147483647 h 110"/>
              <a:gd name="T8" fmla="*/ 2147483647 w 107"/>
              <a:gd name="T9" fmla="*/ 2147483647 h 110"/>
              <a:gd name="T10" fmla="*/ 2147483647 w 107"/>
              <a:gd name="T11" fmla="*/ 2147483647 h 110"/>
              <a:gd name="T12" fmla="*/ 2147483647 w 107"/>
              <a:gd name="T13" fmla="*/ 2147483647 h 110"/>
              <a:gd name="T14" fmla="*/ 0 w 107"/>
              <a:gd name="T15" fmla="*/ 2147483647 h 110"/>
              <a:gd name="T16" fmla="*/ 2147483647 w 107"/>
              <a:gd name="T17" fmla="*/ 2147483647 h 110"/>
              <a:gd name="T18" fmla="*/ 2147483647 w 107"/>
              <a:gd name="T19" fmla="*/ 2147483647 h 110"/>
              <a:gd name="T20" fmla="*/ 2147483647 w 107"/>
              <a:gd name="T21" fmla="*/ 0 h 110"/>
              <a:gd name="T22" fmla="*/ 2147483647 w 107"/>
              <a:gd name="T23" fmla="*/ 2147483647 h 110"/>
              <a:gd name="T24" fmla="*/ 2147483647 w 107"/>
              <a:gd name="T25" fmla="*/ 2147483647 h 110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07"/>
              <a:gd name="T40" fmla="*/ 0 h 110"/>
              <a:gd name="T41" fmla="*/ 107 w 107"/>
              <a:gd name="T42" fmla="*/ 110 h 110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07" h="110">
                <a:moveTo>
                  <a:pt x="107" y="42"/>
                </a:moveTo>
                <a:lnTo>
                  <a:pt x="107" y="49"/>
                </a:lnTo>
                <a:lnTo>
                  <a:pt x="86" y="83"/>
                </a:lnTo>
                <a:lnTo>
                  <a:pt x="63" y="91"/>
                </a:lnTo>
                <a:lnTo>
                  <a:pt x="48" y="108"/>
                </a:lnTo>
                <a:lnTo>
                  <a:pt x="37" y="110"/>
                </a:lnTo>
                <a:lnTo>
                  <a:pt x="20" y="94"/>
                </a:lnTo>
                <a:lnTo>
                  <a:pt x="0" y="60"/>
                </a:lnTo>
                <a:lnTo>
                  <a:pt x="23" y="23"/>
                </a:lnTo>
                <a:lnTo>
                  <a:pt x="59" y="1"/>
                </a:lnTo>
                <a:lnTo>
                  <a:pt x="71" y="0"/>
                </a:lnTo>
                <a:lnTo>
                  <a:pt x="82" y="4"/>
                </a:lnTo>
                <a:lnTo>
                  <a:pt x="107" y="42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43" name="Freeform 132"/>
          <p:cNvSpPr>
            <a:spLocks noChangeAspect="1"/>
          </p:cNvSpPr>
          <p:nvPr/>
        </p:nvSpPr>
        <p:spPr bwMode="gray">
          <a:xfrm>
            <a:off x="5097463" y="4422775"/>
            <a:ext cx="26987" cy="36513"/>
          </a:xfrm>
          <a:custGeom>
            <a:avLst/>
            <a:gdLst>
              <a:gd name="T0" fmla="*/ 2147483647 w 56"/>
              <a:gd name="T1" fmla="*/ 2147483647 h 76"/>
              <a:gd name="T2" fmla="*/ 2147483647 w 56"/>
              <a:gd name="T3" fmla="*/ 2147483647 h 76"/>
              <a:gd name="T4" fmla="*/ 2147483647 w 56"/>
              <a:gd name="T5" fmla="*/ 2147483647 h 76"/>
              <a:gd name="T6" fmla="*/ 2147483647 w 56"/>
              <a:gd name="T7" fmla="*/ 0 h 76"/>
              <a:gd name="T8" fmla="*/ 2147483647 w 56"/>
              <a:gd name="T9" fmla="*/ 2147483647 h 76"/>
              <a:gd name="T10" fmla="*/ 0 w 56"/>
              <a:gd name="T11" fmla="*/ 2147483647 h 76"/>
              <a:gd name="T12" fmla="*/ 2147483647 w 56"/>
              <a:gd name="T13" fmla="*/ 2147483647 h 76"/>
              <a:gd name="T14" fmla="*/ 2147483647 w 56"/>
              <a:gd name="T15" fmla="*/ 2147483647 h 76"/>
              <a:gd name="T16" fmla="*/ 2147483647 w 56"/>
              <a:gd name="T17" fmla="*/ 2147483647 h 76"/>
              <a:gd name="T18" fmla="*/ 2147483647 w 56"/>
              <a:gd name="T19" fmla="*/ 2147483647 h 7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56"/>
              <a:gd name="T31" fmla="*/ 0 h 76"/>
              <a:gd name="T32" fmla="*/ 56 w 56"/>
              <a:gd name="T33" fmla="*/ 76 h 7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56" h="76">
                <a:moveTo>
                  <a:pt x="56" y="52"/>
                </a:moveTo>
                <a:lnTo>
                  <a:pt x="53" y="5"/>
                </a:lnTo>
                <a:lnTo>
                  <a:pt x="47" y="12"/>
                </a:lnTo>
                <a:lnTo>
                  <a:pt x="27" y="0"/>
                </a:lnTo>
                <a:lnTo>
                  <a:pt x="15" y="6"/>
                </a:lnTo>
                <a:lnTo>
                  <a:pt x="0" y="46"/>
                </a:lnTo>
                <a:lnTo>
                  <a:pt x="10" y="72"/>
                </a:lnTo>
                <a:lnTo>
                  <a:pt x="28" y="74"/>
                </a:lnTo>
                <a:lnTo>
                  <a:pt x="40" y="76"/>
                </a:lnTo>
                <a:lnTo>
                  <a:pt x="56" y="52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44" name="Freeform 133"/>
          <p:cNvSpPr>
            <a:spLocks noChangeAspect="1"/>
          </p:cNvSpPr>
          <p:nvPr/>
        </p:nvSpPr>
        <p:spPr bwMode="gray">
          <a:xfrm>
            <a:off x="5075238" y="3738563"/>
            <a:ext cx="119062" cy="122237"/>
          </a:xfrm>
          <a:custGeom>
            <a:avLst/>
            <a:gdLst>
              <a:gd name="T0" fmla="*/ 2147483647 w 244"/>
              <a:gd name="T1" fmla="*/ 2147483647 h 249"/>
              <a:gd name="T2" fmla="*/ 2147483647 w 244"/>
              <a:gd name="T3" fmla="*/ 2147483647 h 249"/>
              <a:gd name="T4" fmla="*/ 2147483647 w 244"/>
              <a:gd name="T5" fmla="*/ 2147483647 h 249"/>
              <a:gd name="T6" fmla="*/ 2147483647 w 244"/>
              <a:gd name="T7" fmla="*/ 2147483647 h 249"/>
              <a:gd name="T8" fmla="*/ 2147483647 w 244"/>
              <a:gd name="T9" fmla="*/ 2147483647 h 249"/>
              <a:gd name="T10" fmla="*/ 2147483647 w 244"/>
              <a:gd name="T11" fmla="*/ 2147483647 h 249"/>
              <a:gd name="T12" fmla="*/ 2147483647 w 244"/>
              <a:gd name="T13" fmla="*/ 2147483647 h 249"/>
              <a:gd name="T14" fmla="*/ 2147483647 w 244"/>
              <a:gd name="T15" fmla="*/ 2147483647 h 249"/>
              <a:gd name="T16" fmla="*/ 2147483647 w 244"/>
              <a:gd name="T17" fmla="*/ 2147483647 h 249"/>
              <a:gd name="T18" fmla="*/ 2147483647 w 244"/>
              <a:gd name="T19" fmla="*/ 2147483647 h 249"/>
              <a:gd name="T20" fmla="*/ 2147483647 w 244"/>
              <a:gd name="T21" fmla="*/ 2147483647 h 249"/>
              <a:gd name="T22" fmla="*/ 2147483647 w 244"/>
              <a:gd name="T23" fmla="*/ 2147483647 h 249"/>
              <a:gd name="T24" fmla="*/ 2147483647 w 244"/>
              <a:gd name="T25" fmla="*/ 2147483647 h 249"/>
              <a:gd name="T26" fmla="*/ 2147483647 w 244"/>
              <a:gd name="T27" fmla="*/ 2147483647 h 249"/>
              <a:gd name="T28" fmla="*/ 2147483647 w 244"/>
              <a:gd name="T29" fmla="*/ 2147483647 h 249"/>
              <a:gd name="T30" fmla="*/ 2147483647 w 244"/>
              <a:gd name="T31" fmla="*/ 2147483647 h 249"/>
              <a:gd name="T32" fmla="*/ 2147483647 w 244"/>
              <a:gd name="T33" fmla="*/ 0 h 249"/>
              <a:gd name="T34" fmla="*/ 2147483647 w 244"/>
              <a:gd name="T35" fmla="*/ 2147483647 h 249"/>
              <a:gd name="T36" fmla="*/ 2147483647 w 244"/>
              <a:gd name="T37" fmla="*/ 2147483647 h 249"/>
              <a:gd name="T38" fmla="*/ 2147483647 w 244"/>
              <a:gd name="T39" fmla="*/ 2147483647 h 249"/>
              <a:gd name="T40" fmla="*/ 2147483647 w 244"/>
              <a:gd name="T41" fmla="*/ 2147483647 h 249"/>
              <a:gd name="T42" fmla="*/ 2147483647 w 244"/>
              <a:gd name="T43" fmla="*/ 2147483647 h 249"/>
              <a:gd name="T44" fmla="*/ 2147483647 w 244"/>
              <a:gd name="T45" fmla="*/ 2147483647 h 249"/>
              <a:gd name="T46" fmla="*/ 2147483647 w 244"/>
              <a:gd name="T47" fmla="*/ 2147483647 h 249"/>
              <a:gd name="T48" fmla="*/ 2147483647 w 244"/>
              <a:gd name="T49" fmla="*/ 2147483647 h 249"/>
              <a:gd name="T50" fmla="*/ 2147483647 w 244"/>
              <a:gd name="T51" fmla="*/ 2147483647 h 249"/>
              <a:gd name="T52" fmla="*/ 2147483647 w 244"/>
              <a:gd name="T53" fmla="*/ 2147483647 h 249"/>
              <a:gd name="T54" fmla="*/ 2147483647 w 244"/>
              <a:gd name="T55" fmla="*/ 2147483647 h 249"/>
              <a:gd name="T56" fmla="*/ 2147483647 w 244"/>
              <a:gd name="T57" fmla="*/ 2147483647 h 249"/>
              <a:gd name="T58" fmla="*/ 2147483647 w 244"/>
              <a:gd name="T59" fmla="*/ 2147483647 h 249"/>
              <a:gd name="T60" fmla="*/ 2147483647 w 244"/>
              <a:gd name="T61" fmla="*/ 2147483647 h 249"/>
              <a:gd name="T62" fmla="*/ 2147483647 w 244"/>
              <a:gd name="T63" fmla="*/ 2147483647 h 249"/>
              <a:gd name="T64" fmla="*/ 2147483647 w 244"/>
              <a:gd name="T65" fmla="*/ 2147483647 h 249"/>
              <a:gd name="T66" fmla="*/ 2147483647 w 244"/>
              <a:gd name="T67" fmla="*/ 2147483647 h 249"/>
              <a:gd name="T68" fmla="*/ 2147483647 w 244"/>
              <a:gd name="T69" fmla="*/ 2147483647 h 249"/>
              <a:gd name="T70" fmla="*/ 2147483647 w 244"/>
              <a:gd name="T71" fmla="*/ 2147483647 h 249"/>
              <a:gd name="T72" fmla="*/ 2147483647 w 244"/>
              <a:gd name="T73" fmla="*/ 2147483647 h 249"/>
              <a:gd name="T74" fmla="*/ 2147483647 w 244"/>
              <a:gd name="T75" fmla="*/ 2147483647 h 249"/>
              <a:gd name="T76" fmla="*/ 2147483647 w 244"/>
              <a:gd name="T77" fmla="*/ 2147483647 h 249"/>
              <a:gd name="T78" fmla="*/ 2147483647 w 244"/>
              <a:gd name="T79" fmla="*/ 2147483647 h 249"/>
              <a:gd name="T80" fmla="*/ 2147483647 w 244"/>
              <a:gd name="T81" fmla="*/ 2147483647 h 249"/>
              <a:gd name="T82" fmla="*/ 2147483647 w 244"/>
              <a:gd name="T83" fmla="*/ 2147483647 h 249"/>
              <a:gd name="T84" fmla="*/ 2147483647 w 244"/>
              <a:gd name="T85" fmla="*/ 2147483647 h 249"/>
              <a:gd name="T86" fmla="*/ 2147483647 w 244"/>
              <a:gd name="T87" fmla="*/ 2147483647 h 249"/>
              <a:gd name="T88" fmla="*/ 2147483647 w 244"/>
              <a:gd name="T89" fmla="*/ 2147483647 h 249"/>
              <a:gd name="T90" fmla="*/ 0 w 244"/>
              <a:gd name="T91" fmla="*/ 2147483647 h 249"/>
              <a:gd name="T92" fmla="*/ 2147483647 w 244"/>
              <a:gd name="T93" fmla="*/ 2147483647 h 249"/>
              <a:gd name="T94" fmla="*/ 2147483647 w 244"/>
              <a:gd name="T95" fmla="*/ 2147483647 h 249"/>
              <a:gd name="T96" fmla="*/ 2147483647 w 244"/>
              <a:gd name="T97" fmla="*/ 2147483647 h 249"/>
              <a:gd name="T98" fmla="*/ 2147483647 w 244"/>
              <a:gd name="T99" fmla="*/ 2147483647 h 249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244"/>
              <a:gd name="T151" fmla="*/ 0 h 249"/>
              <a:gd name="T152" fmla="*/ 244 w 244"/>
              <a:gd name="T153" fmla="*/ 249 h 249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244" h="249">
                <a:moveTo>
                  <a:pt x="37" y="130"/>
                </a:moveTo>
                <a:lnTo>
                  <a:pt x="37" y="137"/>
                </a:lnTo>
                <a:lnTo>
                  <a:pt x="42" y="139"/>
                </a:lnTo>
                <a:lnTo>
                  <a:pt x="59" y="119"/>
                </a:lnTo>
                <a:lnTo>
                  <a:pt x="72" y="110"/>
                </a:lnTo>
                <a:lnTo>
                  <a:pt x="77" y="102"/>
                </a:lnTo>
                <a:lnTo>
                  <a:pt x="76" y="86"/>
                </a:lnTo>
                <a:lnTo>
                  <a:pt x="72" y="86"/>
                </a:lnTo>
                <a:lnTo>
                  <a:pt x="55" y="76"/>
                </a:lnTo>
                <a:lnTo>
                  <a:pt x="51" y="64"/>
                </a:lnTo>
                <a:lnTo>
                  <a:pt x="55" y="20"/>
                </a:lnTo>
                <a:lnTo>
                  <a:pt x="60" y="17"/>
                </a:lnTo>
                <a:lnTo>
                  <a:pt x="102" y="15"/>
                </a:lnTo>
                <a:lnTo>
                  <a:pt x="106" y="21"/>
                </a:lnTo>
                <a:lnTo>
                  <a:pt x="142" y="13"/>
                </a:lnTo>
                <a:lnTo>
                  <a:pt x="173" y="13"/>
                </a:lnTo>
                <a:lnTo>
                  <a:pt x="194" y="0"/>
                </a:lnTo>
                <a:lnTo>
                  <a:pt x="211" y="6"/>
                </a:lnTo>
                <a:lnTo>
                  <a:pt x="219" y="43"/>
                </a:lnTo>
                <a:lnTo>
                  <a:pt x="240" y="60"/>
                </a:lnTo>
                <a:lnTo>
                  <a:pt x="244" y="89"/>
                </a:lnTo>
                <a:lnTo>
                  <a:pt x="240" y="119"/>
                </a:lnTo>
                <a:lnTo>
                  <a:pt x="196" y="178"/>
                </a:lnTo>
                <a:lnTo>
                  <a:pt x="194" y="178"/>
                </a:lnTo>
                <a:lnTo>
                  <a:pt x="185" y="176"/>
                </a:lnTo>
                <a:lnTo>
                  <a:pt x="179" y="179"/>
                </a:lnTo>
                <a:lnTo>
                  <a:pt x="168" y="174"/>
                </a:lnTo>
                <a:lnTo>
                  <a:pt x="164" y="171"/>
                </a:lnTo>
                <a:lnTo>
                  <a:pt x="151" y="184"/>
                </a:lnTo>
                <a:lnTo>
                  <a:pt x="145" y="181"/>
                </a:lnTo>
                <a:lnTo>
                  <a:pt x="137" y="181"/>
                </a:lnTo>
                <a:lnTo>
                  <a:pt x="133" y="178"/>
                </a:lnTo>
                <a:lnTo>
                  <a:pt x="131" y="182"/>
                </a:lnTo>
                <a:lnTo>
                  <a:pt x="127" y="184"/>
                </a:lnTo>
                <a:lnTo>
                  <a:pt x="122" y="182"/>
                </a:lnTo>
                <a:lnTo>
                  <a:pt x="119" y="190"/>
                </a:lnTo>
                <a:lnTo>
                  <a:pt x="110" y="193"/>
                </a:lnTo>
                <a:lnTo>
                  <a:pt x="102" y="195"/>
                </a:lnTo>
                <a:lnTo>
                  <a:pt x="100" y="198"/>
                </a:lnTo>
                <a:lnTo>
                  <a:pt x="102" y="203"/>
                </a:lnTo>
                <a:lnTo>
                  <a:pt x="91" y="227"/>
                </a:lnTo>
                <a:lnTo>
                  <a:pt x="96" y="232"/>
                </a:lnTo>
                <a:lnTo>
                  <a:pt x="34" y="233"/>
                </a:lnTo>
                <a:lnTo>
                  <a:pt x="23" y="237"/>
                </a:lnTo>
                <a:lnTo>
                  <a:pt x="15" y="249"/>
                </a:lnTo>
                <a:lnTo>
                  <a:pt x="0" y="246"/>
                </a:lnTo>
                <a:lnTo>
                  <a:pt x="1" y="204"/>
                </a:lnTo>
                <a:lnTo>
                  <a:pt x="1" y="193"/>
                </a:lnTo>
                <a:lnTo>
                  <a:pt x="8" y="167"/>
                </a:lnTo>
                <a:lnTo>
                  <a:pt x="37" y="130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45" name="Freeform 134"/>
          <p:cNvSpPr>
            <a:spLocks noChangeAspect="1"/>
          </p:cNvSpPr>
          <p:nvPr/>
        </p:nvSpPr>
        <p:spPr bwMode="gray">
          <a:xfrm>
            <a:off x="5446713" y="4041775"/>
            <a:ext cx="6350" cy="1588"/>
          </a:xfrm>
          <a:custGeom>
            <a:avLst/>
            <a:gdLst>
              <a:gd name="T0" fmla="*/ 2147483647 w 11"/>
              <a:gd name="T1" fmla="*/ 2147483647 h 6"/>
              <a:gd name="T2" fmla="*/ 0 w 11"/>
              <a:gd name="T3" fmla="*/ 2147483647 h 6"/>
              <a:gd name="T4" fmla="*/ 2147483647 w 11"/>
              <a:gd name="T5" fmla="*/ 2147483647 h 6"/>
              <a:gd name="T6" fmla="*/ 2147483647 w 11"/>
              <a:gd name="T7" fmla="*/ 0 h 6"/>
              <a:gd name="T8" fmla="*/ 2147483647 w 11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1"/>
              <a:gd name="T16" fmla="*/ 0 h 6"/>
              <a:gd name="T17" fmla="*/ 11 w 11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1" h="6">
                <a:moveTo>
                  <a:pt x="4" y="2"/>
                </a:moveTo>
                <a:lnTo>
                  <a:pt x="0" y="4"/>
                </a:lnTo>
                <a:lnTo>
                  <a:pt x="4" y="6"/>
                </a:lnTo>
                <a:lnTo>
                  <a:pt x="11" y="0"/>
                </a:lnTo>
                <a:lnTo>
                  <a:pt x="4" y="2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46" name="Freeform 135"/>
          <p:cNvSpPr>
            <a:spLocks noChangeAspect="1"/>
          </p:cNvSpPr>
          <p:nvPr/>
        </p:nvSpPr>
        <p:spPr bwMode="gray">
          <a:xfrm>
            <a:off x="5375275" y="4103688"/>
            <a:ext cx="160338" cy="315912"/>
          </a:xfrm>
          <a:custGeom>
            <a:avLst/>
            <a:gdLst>
              <a:gd name="T0" fmla="*/ 2147483647 w 329"/>
              <a:gd name="T1" fmla="*/ 2147483647 h 652"/>
              <a:gd name="T2" fmla="*/ 2147483647 w 329"/>
              <a:gd name="T3" fmla="*/ 2147483647 h 652"/>
              <a:gd name="T4" fmla="*/ 2147483647 w 329"/>
              <a:gd name="T5" fmla="*/ 2147483647 h 652"/>
              <a:gd name="T6" fmla="*/ 2147483647 w 329"/>
              <a:gd name="T7" fmla="*/ 2147483647 h 652"/>
              <a:gd name="T8" fmla="*/ 2147483647 w 329"/>
              <a:gd name="T9" fmla="*/ 2147483647 h 652"/>
              <a:gd name="T10" fmla="*/ 2147483647 w 329"/>
              <a:gd name="T11" fmla="*/ 2147483647 h 652"/>
              <a:gd name="T12" fmla="*/ 2147483647 w 329"/>
              <a:gd name="T13" fmla="*/ 2147483647 h 652"/>
              <a:gd name="T14" fmla="*/ 2147483647 w 329"/>
              <a:gd name="T15" fmla="*/ 2147483647 h 652"/>
              <a:gd name="T16" fmla="*/ 2147483647 w 329"/>
              <a:gd name="T17" fmla="*/ 2147483647 h 652"/>
              <a:gd name="T18" fmla="*/ 2147483647 w 329"/>
              <a:gd name="T19" fmla="*/ 2147483647 h 652"/>
              <a:gd name="T20" fmla="*/ 2147483647 w 329"/>
              <a:gd name="T21" fmla="*/ 2147483647 h 652"/>
              <a:gd name="T22" fmla="*/ 2147483647 w 329"/>
              <a:gd name="T23" fmla="*/ 2147483647 h 652"/>
              <a:gd name="T24" fmla="*/ 2147483647 w 329"/>
              <a:gd name="T25" fmla="*/ 2147483647 h 652"/>
              <a:gd name="T26" fmla="*/ 2147483647 w 329"/>
              <a:gd name="T27" fmla="*/ 2147483647 h 652"/>
              <a:gd name="T28" fmla="*/ 2147483647 w 329"/>
              <a:gd name="T29" fmla="*/ 2147483647 h 652"/>
              <a:gd name="T30" fmla="*/ 2147483647 w 329"/>
              <a:gd name="T31" fmla="*/ 2147483647 h 652"/>
              <a:gd name="T32" fmla="*/ 2147483647 w 329"/>
              <a:gd name="T33" fmla="*/ 2147483647 h 652"/>
              <a:gd name="T34" fmla="*/ 2147483647 w 329"/>
              <a:gd name="T35" fmla="*/ 2147483647 h 652"/>
              <a:gd name="T36" fmla="*/ 2147483647 w 329"/>
              <a:gd name="T37" fmla="*/ 0 h 652"/>
              <a:gd name="T38" fmla="*/ 2147483647 w 329"/>
              <a:gd name="T39" fmla="*/ 2147483647 h 652"/>
              <a:gd name="T40" fmla="*/ 2147483647 w 329"/>
              <a:gd name="T41" fmla="*/ 2147483647 h 652"/>
              <a:gd name="T42" fmla="*/ 2147483647 w 329"/>
              <a:gd name="T43" fmla="*/ 2147483647 h 652"/>
              <a:gd name="T44" fmla="*/ 2147483647 w 329"/>
              <a:gd name="T45" fmla="*/ 2147483647 h 652"/>
              <a:gd name="T46" fmla="*/ 2147483647 w 329"/>
              <a:gd name="T47" fmla="*/ 2147483647 h 652"/>
              <a:gd name="T48" fmla="*/ 2147483647 w 329"/>
              <a:gd name="T49" fmla="*/ 2147483647 h 652"/>
              <a:gd name="T50" fmla="*/ 2147483647 w 329"/>
              <a:gd name="T51" fmla="*/ 2147483647 h 652"/>
              <a:gd name="T52" fmla="*/ 2147483647 w 329"/>
              <a:gd name="T53" fmla="*/ 2147483647 h 652"/>
              <a:gd name="T54" fmla="*/ 2147483647 w 329"/>
              <a:gd name="T55" fmla="*/ 2147483647 h 652"/>
              <a:gd name="T56" fmla="*/ 2147483647 w 329"/>
              <a:gd name="T57" fmla="*/ 2147483647 h 652"/>
              <a:gd name="T58" fmla="*/ 2147483647 w 329"/>
              <a:gd name="T59" fmla="*/ 2147483647 h 652"/>
              <a:gd name="T60" fmla="*/ 0 w 329"/>
              <a:gd name="T61" fmla="*/ 2147483647 h 652"/>
              <a:gd name="T62" fmla="*/ 2147483647 w 329"/>
              <a:gd name="T63" fmla="*/ 2147483647 h 652"/>
              <a:gd name="T64" fmla="*/ 2147483647 w 329"/>
              <a:gd name="T65" fmla="*/ 2147483647 h 652"/>
              <a:gd name="T66" fmla="*/ 2147483647 w 329"/>
              <a:gd name="T67" fmla="*/ 2147483647 h 652"/>
              <a:gd name="T68" fmla="*/ 2147483647 w 329"/>
              <a:gd name="T69" fmla="*/ 2147483647 h 652"/>
              <a:gd name="T70" fmla="*/ 2147483647 w 329"/>
              <a:gd name="T71" fmla="*/ 2147483647 h 652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329"/>
              <a:gd name="T109" fmla="*/ 0 h 652"/>
              <a:gd name="T110" fmla="*/ 329 w 329"/>
              <a:gd name="T111" fmla="*/ 652 h 652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329" h="652">
                <a:moveTo>
                  <a:pt x="54" y="192"/>
                </a:moveTo>
                <a:lnTo>
                  <a:pt x="60" y="187"/>
                </a:lnTo>
                <a:lnTo>
                  <a:pt x="78" y="187"/>
                </a:lnTo>
                <a:lnTo>
                  <a:pt x="89" y="179"/>
                </a:lnTo>
                <a:lnTo>
                  <a:pt x="95" y="184"/>
                </a:lnTo>
                <a:lnTo>
                  <a:pt x="100" y="179"/>
                </a:lnTo>
                <a:lnTo>
                  <a:pt x="105" y="181"/>
                </a:lnTo>
                <a:lnTo>
                  <a:pt x="110" y="170"/>
                </a:lnTo>
                <a:lnTo>
                  <a:pt x="123" y="170"/>
                </a:lnTo>
                <a:lnTo>
                  <a:pt x="129" y="166"/>
                </a:lnTo>
                <a:lnTo>
                  <a:pt x="143" y="183"/>
                </a:lnTo>
                <a:lnTo>
                  <a:pt x="156" y="183"/>
                </a:lnTo>
                <a:lnTo>
                  <a:pt x="146" y="167"/>
                </a:lnTo>
                <a:lnTo>
                  <a:pt x="146" y="159"/>
                </a:lnTo>
                <a:lnTo>
                  <a:pt x="165" y="144"/>
                </a:lnTo>
                <a:lnTo>
                  <a:pt x="171" y="147"/>
                </a:lnTo>
                <a:lnTo>
                  <a:pt x="173" y="157"/>
                </a:lnTo>
                <a:lnTo>
                  <a:pt x="183" y="155"/>
                </a:lnTo>
                <a:lnTo>
                  <a:pt x="176" y="141"/>
                </a:lnTo>
                <a:lnTo>
                  <a:pt x="186" y="124"/>
                </a:lnTo>
                <a:lnTo>
                  <a:pt x="193" y="116"/>
                </a:lnTo>
                <a:lnTo>
                  <a:pt x="193" y="133"/>
                </a:lnTo>
                <a:lnTo>
                  <a:pt x="207" y="116"/>
                </a:lnTo>
                <a:lnTo>
                  <a:pt x="219" y="116"/>
                </a:lnTo>
                <a:lnTo>
                  <a:pt x="203" y="105"/>
                </a:lnTo>
                <a:lnTo>
                  <a:pt x="213" y="90"/>
                </a:lnTo>
                <a:lnTo>
                  <a:pt x="219" y="95"/>
                </a:lnTo>
                <a:lnTo>
                  <a:pt x="213" y="67"/>
                </a:lnTo>
                <a:lnTo>
                  <a:pt x="215" y="64"/>
                </a:lnTo>
                <a:lnTo>
                  <a:pt x="224" y="67"/>
                </a:lnTo>
                <a:lnTo>
                  <a:pt x="228" y="76"/>
                </a:lnTo>
                <a:lnTo>
                  <a:pt x="241" y="51"/>
                </a:lnTo>
                <a:lnTo>
                  <a:pt x="245" y="56"/>
                </a:lnTo>
                <a:lnTo>
                  <a:pt x="254" y="51"/>
                </a:lnTo>
                <a:lnTo>
                  <a:pt x="259" y="20"/>
                </a:lnTo>
                <a:lnTo>
                  <a:pt x="254" y="11"/>
                </a:lnTo>
                <a:lnTo>
                  <a:pt x="258" y="13"/>
                </a:lnTo>
                <a:lnTo>
                  <a:pt x="273" y="0"/>
                </a:lnTo>
                <a:lnTo>
                  <a:pt x="304" y="39"/>
                </a:lnTo>
                <a:lnTo>
                  <a:pt x="329" y="152"/>
                </a:lnTo>
                <a:lnTo>
                  <a:pt x="324" y="175"/>
                </a:lnTo>
                <a:lnTo>
                  <a:pt x="317" y="175"/>
                </a:lnTo>
                <a:lnTo>
                  <a:pt x="309" y="152"/>
                </a:lnTo>
                <a:lnTo>
                  <a:pt x="300" y="153"/>
                </a:lnTo>
                <a:lnTo>
                  <a:pt x="298" y="186"/>
                </a:lnTo>
                <a:lnTo>
                  <a:pt x="303" y="209"/>
                </a:lnTo>
                <a:lnTo>
                  <a:pt x="287" y="237"/>
                </a:lnTo>
                <a:lnTo>
                  <a:pt x="278" y="306"/>
                </a:lnTo>
                <a:lnTo>
                  <a:pt x="242" y="407"/>
                </a:lnTo>
                <a:lnTo>
                  <a:pt x="199" y="574"/>
                </a:lnTo>
                <a:lnTo>
                  <a:pt x="188" y="599"/>
                </a:lnTo>
                <a:lnTo>
                  <a:pt x="177" y="618"/>
                </a:lnTo>
                <a:lnTo>
                  <a:pt x="160" y="628"/>
                </a:lnTo>
                <a:lnTo>
                  <a:pt x="126" y="633"/>
                </a:lnTo>
                <a:lnTo>
                  <a:pt x="89" y="652"/>
                </a:lnTo>
                <a:lnTo>
                  <a:pt x="41" y="618"/>
                </a:lnTo>
                <a:lnTo>
                  <a:pt x="29" y="599"/>
                </a:lnTo>
                <a:lnTo>
                  <a:pt x="21" y="568"/>
                </a:lnTo>
                <a:lnTo>
                  <a:pt x="24" y="548"/>
                </a:lnTo>
                <a:lnTo>
                  <a:pt x="15" y="523"/>
                </a:lnTo>
                <a:lnTo>
                  <a:pt x="1" y="503"/>
                </a:lnTo>
                <a:lnTo>
                  <a:pt x="0" y="466"/>
                </a:lnTo>
                <a:lnTo>
                  <a:pt x="12" y="441"/>
                </a:lnTo>
                <a:lnTo>
                  <a:pt x="18" y="435"/>
                </a:lnTo>
                <a:lnTo>
                  <a:pt x="26" y="432"/>
                </a:lnTo>
                <a:lnTo>
                  <a:pt x="32" y="409"/>
                </a:lnTo>
                <a:lnTo>
                  <a:pt x="60" y="364"/>
                </a:lnTo>
                <a:lnTo>
                  <a:pt x="61" y="352"/>
                </a:lnTo>
                <a:lnTo>
                  <a:pt x="46" y="314"/>
                </a:lnTo>
                <a:lnTo>
                  <a:pt x="41" y="265"/>
                </a:lnTo>
                <a:lnTo>
                  <a:pt x="32" y="252"/>
                </a:lnTo>
                <a:lnTo>
                  <a:pt x="54" y="206"/>
                </a:lnTo>
                <a:lnTo>
                  <a:pt x="54" y="192"/>
                </a:lnTo>
                <a:close/>
              </a:path>
            </a:pathLst>
          </a:custGeom>
          <a:solidFill>
            <a:srgbClr val="E7D88B"/>
          </a:solidFill>
          <a:ln w="6350" cap="flat" cmpd="sng">
            <a:solidFill>
              <a:srgbClr val="82673C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47" name="Freeform 136"/>
          <p:cNvSpPr>
            <a:spLocks noChangeAspect="1"/>
          </p:cNvSpPr>
          <p:nvPr/>
        </p:nvSpPr>
        <p:spPr bwMode="gray">
          <a:xfrm>
            <a:off x="4551363" y="3819525"/>
            <a:ext cx="6350" cy="7938"/>
          </a:xfrm>
          <a:custGeom>
            <a:avLst/>
            <a:gdLst>
              <a:gd name="T0" fmla="*/ 2147483647 w 14"/>
              <a:gd name="T1" fmla="*/ 0 h 17"/>
              <a:gd name="T2" fmla="*/ 2147483647 w 14"/>
              <a:gd name="T3" fmla="*/ 2147483647 h 17"/>
              <a:gd name="T4" fmla="*/ 2147483647 w 14"/>
              <a:gd name="T5" fmla="*/ 2147483647 h 17"/>
              <a:gd name="T6" fmla="*/ 0 w 14"/>
              <a:gd name="T7" fmla="*/ 2147483647 h 17"/>
              <a:gd name="T8" fmla="*/ 2147483647 w 14"/>
              <a:gd name="T9" fmla="*/ 0 h 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4"/>
              <a:gd name="T16" fmla="*/ 0 h 17"/>
              <a:gd name="T17" fmla="*/ 14 w 14"/>
              <a:gd name="T18" fmla="*/ 17 h 1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4" h="17">
                <a:moveTo>
                  <a:pt x="7" y="0"/>
                </a:moveTo>
                <a:lnTo>
                  <a:pt x="14" y="9"/>
                </a:lnTo>
                <a:lnTo>
                  <a:pt x="5" y="17"/>
                </a:lnTo>
                <a:lnTo>
                  <a:pt x="0" y="8"/>
                </a:lnTo>
                <a:lnTo>
                  <a:pt x="7" y="0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48" name="Freeform 137"/>
          <p:cNvSpPr>
            <a:spLocks noChangeAspect="1"/>
          </p:cNvSpPr>
          <p:nvPr/>
        </p:nvSpPr>
        <p:spPr bwMode="gray">
          <a:xfrm>
            <a:off x="4957763" y="3084513"/>
            <a:ext cx="252412" cy="247650"/>
          </a:xfrm>
          <a:custGeom>
            <a:avLst/>
            <a:gdLst>
              <a:gd name="T0" fmla="*/ 2147483647 w 515"/>
              <a:gd name="T1" fmla="*/ 2147483647 h 508"/>
              <a:gd name="T2" fmla="*/ 2147483647 w 515"/>
              <a:gd name="T3" fmla="*/ 2147483647 h 508"/>
              <a:gd name="T4" fmla="*/ 2147483647 w 515"/>
              <a:gd name="T5" fmla="*/ 2147483647 h 508"/>
              <a:gd name="T6" fmla="*/ 2147483647 w 515"/>
              <a:gd name="T7" fmla="*/ 2147483647 h 508"/>
              <a:gd name="T8" fmla="*/ 2147483647 w 515"/>
              <a:gd name="T9" fmla="*/ 2147483647 h 508"/>
              <a:gd name="T10" fmla="*/ 2147483647 w 515"/>
              <a:gd name="T11" fmla="*/ 2147483647 h 508"/>
              <a:gd name="T12" fmla="*/ 2147483647 w 515"/>
              <a:gd name="T13" fmla="*/ 2147483647 h 508"/>
              <a:gd name="T14" fmla="*/ 2147483647 w 515"/>
              <a:gd name="T15" fmla="*/ 2147483647 h 508"/>
              <a:gd name="T16" fmla="*/ 2147483647 w 515"/>
              <a:gd name="T17" fmla="*/ 2147483647 h 508"/>
              <a:gd name="T18" fmla="*/ 2147483647 w 515"/>
              <a:gd name="T19" fmla="*/ 2147483647 h 508"/>
              <a:gd name="T20" fmla="*/ 2147483647 w 515"/>
              <a:gd name="T21" fmla="*/ 2147483647 h 508"/>
              <a:gd name="T22" fmla="*/ 2147483647 w 515"/>
              <a:gd name="T23" fmla="*/ 2147483647 h 508"/>
              <a:gd name="T24" fmla="*/ 2147483647 w 515"/>
              <a:gd name="T25" fmla="*/ 2147483647 h 508"/>
              <a:gd name="T26" fmla="*/ 2147483647 w 515"/>
              <a:gd name="T27" fmla="*/ 2147483647 h 508"/>
              <a:gd name="T28" fmla="*/ 2147483647 w 515"/>
              <a:gd name="T29" fmla="*/ 2147483647 h 508"/>
              <a:gd name="T30" fmla="*/ 2147483647 w 515"/>
              <a:gd name="T31" fmla="*/ 2147483647 h 508"/>
              <a:gd name="T32" fmla="*/ 2147483647 w 515"/>
              <a:gd name="T33" fmla="*/ 2147483647 h 508"/>
              <a:gd name="T34" fmla="*/ 2147483647 w 515"/>
              <a:gd name="T35" fmla="*/ 2147483647 h 508"/>
              <a:gd name="T36" fmla="*/ 2147483647 w 515"/>
              <a:gd name="T37" fmla="*/ 2147483647 h 508"/>
              <a:gd name="T38" fmla="*/ 2147483647 w 515"/>
              <a:gd name="T39" fmla="*/ 2147483647 h 508"/>
              <a:gd name="T40" fmla="*/ 2147483647 w 515"/>
              <a:gd name="T41" fmla="*/ 2147483647 h 508"/>
              <a:gd name="T42" fmla="*/ 2147483647 w 515"/>
              <a:gd name="T43" fmla="*/ 2147483647 h 508"/>
              <a:gd name="T44" fmla="*/ 2147483647 w 515"/>
              <a:gd name="T45" fmla="*/ 2147483647 h 508"/>
              <a:gd name="T46" fmla="*/ 2147483647 w 515"/>
              <a:gd name="T47" fmla="*/ 2147483647 h 508"/>
              <a:gd name="T48" fmla="*/ 2147483647 w 515"/>
              <a:gd name="T49" fmla="*/ 2147483647 h 508"/>
              <a:gd name="T50" fmla="*/ 2147483647 w 515"/>
              <a:gd name="T51" fmla="*/ 2147483647 h 508"/>
              <a:gd name="T52" fmla="*/ 2147483647 w 515"/>
              <a:gd name="T53" fmla="*/ 2147483647 h 508"/>
              <a:gd name="T54" fmla="*/ 2147483647 w 515"/>
              <a:gd name="T55" fmla="*/ 2147483647 h 508"/>
              <a:gd name="T56" fmla="*/ 2147483647 w 515"/>
              <a:gd name="T57" fmla="*/ 2147483647 h 508"/>
              <a:gd name="T58" fmla="*/ 2147483647 w 515"/>
              <a:gd name="T59" fmla="*/ 2147483647 h 508"/>
              <a:gd name="T60" fmla="*/ 2147483647 w 515"/>
              <a:gd name="T61" fmla="*/ 2147483647 h 508"/>
              <a:gd name="T62" fmla="*/ 2147483647 w 515"/>
              <a:gd name="T63" fmla="*/ 2147483647 h 508"/>
              <a:gd name="T64" fmla="*/ 2147483647 w 515"/>
              <a:gd name="T65" fmla="*/ 2147483647 h 508"/>
              <a:gd name="T66" fmla="*/ 2147483647 w 515"/>
              <a:gd name="T67" fmla="*/ 2147483647 h 508"/>
              <a:gd name="T68" fmla="*/ 2147483647 w 515"/>
              <a:gd name="T69" fmla="*/ 2147483647 h 508"/>
              <a:gd name="T70" fmla="*/ 2147483647 w 515"/>
              <a:gd name="T71" fmla="*/ 2147483647 h 508"/>
              <a:gd name="T72" fmla="*/ 2147483647 w 515"/>
              <a:gd name="T73" fmla="*/ 2147483647 h 508"/>
              <a:gd name="T74" fmla="*/ 2147483647 w 515"/>
              <a:gd name="T75" fmla="*/ 2147483647 h 508"/>
              <a:gd name="T76" fmla="*/ 2147483647 w 515"/>
              <a:gd name="T77" fmla="*/ 2147483647 h 508"/>
              <a:gd name="T78" fmla="*/ 2147483647 w 515"/>
              <a:gd name="T79" fmla="*/ 2147483647 h 508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515"/>
              <a:gd name="T121" fmla="*/ 0 h 508"/>
              <a:gd name="T122" fmla="*/ 515 w 515"/>
              <a:gd name="T123" fmla="*/ 508 h 508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515" h="508">
                <a:moveTo>
                  <a:pt x="441" y="25"/>
                </a:moveTo>
                <a:lnTo>
                  <a:pt x="438" y="17"/>
                </a:lnTo>
                <a:lnTo>
                  <a:pt x="413" y="30"/>
                </a:lnTo>
                <a:lnTo>
                  <a:pt x="394" y="33"/>
                </a:lnTo>
                <a:lnTo>
                  <a:pt x="390" y="29"/>
                </a:lnTo>
                <a:lnTo>
                  <a:pt x="367" y="33"/>
                </a:lnTo>
                <a:lnTo>
                  <a:pt x="360" y="24"/>
                </a:lnTo>
                <a:lnTo>
                  <a:pt x="350" y="21"/>
                </a:lnTo>
                <a:lnTo>
                  <a:pt x="350" y="22"/>
                </a:lnTo>
                <a:lnTo>
                  <a:pt x="336" y="5"/>
                </a:lnTo>
                <a:lnTo>
                  <a:pt x="326" y="8"/>
                </a:lnTo>
                <a:lnTo>
                  <a:pt x="304" y="8"/>
                </a:lnTo>
                <a:lnTo>
                  <a:pt x="297" y="7"/>
                </a:lnTo>
                <a:lnTo>
                  <a:pt x="274" y="17"/>
                </a:lnTo>
                <a:lnTo>
                  <a:pt x="282" y="7"/>
                </a:lnTo>
                <a:lnTo>
                  <a:pt x="261" y="10"/>
                </a:lnTo>
                <a:lnTo>
                  <a:pt x="201" y="44"/>
                </a:lnTo>
                <a:lnTo>
                  <a:pt x="104" y="10"/>
                </a:lnTo>
                <a:lnTo>
                  <a:pt x="57" y="2"/>
                </a:lnTo>
                <a:lnTo>
                  <a:pt x="29" y="7"/>
                </a:lnTo>
                <a:lnTo>
                  <a:pt x="21" y="0"/>
                </a:lnTo>
                <a:lnTo>
                  <a:pt x="16" y="2"/>
                </a:lnTo>
                <a:lnTo>
                  <a:pt x="6" y="17"/>
                </a:lnTo>
                <a:lnTo>
                  <a:pt x="11" y="69"/>
                </a:lnTo>
                <a:lnTo>
                  <a:pt x="0" y="83"/>
                </a:lnTo>
                <a:lnTo>
                  <a:pt x="1" y="100"/>
                </a:lnTo>
                <a:lnTo>
                  <a:pt x="9" y="112"/>
                </a:lnTo>
                <a:lnTo>
                  <a:pt x="6" y="122"/>
                </a:lnTo>
                <a:lnTo>
                  <a:pt x="21" y="137"/>
                </a:lnTo>
                <a:lnTo>
                  <a:pt x="21" y="183"/>
                </a:lnTo>
                <a:lnTo>
                  <a:pt x="21" y="228"/>
                </a:lnTo>
                <a:lnTo>
                  <a:pt x="21" y="274"/>
                </a:lnTo>
                <a:lnTo>
                  <a:pt x="21" y="318"/>
                </a:lnTo>
                <a:lnTo>
                  <a:pt x="21" y="364"/>
                </a:lnTo>
                <a:lnTo>
                  <a:pt x="21" y="408"/>
                </a:lnTo>
                <a:lnTo>
                  <a:pt x="21" y="452"/>
                </a:lnTo>
                <a:lnTo>
                  <a:pt x="21" y="496"/>
                </a:lnTo>
                <a:lnTo>
                  <a:pt x="57" y="496"/>
                </a:lnTo>
                <a:lnTo>
                  <a:pt x="93" y="496"/>
                </a:lnTo>
                <a:lnTo>
                  <a:pt x="128" y="496"/>
                </a:lnTo>
                <a:lnTo>
                  <a:pt x="165" y="496"/>
                </a:lnTo>
                <a:lnTo>
                  <a:pt x="201" y="496"/>
                </a:lnTo>
                <a:lnTo>
                  <a:pt x="236" y="496"/>
                </a:lnTo>
                <a:lnTo>
                  <a:pt x="272" y="496"/>
                </a:lnTo>
                <a:lnTo>
                  <a:pt x="308" y="496"/>
                </a:lnTo>
                <a:lnTo>
                  <a:pt x="314" y="486"/>
                </a:lnTo>
                <a:lnTo>
                  <a:pt x="319" y="486"/>
                </a:lnTo>
                <a:lnTo>
                  <a:pt x="316" y="496"/>
                </a:lnTo>
                <a:lnTo>
                  <a:pt x="356" y="496"/>
                </a:lnTo>
                <a:lnTo>
                  <a:pt x="397" y="496"/>
                </a:lnTo>
                <a:lnTo>
                  <a:pt x="414" y="508"/>
                </a:lnTo>
                <a:lnTo>
                  <a:pt x="436" y="506"/>
                </a:lnTo>
                <a:lnTo>
                  <a:pt x="441" y="486"/>
                </a:lnTo>
                <a:lnTo>
                  <a:pt x="467" y="479"/>
                </a:lnTo>
                <a:lnTo>
                  <a:pt x="478" y="454"/>
                </a:lnTo>
                <a:lnTo>
                  <a:pt x="489" y="457"/>
                </a:lnTo>
                <a:lnTo>
                  <a:pt x="507" y="442"/>
                </a:lnTo>
                <a:lnTo>
                  <a:pt x="501" y="401"/>
                </a:lnTo>
                <a:lnTo>
                  <a:pt x="515" y="400"/>
                </a:lnTo>
                <a:lnTo>
                  <a:pt x="487" y="372"/>
                </a:lnTo>
                <a:lnTo>
                  <a:pt x="434" y="271"/>
                </a:lnTo>
                <a:lnTo>
                  <a:pt x="425" y="234"/>
                </a:lnTo>
                <a:lnTo>
                  <a:pt x="413" y="215"/>
                </a:lnTo>
                <a:lnTo>
                  <a:pt x="410" y="194"/>
                </a:lnTo>
                <a:lnTo>
                  <a:pt x="385" y="171"/>
                </a:lnTo>
                <a:lnTo>
                  <a:pt x="373" y="148"/>
                </a:lnTo>
                <a:lnTo>
                  <a:pt x="370" y="126"/>
                </a:lnTo>
                <a:lnTo>
                  <a:pt x="360" y="109"/>
                </a:lnTo>
                <a:lnTo>
                  <a:pt x="367" y="86"/>
                </a:lnTo>
                <a:lnTo>
                  <a:pt x="377" y="114"/>
                </a:lnTo>
                <a:lnTo>
                  <a:pt x="397" y="148"/>
                </a:lnTo>
                <a:lnTo>
                  <a:pt x="400" y="163"/>
                </a:lnTo>
                <a:lnTo>
                  <a:pt x="436" y="203"/>
                </a:lnTo>
                <a:lnTo>
                  <a:pt x="453" y="197"/>
                </a:lnTo>
                <a:lnTo>
                  <a:pt x="455" y="177"/>
                </a:lnTo>
                <a:lnTo>
                  <a:pt x="473" y="120"/>
                </a:lnTo>
                <a:lnTo>
                  <a:pt x="463" y="95"/>
                </a:lnTo>
                <a:lnTo>
                  <a:pt x="455" y="69"/>
                </a:lnTo>
                <a:lnTo>
                  <a:pt x="447" y="44"/>
                </a:lnTo>
                <a:lnTo>
                  <a:pt x="441" y="25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49" name="Freeform 138"/>
          <p:cNvSpPr>
            <a:spLocks noChangeAspect="1"/>
          </p:cNvSpPr>
          <p:nvPr/>
        </p:nvSpPr>
        <p:spPr bwMode="gray">
          <a:xfrm>
            <a:off x="4406900" y="3289300"/>
            <a:ext cx="358775" cy="276225"/>
          </a:xfrm>
          <a:custGeom>
            <a:avLst/>
            <a:gdLst>
              <a:gd name="T0" fmla="*/ 2147483647 w 735"/>
              <a:gd name="T1" fmla="*/ 2147483647 h 567"/>
              <a:gd name="T2" fmla="*/ 2147483647 w 735"/>
              <a:gd name="T3" fmla="*/ 2147483647 h 567"/>
              <a:gd name="T4" fmla="*/ 2147483647 w 735"/>
              <a:gd name="T5" fmla="*/ 2147483647 h 567"/>
              <a:gd name="T6" fmla="*/ 2147483647 w 735"/>
              <a:gd name="T7" fmla="*/ 2147483647 h 567"/>
              <a:gd name="T8" fmla="*/ 2147483647 w 735"/>
              <a:gd name="T9" fmla="*/ 2147483647 h 567"/>
              <a:gd name="T10" fmla="*/ 0 w 735"/>
              <a:gd name="T11" fmla="*/ 2147483647 h 567"/>
              <a:gd name="T12" fmla="*/ 2147483647 w 735"/>
              <a:gd name="T13" fmla="*/ 2147483647 h 567"/>
              <a:gd name="T14" fmla="*/ 2147483647 w 735"/>
              <a:gd name="T15" fmla="*/ 2147483647 h 567"/>
              <a:gd name="T16" fmla="*/ 2147483647 w 735"/>
              <a:gd name="T17" fmla="*/ 2147483647 h 567"/>
              <a:gd name="T18" fmla="*/ 2147483647 w 735"/>
              <a:gd name="T19" fmla="*/ 2147483647 h 567"/>
              <a:gd name="T20" fmla="*/ 2147483647 w 735"/>
              <a:gd name="T21" fmla="*/ 2147483647 h 567"/>
              <a:gd name="T22" fmla="*/ 2147483647 w 735"/>
              <a:gd name="T23" fmla="*/ 2147483647 h 567"/>
              <a:gd name="T24" fmla="*/ 2147483647 w 735"/>
              <a:gd name="T25" fmla="*/ 2147483647 h 567"/>
              <a:gd name="T26" fmla="*/ 2147483647 w 735"/>
              <a:gd name="T27" fmla="*/ 2147483647 h 567"/>
              <a:gd name="T28" fmla="*/ 2147483647 w 735"/>
              <a:gd name="T29" fmla="*/ 2147483647 h 567"/>
              <a:gd name="T30" fmla="*/ 2147483647 w 735"/>
              <a:gd name="T31" fmla="*/ 2147483647 h 567"/>
              <a:gd name="T32" fmla="*/ 2147483647 w 735"/>
              <a:gd name="T33" fmla="*/ 2147483647 h 567"/>
              <a:gd name="T34" fmla="*/ 2147483647 w 735"/>
              <a:gd name="T35" fmla="*/ 2147483647 h 567"/>
              <a:gd name="T36" fmla="*/ 2147483647 w 735"/>
              <a:gd name="T37" fmla="*/ 2147483647 h 567"/>
              <a:gd name="T38" fmla="*/ 2147483647 w 735"/>
              <a:gd name="T39" fmla="*/ 2147483647 h 567"/>
              <a:gd name="T40" fmla="*/ 2147483647 w 735"/>
              <a:gd name="T41" fmla="*/ 2147483647 h 567"/>
              <a:gd name="T42" fmla="*/ 2147483647 w 735"/>
              <a:gd name="T43" fmla="*/ 2147483647 h 567"/>
              <a:gd name="T44" fmla="*/ 2147483647 w 735"/>
              <a:gd name="T45" fmla="*/ 2147483647 h 567"/>
              <a:gd name="T46" fmla="*/ 2147483647 w 735"/>
              <a:gd name="T47" fmla="*/ 2147483647 h 567"/>
              <a:gd name="T48" fmla="*/ 2147483647 w 735"/>
              <a:gd name="T49" fmla="*/ 2147483647 h 567"/>
              <a:gd name="T50" fmla="*/ 2147483647 w 735"/>
              <a:gd name="T51" fmla="*/ 2147483647 h 567"/>
              <a:gd name="T52" fmla="*/ 2147483647 w 735"/>
              <a:gd name="T53" fmla="*/ 2147483647 h 567"/>
              <a:gd name="T54" fmla="*/ 2147483647 w 735"/>
              <a:gd name="T55" fmla="*/ 2147483647 h 567"/>
              <a:gd name="T56" fmla="*/ 2147483647 w 735"/>
              <a:gd name="T57" fmla="*/ 2147483647 h 567"/>
              <a:gd name="T58" fmla="*/ 2147483647 w 735"/>
              <a:gd name="T59" fmla="*/ 2147483647 h 567"/>
              <a:gd name="T60" fmla="*/ 2147483647 w 735"/>
              <a:gd name="T61" fmla="*/ 0 h 567"/>
              <a:gd name="T62" fmla="*/ 2147483647 w 735"/>
              <a:gd name="T63" fmla="*/ 2147483647 h 567"/>
              <a:gd name="T64" fmla="*/ 2147483647 w 735"/>
              <a:gd name="T65" fmla="*/ 2147483647 h 567"/>
              <a:gd name="T66" fmla="*/ 2147483647 w 735"/>
              <a:gd name="T67" fmla="*/ 2147483647 h 567"/>
              <a:gd name="T68" fmla="*/ 2147483647 w 735"/>
              <a:gd name="T69" fmla="*/ 2147483647 h 567"/>
              <a:gd name="T70" fmla="*/ 2147483647 w 735"/>
              <a:gd name="T71" fmla="*/ 2147483647 h 567"/>
              <a:gd name="T72" fmla="*/ 2147483647 w 735"/>
              <a:gd name="T73" fmla="*/ 2147483647 h 567"/>
              <a:gd name="T74" fmla="*/ 2147483647 w 735"/>
              <a:gd name="T75" fmla="*/ 2147483647 h 56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735"/>
              <a:gd name="T115" fmla="*/ 0 h 567"/>
              <a:gd name="T116" fmla="*/ 735 w 735"/>
              <a:gd name="T117" fmla="*/ 567 h 567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735" h="567">
                <a:moveTo>
                  <a:pt x="189" y="213"/>
                </a:moveTo>
                <a:lnTo>
                  <a:pt x="189" y="251"/>
                </a:lnTo>
                <a:lnTo>
                  <a:pt x="189" y="289"/>
                </a:lnTo>
                <a:lnTo>
                  <a:pt x="189" y="327"/>
                </a:lnTo>
                <a:lnTo>
                  <a:pt x="190" y="364"/>
                </a:lnTo>
                <a:lnTo>
                  <a:pt x="176" y="368"/>
                </a:lnTo>
                <a:lnTo>
                  <a:pt x="156" y="396"/>
                </a:lnTo>
                <a:lnTo>
                  <a:pt x="109" y="396"/>
                </a:lnTo>
                <a:lnTo>
                  <a:pt x="59" y="396"/>
                </a:lnTo>
                <a:lnTo>
                  <a:pt x="36" y="413"/>
                </a:lnTo>
                <a:lnTo>
                  <a:pt x="6" y="413"/>
                </a:lnTo>
                <a:lnTo>
                  <a:pt x="0" y="435"/>
                </a:lnTo>
                <a:lnTo>
                  <a:pt x="11" y="444"/>
                </a:lnTo>
                <a:lnTo>
                  <a:pt x="14" y="461"/>
                </a:lnTo>
                <a:lnTo>
                  <a:pt x="37" y="484"/>
                </a:lnTo>
                <a:lnTo>
                  <a:pt x="62" y="520"/>
                </a:lnTo>
                <a:lnTo>
                  <a:pt x="75" y="526"/>
                </a:lnTo>
                <a:lnTo>
                  <a:pt x="87" y="520"/>
                </a:lnTo>
                <a:lnTo>
                  <a:pt x="96" y="523"/>
                </a:lnTo>
                <a:lnTo>
                  <a:pt x="102" y="534"/>
                </a:lnTo>
                <a:lnTo>
                  <a:pt x="93" y="537"/>
                </a:lnTo>
                <a:lnTo>
                  <a:pt x="93" y="542"/>
                </a:lnTo>
                <a:lnTo>
                  <a:pt x="107" y="557"/>
                </a:lnTo>
                <a:lnTo>
                  <a:pt x="114" y="554"/>
                </a:lnTo>
                <a:lnTo>
                  <a:pt x="107" y="542"/>
                </a:lnTo>
                <a:lnTo>
                  <a:pt x="127" y="537"/>
                </a:lnTo>
                <a:lnTo>
                  <a:pt x="163" y="567"/>
                </a:lnTo>
                <a:lnTo>
                  <a:pt x="163" y="534"/>
                </a:lnTo>
                <a:lnTo>
                  <a:pt x="180" y="517"/>
                </a:lnTo>
                <a:lnTo>
                  <a:pt x="189" y="486"/>
                </a:lnTo>
                <a:lnTo>
                  <a:pt x="218" y="472"/>
                </a:lnTo>
                <a:lnTo>
                  <a:pt x="258" y="469"/>
                </a:lnTo>
                <a:lnTo>
                  <a:pt x="291" y="486"/>
                </a:lnTo>
                <a:lnTo>
                  <a:pt x="319" y="509"/>
                </a:lnTo>
                <a:lnTo>
                  <a:pt x="325" y="509"/>
                </a:lnTo>
                <a:lnTo>
                  <a:pt x="345" y="494"/>
                </a:lnTo>
                <a:lnTo>
                  <a:pt x="363" y="492"/>
                </a:lnTo>
                <a:lnTo>
                  <a:pt x="396" y="511"/>
                </a:lnTo>
                <a:lnTo>
                  <a:pt x="427" y="518"/>
                </a:lnTo>
                <a:lnTo>
                  <a:pt x="438" y="517"/>
                </a:lnTo>
                <a:lnTo>
                  <a:pt x="472" y="492"/>
                </a:lnTo>
                <a:lnTo>
                  <a:pt x="534" y="489"/>
                </a:lnTo>
                <a:lnTo>
                  <a:pt x="566" y="500"/>
                </a:lnTo>
                <a:lnTo>
                  <a:pt x="586" y="483"/>
                </a:lnTo>
                <a:lnTo>
                  <a:pt x="597" y="483"/>
                </a:lnTo>
                <a:lnTo>
                  <a:pt x="605" y="469"/>
                </a:lnTo>
                <a:lnTo>
                  <a:pt x="620" y="469"/>
                </a:lnTo>
                <a:lnTo>
                  <a:pt x="616" y="444"/>
                </a:lnTo>
                <a:lnTo>
                  <a:pt x="614" y="433"/>
                </a:lnTo>
                <a:lnTo>
                  <a:pt x="624" y="428"/>
                </a:lnTo>
                <a:lnTo>
                  <a:pt x="628" y="410"/>
                </a:lnTo>
                <a:lnTo>
                  <a:pt x="707" y="322"/>
                </a:lnTo>
                <a:lnTo>
                  <a:pt x="712" y="238"/>
                </a:lnTo>
                <a:lnTo>
                  <a:pt x="724" y="173"/>
                </a:lnTo>
                <a:lnTo>
                  <a:pt x="735" y="152"/>
                </a:lnTo>
                <a:lnTo>
                  <a:pt x="705" y="132"/>
                </a:lnTo>
                <a:lnTo>
                  <a:pt x="691" y="99"/>
                </a:lnTo>
                <a:lnTo>
                  <a:pt x="690" y="23"/>
                </a:lnTo>
                <a:lnTo>
                  <a:pt x="676" y="27"/>
                </a:lnTo>
                <a:lnTo>
                  <a:pt x="668" y="17"/>
                </a:lnTo>
                <a:lnTo>
                  <a:pt x="641" y="2"/>
                </a:lnTo>
                <a:lnTo>
                  <a:pt x="537" y="0"/>
                </a:lnTo>
                <a:lnTo>
                  <a:pt x="517" y="15"/>
                </a:lnTo>
                <a:lnTo>
                  <a:pt x="495" y="31"/>
                </a:lnTo>
                <a:lnTo>
                  <a:pt x="473" y="44"/>
                </a:lnTo>
                <a:lnTo>
                  <a:pt x="450" y="59"/>
                </a:lnTo>
                <a:lnTo>
                  <a:pt x="429" y="74"/>
                </a:lnTo>
                <a:lnTo>
                  <a:pt x="407" y="88"/>
                </a:lnTo>
                <a:lnTo>
                  <a:pt x="385" y="103"/>
                </a:lnTo>
                <a:lnTo>
                  <a:pt x="363" y="116"/>
                </a:lnTo>
                <a:lnTo>
                  <a:pt x="336" y="137"/>
                </a:lnTo>
                <a:lnTo>
                  <a:pt x="311" y="158"/>
                </a:lnTo>
                <a:lnTo>
                  <a:pt x="285" y="176"/>
                </a:lnTo>
                <a:lnTo>
                  <a:pt x="260" y="196"/>
                </a:lnTo>
                <a:lnTo>
                  <a:pt x="223" y="204"/>
                </a:lnTo>
                <a:lnTo>
                  <a:pt x="189" y="213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50" name="Freeform 139"/>
          <p:cNvSpPr>
            <a:spLocks noChangeAspect="1"/>
          </p:cNvSpPr>
          <p:nvPr/>
        </p:nvSpPr>
        <p:spPr bwMode="gray">
          <a:xfrm>
            <a:off x="4467225" y="3517900"/>
            <a:ext cx="263525" cy="215900"/>
          </a:xfrm>
          <a:custGeom>
            <a:avLst/>
            <a:gdLst>
              <a:gd name="T0" fmla="*/ 2147483647 w 540"/>
              <a:gd name="T1" fmla="*/ 2147483647 h 447"/>
              <a:gd name="T2" fmla="*/ 2147483647 w 540"/>
              <a:gd name="T3" fmla="*/ 2147483647 h 447"/>
              <a:gd name="T4" fmla="*/ 2147483647 w 540"/>
              <a:gd name="T5" fmla="*/ 2147483647 h 447"/>
              <a:gd name="T6" fmla="*/ 2147483647 w 540"/>
              <a:gd name="T7" fmla="*/ 2147483647 h 447"/>
              <a:gd name="T8" fmla="*/ 2147483647 w 540"/>
              <a:gd name="T9" fmla="*/ 2147483647 h 447"/>
              <a:gd name="T10" fmla="*/ 2147483647 w 540"/>
              <a:gd name="T11" fmla="*/ 2147483647 h 447"/>
              <a:gd name="T12" fmla="*/ 2147483647 w 540"/>
              <a:gd name="T13" fmla="*/ 2147483647 h 447"/>
              <a:gd name="T14" fmla="*/ 2147483647 w 540"/>
              <a:gd name="T15" fmla="*/ 2147483647 h 447"/>
              <a:gd name="T16" fmla="*/ 2147483647 w 540"/>
              <a:gd name="T17" fmla="*/ 2147483647 h 447"/>
              <a:gd name="T18" fmla="*/ 2147483647 w 540"/>
              <a:gd name="T19" fmla="*/ 2147483647 h 447"/>
              <a:gd name="T20" fmla="*/ 2147483647 w 540"/>
              <a:gd name="T21" fmla="*/ 2147483647 h 447"/>
              <a:gd name="T22" fmla="*/ 2147483647 w 540"/>
              <a:gd name="T23" fmla="*/ 2147483647 h 447"/>
              <a:gd name="T24" fmla="*/ 2147483647 w 540"/>
              <a:gd name="T25" fmla="*/ 2147483647 h 447"/>
              <a:gd name="T26" fmla="*/ 2147483647 w 540"/>
              <a:gd name="T27" fmla="*/ 2147483647 h 447"/>
              <a:gd name="T28" fmla="*/ 2147483647 w 540"/>
              <a:gd name="T29" fmla="*/ 2147483647 h 447"/>
              <a:gd name="T30" fmla="*/ 2147483647 w 540"/>
              <a:gd name="T31" fmla="*/ 2147483647 h 447"/>
              <a:gd name="T32" fmla="*/ 2147483647 w 540"/>
              <a:gd name="T33" fmla="*/ 2147483647 h 447"/>
              <a:gd name="T34" fmla="*/ 2147483647 w 540"/>
              <a:gd name="T35" fmla="*/ 2147483647 h 447"/>
              <a:gd name="T36" fmla="*/ 2147483647 w 540"/>
              <a:gd name="T37" fmla="*/ 0 h 447"/>
              <a:gd name="T38" fmla="*/ 2147483647 w 540"/>
              <a:gd name="T39" fmla="*/ 2147483647 h 447"/>
              <a:gd name="T40" fmla="*/ 2147483647 w 540"/>
              <a:gd name="T41" fmla="*/ 2147483647 h 447"/>
              <a:gd name="T42" fmla="*/ 2147483647 w 540"/>
              <a:gd name="T43" fmla="*/ 2147483647 h 447"/>
              <a:gd name="T44" fmla="*/ 2147483647 w 540"/>
              <a:gd name="T45" fmla="*/ 2147483647 h 447"/>
              <a:gd name="T46" fmla="*/ 2147483647 w 540"/>
              <a:gd name="T47" fmla="*/ 2147483647 h 447"/>
              <a:gd name="T48" fmla="*/ 2147483647 w 540"/>
              <a:gd name="T49" fmla="*/ 2147483647 h 447"/>
              <a:gd name="T50" fmla="*/ 2147483647 w 540"/>
              <a:gd name="T51" fmla="*/ 2147483647 h 447"/>
              <a:gd name="T52" fmla="*/ 2147483647 w 540"/>
              <a:gd name="T53" fmla="*/ 2147483647 h 447"/>
              <a:gd name="T54" fmla="*/ 2147483647 w 540"/>
              <a:gd name="T55" fmla="*/ 2147483647 h 447"/>
              <a:gd name="T56" fmla="*/ 2147483647 w 540"/>
              <a:gd name="T57" fmla="*/ 2147483647 h 447"/>
              <a:gd name="T58" fmla="*/ 2147483647 w 540"/>
              <a:gd name="T59" fmla="*/ 2147483647 h 447"/>
              <a:gd name="T60" fmla="*/ 2147483647 w 540"/>
              <a:gd name="T61" fmla="*/ 2147483647 h 447"/>
              <a:gd name="T62" fmla="*/ 2147483647 w 540"/>
              <a:gd name="T63" fmla="*/ 2147483647 h 447"/>
              <a:gd name="T64" fmla="*/ 2147483647 w 540"/>
              <a:gd name="T65" fmla="*/ 2147483647 h 447"/>
              <a:gd name="T66" fmla="*/ 0 w 540"/>
              <a:gd name="T67" fmla="*/ 2147483647 h 447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540"/>
              <a:gd name="T103" fmla="*/ 0 h 447"/>
              <a:gd name="T104" fmla="*/ 540 w 540"/>
              <a:gd name="T105" fmla="*/ 447 h 447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540" h="447">
                <a:moveTo>
                  <a:pt x="5" y="350"/>
                </a:moveTo>
                <a:lnTo>
                  <a:pt x="73" y="348"/>
                </a:lnTo>
                <a:lnTo>
                  <a:pt x="99" y="360"/>
                </a:lnTo>
                <a:lnTo>
                  <a:pt x="107" y="373"/>
                </a:lnTo>
                <a:lnTo>
                  <a:pt x="119" y="390"/>
                </a:lnTo>
                <a:lnTo>
                  <a:pt x="127" y="393"/>
                </a:lnTo>
                <a:lnTo>
                  <a:pt x="122" y="394"/>
                </a:lnTo>
                <a:lnTo>
                  <a:pt x="127" y="419"/>
                </a:lnTo>
                <a:lnTo>
                  <a:pt x="141" y="436"/>
                </a:lnTo>
                <a:lnTo>
                  <a:pt x="155" y="440"/>
                </a:lnTo>
                <a:lnTo>
                  <a:pt x="161" y="438"/>
                </a:lnTo>
                <a:lnTo>
                  <a:pt x="163" y="447"/>
                </a:lnTo>
                <a:lnTo>
                  <a:pt x="177" y="438"/>
                </a:lnTo>
                <a:lnTo>
                  <a:pt x="190" y="438"/>
                </a:lnTo>
                <a:lnTo>
                  <a:pt x="203" y="427"/>
                </a:lnTo>
                <a:lnTo>
                  <a:pt x="223" y="435"/>
                </a:lnTo>
                <a:lnTo>
                  <a:pt x="253" y="433"/>
                </a:lnTo>
                <a:lnTo>
                  <a:pt x="256" y="416"/>
                </a:lnTo>
                <a:lnTo>
                  <a:pt x="263" y="424"/>
                </a:lnTo>
                <a:lnTo>
                  <a:pt x="279" y="396"/>
                </a:lnTo>
                <a:lnTo>
                  <a:pt x="283" y="373"/>
                </a:lnTo>
                <a:lnTo>
                  <a:pt x="297" y="348"/>
                </a:lnTo>
                <a:lnTo>
                  <a:pt x="312" y="339"/>
                </a:lnTo>
                <a:lnTo>
                  <a:pt x="316" y="325"/>
                </a:lnTo>
                <a:lnTo>
                  <a:pt x="361" y="322"/>
                </a:lnTo>
                <a:lnTo>
                  <a:pt x="385" y="343"/>
                </a:lnTo>
                <a:lnTo>
                  <a:pt x="402" y="340"/>
                </a:lnTo>
                <a:lnTo>
                  <a:pt x="430" y="284"/>
                </a:lnTo>
                <a:lnTo>
                  <a:pt x="441" y="250"/>
                </a:lnTo>
                <a:lnTo>
                  <a:pt x="464" y="232"/>
                </a:lnTo>
                <a:lnTo>
                  <a:pt x="475" y="182"/>
                </a:lnTo>
                <a:lnTo>
                  <a:pt x="495" y="133"/>
                </a:lnTo>
                <a:lnTo>
                  <a:pt x="505" y="120"/>
                </a:lnTo>
                <a:lnTo>
                  <a:pt x="540" y="100"/>
                </a:lnTo>
                <a:lnTo>
                  <a:pt x="539" y="74"/>
                </a:lnTo>
                <a:lnTo>
                  <a:pt x="525" y="60"/>
                </a:lnTo>
                <a:lnTo>
                  <a:pt x="525" y="32"/>
                </a:lnTo>
                <a:lnTo>
                  <a:pt x="498" y="0"/>
                </a:lnTo>
                <a:lnTo>
                  <a:pt x="483" y="0"/>
                </a:lnTo>
                <a:lnTo>
                  <a:pt x="475" y="14"/>
                </a:lnTo>
                <a:lnTo>
                  <a:pt x="464" y="14"/>
                </a:lnTo>
                <a:lnTo>
                  <a:pt x="444" y="31"/>
                </a:lnTo>
                <a:lnTo>
                  <a:pt x="412" y="20"/>
                </a:lnTo>
                <a:lnTo>
                  <a:pt x="350" y="23"/>
                </a:lnTo>
                <a:lnTo>
                  <a:pt x="316" y="48"/>
                </a:lnTo>
                <a:lnTo>
                  <a:pt x="305" y="49"/>
                </a:lnTo>
                <a:lnTo>
                  <a:pt x="274" y="42"/>
                </a:lnTo>
                <a:lnTo>
                  <a:pt x="241" y="23"/>
                </a:lnTo>
                <a:lnTo>
                  <a:pt x="223" y="25"/>
                </a:lnTo>
                <a:lnTo>
                  <a:pt x="203" y="40"/>
                </a:lnTo>
                <a:lnTo>
                  <a:pt x="197" y="40"/>
                </a:lnTo>
                <a:lnTo>
                  <a:pt x="169" y="17"/>
                </a:lnTo>
                <a:lnTo>
                  <a:pt x="136" y="0"/>
                </a:lnTo>
                <a:lnTo>
                  <a:pt x="96" y="3"/>
                </a:lnTo>
                <a:lnTo>
                  <a:pt x="67" y="17"/>
                </a:lnTo>
                <a:lnTo>
                  <a:pt x="58" y="48"/>
                </a:lnTo>
                <a:lnTo>
                  <a:pt x="41" y="65"/>
                </a:lnTo>
                <a:lnTo>
                  <a:pt x="41" y="98"/>
                </a:lnTo>
                <a:lnTo>
                  <a:pt x="36" y="113"/>
                </a:lnTo>
                <a:lnTo>
                  <a:pt x="46" y="128"/>
                </a:lnTo>
                <a:lnTo>
                  <a:pt x="50" y="157"/>
                </a:lnTo>
                <a:lnTo>
                  <a:pt x="39" y="164"/>
                </a:lnTo>
                <a:lnTo>
                  <a:pt x="45" y="174"/>
                </a:lnTo>
                <a:lnTo>
                  <a:pt x="41" y="182"/>
                </a:lnTo>
                <a:lnTo>
                  <a:pt x="22" y="199"/>
                </a:lnTo>
                <a:lnTo>
                  <a:pt x="19" y="221"/>
                </a:lnTo>
                <a:lnTo>
                  <a:pt x="5" y="249"/>
                </a:lnTo>
                <a:lnTo>
                  <a:pt x="0" y="314"/>
                </a:lnTo>
                <a:lnTo>
                  <a:pt x="5" y="350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51" name="Freeform 140"/>
          <p:cNvSpPr>
            <a:spLocks noChangeAspect="1"/>
          </p:cNvSpPr>
          <p:nvPr/>
        </p:nvSpPr>
        <p:spPr bwMode="gray">
          <a:xfrm>
            <a:off x="4594225" y="3533775"/>
            <a:ext cx="173038" cy="260350"/>
          </a:xfrm>
          <a:custGeom>
            <a:avLst/>
            <a:gdLst>
              <a:gd name="T0" fmla="*/ 2147483647 w 354"/>
              <a:gd name="T1" fmla="*/ 2147483647 h 533"/>
              <a:gd name="T2" fmla="*/ 2147483647 w 354"/>
              <a:gd name="T3" fmla="*/ 2147483647 h 533"/>
              <a:gd name="T4" fmla="*/ 2147483647 w 354"/>
              <a:gd name="T5" fmla="*/ 2147483647 h 533"/>
              <a:gd name="T6" fmla="*/ 2147483647 w 354"/>
              <a:gd name="T7" fmla="*/ 2147483647 h 533"/>
              <a:gd name="T8" fmla="*/ 2147483647 w 354"/>
              <a:gd name="T9" fmla="*/ 2147483647 h 533"/>
              <a:gd name="T10" fmla="*/ 2147483647 w 354"/>
              <a:gd name="T11" fmla="*/ 2147483647 h 533"/>
              <a:gd name="T12" fmla="*/ 2147483647 w 354"/>
              <a:gd name="T13" fmla="*/ 2147483647 h 533"/>
              <a:gd name="T14" fmla="*/ 2147483647 w 354"/>
              <a:gd name="T15" fmla="*/ 2147483647 h 533"/>
              <a:gd name="T16" fmla="*/ 2147483647 w 354"/>
              <a:gd name="T17" fmla="*/ 2147483647 h 533"/>
              <a:gd name="T18" fmla="*/ 2147483647 w 354"/>
              <a:gd name="T19" fmla="*/ 2147483647 h 533"/>
              <a:gd name="T20" fmla="*/ 2147483647 w 354"/>
              <a:gd name="T21" fmla="*/ 2147483647 h 533"/>
              <a:gd name="T22" fmla="*/ 2147483647 w 354"/>
              <a:gd name="T23" fmla="*/ 2147483647 h 533"/>
              <a:gd name="T24" fmla="*/ 2147483647 w 354"/>
              <a:gd name="T25" fmla="*/ 2147483647 h 533"/>
              <a:gd name="T26" fmla="*/ 2147483647 w 354"/>
              <a:gd name="T27" fmla="*/ 2147483647 h 533"/>
              <a:gd name="T28" fmla="*/ 2147483647 w 354"/>
              <a:gd name="T29" fmla="*/ 2147483647 h 533"/>
              <a:gd name="T30" fmla="*/ 2147483647 w 354"/>
              <a:gd name="T31" fmla="*/ 2147483647 h 533"/>
              <a:gd name="T32" fmla="*/ 2147483647 w 354"/>
              <a:gd name="T33" fmla="*/ 2147483647 h 533"/>
              <a:gd name="T34" fmla="*/ 2147483647 w 354"/>
              <a:gd name="T35" fmla="*/ 2147483647 h 533"/>
              <a:gd name="T36" fmla="*/ 2147483647 w 354"/>
              <a:gd name="T37" fmla="*/ 2147483647 h 533"/>
              <a:gd name="T38" fmla="*/ 2147483647 w 354"/>
              <a:gd name="T39" fmla="*/ 2147483647 h 533"/>
              <a:gd name="T40" fmla="*/ 2147483647 w 354"/>
              <a:gd name="T41" fmla="*/ 2147483647 h 533"/>
              <a:gd name="T42" fmla="*/ 2147483647 w 354"/>
              <a:gd name="T43" fmla="*/ 2147483647 h 533"/>
              <a:gd name="T44" fmla="*/ 2147483647 w 354"/>
              <a:gd name="T45" fmla="*/ 2147483647 h 533"/>
              <a:gd name="T46" fmla="*/ 2147483647 w 354"/>
              <a:gd name="T47" fmla="*/ 2147483647 h 533"/>
              <a:gd name="T48" fmla="*/ 2147483647 w 354"/>
              <a:gd name="T49" fmla="*/ 2147483647 h 533"/>
              <a:gd name="T50" fmla="*/ 2147483647 w 354"/>
              <a:gd name="T51" fmla="*/ 2147483647 h 533"/>
              <a:gd name="T52" fmla="*/ 2147483647 w 354"/>
              <a:gd name="T53" fmla="*/ 2147483647 h 533"/>
              <a:gd name="T54" fmla="*/ 2147483647 w 354"/>
              <a:gd name="T55" fmla="*/ 0 h 533"/>
              <a:gd name="T56" fmla="*/ 2147483647 w 354"/>
              <a:gd name="T57" fmla="*/ 0 h 533"/>
              <a:gd name="T58" fmla="*/ 2147483647 w 354"/>
              <a:gd name="T59" fmla="*/ 2147483647 h 533"/>
              <a:gd name="T60" fmla="*/ 2147483647 w 354"/>
              <a:gd name="T61" fmla="*/ 2147483647 h 533"/>
              <a:gd name="T62" fmla="*/ 2147483647 w 354"/>
              <a:gd name="T63" fmla="*/ 2147483647 h 533"/>
              <a:gd name="T64" fmla="*/ 2147483647 w 354"/>
              <a:gd name="T65" fmla="*/ 2147483647 h 533"/>
              <a:gd name="T66" fmla="*/ 2147483647 w 354"/>
              <a:gd name="T67" fmla="*/ 2147483647 h 533"/>
              <a:gd name="T68" fmla="*/ 2147483647 w 354"/>
              <a:gd name="T69" fmla="*/ 2147483647 h 533"/>
              <a:gd name="T70" fmla="*/ 2147483647 w 354"/>
              <a:gd name="T71" fmla="*/ 2147483647 h 533"/>
              <a:gd name="T72" fmla="*/ 2147483647 w 354"/>
              <a:gd name="T73" fmla="*/ 2147483647 h 533"/>
              <a:gd name="T74" fmla="*/ 2147483647 w 354"/>
              <a:gd name="T75" fmla="*/ 2147483647 h 533"/>
              <a:gd name="T76" fmla="*/ 2147483647 w 354"/>
              <a:gd name="T77" fmla="*/ 2147483647 h 533"/>
              <a:gd name="T78" fmla="*/ 2147483647 w 354"/>
              <a:gd name="T79" fmla="*/ 2147483647 h 533"/>
              <a:gd name="T80" fmla="*/ 2147483647 w 354"/>
              <a:gd name="T81" fmla="*/ 2147483647 h 533"/>
              <a:gd name="T82" fmla="*/ 2147483647 w 354"/>
              <a:gd name="T83" fmla="*/ 2147483647 h 533"/>
              <a:gd name="T84" fmla="*/ 2147483647 w 354"/>
              <a:gd name="T85" fmla="*/ 2147483647 h 533"/>
              <a:gd name="T86" fmla="*/ 2147483647 w 354"/>
              <a:gd name="T87" fmla="*/ 2147483647 h 533"/>
              <a:gd name="T88" fmla="*/ 2147483647 w 354"/>
              <a:gd name="T89" fmla="*/ 2147483647 h 533"/>
              <a:gd name="T90" fmla="*/ 2147483647 w 354"/>
              <a:gd name="T91" fmla="*/ 2147483647 h 533"/>
              <a:gd name="T92" fmla="*/ 0 w 354"/>
              <a:gd name="T93" fmla="*/ 2147483647 h 533"/>
              <a:gd name="T94" fmla="*/ 2147483647 w 354"/>
              <a:gd name="T95" fmla="*/ 2147483647 h 533"/>
              <a:gd name="T96" fmla="*/ 2147483647 w 354"/>
              <a:gd name="T97" fmla="*/ 2147483647 h 533"/>
              <a:gd name="T98" fmla="*/ 2147483647 w 354"/>
              <a:gd name="T99" fmla="*/ 2147483647 h 533"/>
              <a:gd name="T100" fmla="*/ 2147483647 w 354"/>
              <a:gd name="T101" fmla="*/ 2147483647 h 533"/>
              <a:gd name="T102" fmla="*/ 2147483647 w 354"/>
              <a:gd name="T103" fmla="*/ 2147483647 h 533"/>
              <a:gd name="T104" fmla="*/ 2147483647 w 354"/>
              <a:gd name="T105" fmla="*/ 2147483647 h 533"/>
              <a:gd name="T106" fmla="*/ 2147483647 w 354"/>
              <a:gd name="T107" fmla="*/ 2147483647 h 533"/>
              <a:gd name="T108" fmla="*/ 2147483647 w 354"/>
              <a:gd name="T109" fmla="*/ 2147483647 h 533"/>
              <a:gd name="T110" fmla="*/ 2147483647 w 354"/>
              <a:gd name="T111" fmla="*/ 2147483647 h 533"/>
              <a:gd name="T112" fmla="*/ 2147483647 w 354"/>
              <a:gd name="T113" fmla="*/ 2147483647 h 53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354"/>
              <a:gd name="T172" fmla="*/ 0 h 533"/>
              <a:gd name="T173" fmla="*/ 354 w 354"/>
              <a:gd name="T174" fmla="*/ 533 h 53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354" h="533">
                <a:moveTo>
                  <a:pt x="132" y="506"/>
                </a:moveTo>
                <a:lnTo>
                  <a:pt x="172" y="501"/>
                </a:lnTo>
                <a:lnTo>
                  <a:pt x="223" y="508"/>
                </a:lnTo>
                <a:lnTo>
                  <a:pt x="288" y="508"/>
                </a:lnTo>
                <a:lnTo>
                  <a:pt x="328" y="517"/>
                </a:lnTo>
                <a:lnTo>
                  <a:pt x="348" y="533"/>
                </a:lnTo>
                <a:lnTo>
                  <a:pt x="354" y="522"/>
                </a:lnTo>
                <a:lnTo>
                  <a:pt x="354" y="475"/>
                </a:lnTo>
                <a:lnTo>
                  <a:pt x="348" y="477"/>
                </a:lnTo>
                <a:lnTo>
                  <a:pt x="320" y="450"/>
                </a:lnTo>
                <a:lnTo>
                  <a:pt x="283" y="386"/>
                </a:lnTo>
                <a:lnTo>
                  <a:pt x="282" y="335"/>
                </a:lnTo>
                <a:lnTo>
                  <a:pt x="296" y="313"/>
                </a:lnTo>
                <a:lnTo>
                  <a:pt x="320" y="266"/>
                </a:lnTo>
                <a:lnTo>
                  <a:pt x="303" y="208"/>
                </a:lnTo>
                <a:lnTo>
                  <a:pt x="294" y="200"/>
                </a:lnTo>
                <a:lnTo>
                  <a:pt x="271" y="189"/>
                </a:lnTo>
                <a:lnTo>
                  <a:pt x="260" y="167"/>
                </a:lnTo>
                <a:lnTo>
                  <a:pt x="262" y="154"/>
                </a:lnTo>
                <a:lnTo>
                  <a:pt x="269" y="147"/>
                </a:lnTo>
                <a:lnTo>
                  <a:pt x="313" y="150"/>
                </a:lnTo>
                <a:lnTo>
                  <a:pt x="319" y="146"/>
                </a:lnTo>
                <a:lnTo>
                  <a:pt x="314" y="133"/>
                </a:lnTo>
                <a:lnTo>
                  <a:pt x="294" y="100"/>
                </a:lnTo>
                <a:lnTo>
                  <a:pt x="300" y="58"/>
                </a:lnTo>
                <a:lnTo>
                  <a:pt x="286" y="16"/>
                </a:lnTo>
                <a:lnTo>
                  <a:pt x="276" y="10"/>
                </a:lnTo>
                <a:lnTo>
                  <a:pt x="273" y="0"/>
                </a:lnTo>
                <a:lnTo>
                  <a:pt x="262" y="0"/>
                </a:lnTo>
                <a:lnTo>
                  <a:pt x="262" y="28"/>
                </a:lnTo>
                <a:lnTo>
                  <a:pt x="276" y="42"/>
                </a:lnTo>
                <a:lnTo>
                  <a:pt x="277" y="68"/>
                </a:lnTo>
                <a:lnTo>
                  <a:pt x="242" y="88"/>
                </a:lnTo>
                <a:lnTo>
                  <a:pt x="232" y="101"/>
                </a:lnTo>
                <a:lnTo>
                  <a:pt x="212" y="150"/>
                </a:lnTo>
                <a:lnTo>
                  <a:pt x="201" y="200"/>
                </a:lnTo>
                <a:lnTo>
                  <a:pt x="178" y="218"/>
                </a:lnTo>
                <a:lnTo>
                  <a:pt x="167" y="252"/>
                </a:lnTo>
                <a:lnTo>
                  <a:pt x="139" y="308"/>
                </a:lnTo>
                <a:lnTo>
                  <a:pt x="122" y="311"/>
                </a:lnTo>
                <a:lnTo>
                  <a:pt x="98" y="290"/>
                </a:lnTo>
                <a:lnTo>
                  <a:pt x="53" y="293"/>
                </a:lnTo>
                <a:lnTo>
                  <a:pt x="49" y="307"/>
                </a:lnTo>
                <a:lnTo>
                  <a:pt x="34" y="316"/>
                </a:lnTo>
                <a:lnTo>
                  <a:pt x="20" y="341"/>
                </a:lnTo>
                <a:lnTo>
                  <a:pt x="16" y="364"/>
                </a:lnTo>
                <a:lnTo>
                  <a:pt x="0" y="392"/>
                </a:lnTo>
                <a:lnTo>
                  <a:pt x="7" y="401"/>
                </a:lnTo>
                <a:lnTo>
                  <a:pt x="19" y="400"/>
                </a:lnTo>
                <a:lnTo>
                  <a:pt x="27" y="420"/>
                </a:lnTo>
                <a:lnTo>
                  <a:pt x="44" y="426"/>
                </a:lnTo>
                <a:lnTo>
                  <a:pt x="57" y="424"/>
                </a:lnTo>
                <a:lnTo>
                  <a:pt x="53" y="438"/>
                </a:lnTo>
                <a:lnTo>
                  <a:pt x="57" y="443"/>
                </a:lnTo>
                <a:lnTo>
                  <a:pt x="70" y="458"/>
                </a:lnTo>
                <a:lnTo>
                  <a:pt x="59" y="508"/>
                </a:lnTo>
                <a:lnTo>
                  <a:pt x="132" y="506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52" name="Freeform 141"/>
          <p:cNvSpPr>
            <a:spLocks noChangeAspect="1"/>
          </p:cNvSpPr>
          <p:nvPr/>
        </p:nvSpPr>
        <p:spPr bwMode="gray">
          <a:xfrm>
            <a:off x="4732338" y="3579813"/>
            <a:ext cx="293687" cy="185737"/>
          </a:xfrm>
          <a:custGeom>
            <a:avLst/>
            <a:gdLst>
              <a:gd name="T0" fmla="*/ 2147483647 w 602"/>
              <a:gd name="T1" fmla="*/ 2147483647 h 379"/>
              <a:gd name="T2" fmla="*/ 2147483647 w 602"/>
              <a:gd name="T3" fmla="*/ 2147483647 h 379"/>
              <a:gd name="T4" fmla="*/ 2147483647 w 602"/>
              <a:gd name="T5" fmla="*/ 2147483647 h 379"/>
              <a:gd name="T6" fmla="*/ 2147483647 w 602"/>
              <a:gd name="T7" fmla="*/ 2147483647 h 379"/>
              <a:gd name="T8" fmla="*/ 2147483647 w 602"/>
              <a:gd name="T9" fmla="*/ 2147483647 h 379"/>
              <a:gd name="T10" fmla="*/ 2147483647 w 602"/>
              <a:gd name="T11" fmla="*/ 2147483647 h 379"/>
              <a:gd name="T12" fmla="*/ 2147483647 w 602"/>
              <a:gd name="T13" fmla="*/ 2147483647 h 379"/>
              <a:gd name="T14" fmla="*/ 2147483647 w 602"/>
              <a:gd name="T15" fmla="*/ 2147483647 h 379"/>
              <a:gd name="T16" fmla="*/ 2147483647 w 602"/>
              <a:gd name="T17" fmla="*/ 2147483647 h 379"/>
              <a:gd name="T18" fmla="*/ 2147483647 w 602"/>
              <a:gd name="T19" fmla="*/ 2147483647 h 379"/>
              <a:gd name="T20" fmla="*/ 2147483647 w 602"/>
              <a:gd name="T21" fmla="*/ 2147483647 h 379"/>
              <a:gd name="T22" fmla="*/ 2147483647 w 602"/>
              <a:gd name="T23" fmla="*/ 2147483647 h 379"/>
              <a:gd name="T24" fmla="*/ 2147483647 w 602"/>
              <a:gd name="T25" fmla="*/ 2147483647 h 379"/>
              <a:gd name="T26" fmla="*/ 2147483647 w 602"/>
              <a:gd name="T27" fmla="*/ 2147483647 h 379"/>
              <a:gd name="T28" fmla="*/ 2147483647 w 602"/>
              <a:gd name="T29" fmla="*/ 2147483647 h 379"/>
              <a:gd name="T30" fmla="*/ 2147483647 w 602"/>
              <a:gd name="T31" fmla="*/ 2147483647 h 379"/>
              <a:gd name="T32" fmla="*/ 0 w 602"/>
              <a:gd name="T33" fmla="*/ 2147483647 h 379"/>
              <a:gd name="T34" fmla="*/ 2147483647 w 602"/>
              <a:gd name="T35" fmla="*/ 2147483647 h 379"/>
              <a:gd name="T36" fmla="*/ 2147483647 w 602"/>
              <a:gd name="T37" fmla="*/ 2147483647 h 379"/>
              <a:gd name="T38" fmla="*/ 2147483647 w 602"/>
              <a:gd name="T39" fmla="*/ 2147483647 h 379"/>
              <a:gd name="T40" fmla="*/ 2147483647 w 602"/>
              <a:gd name="T41" fmla="*/ 2147483647 h 379"/>
              <a:gd name="T42" fmla="*/ 2147483647 w 602"/>
              <a:gd name="T43" fmla="*/ 2147483647 h 379"/>
              <a:gd name="T44" fmla="*/ 2147483647 w 602"/>
              <a:gd name="T45" fmla="*/ 2147483647 h 379"/>
              <a:gd name="T46" fmla="*/ 2147483647 w 602"/>
              <a:gd name="T47" fmla="*/ 2147483647 h 379"/>
              <a:gd name="T48" fmla="*/ 2147483647 w 602"/>
              <a:gd name="T49" fmla="*/ 2147483647 h 379"/>
              <a:gd name="T50" fmla="*/ 2147483647 w 602"/>
              <a:gd name="T51" fmla="*/ 2147483647 h 379"/>
              <a:gd name="T52" fmla="*/ 2147483647 w 602"/>
              <a:gd name="T53" fmla="*/ 2147483647 h 379"/>
              <a:gd name="T54" fmla="*/ 2147483647 w 602"/>
              <a:gd name="T55" fmla="*/ 2147483647 h 379"/>
              <a:gd name="T56" fmla="*/ 2147483647 w 602"/>
              <a:gd name="T57" fmla="*/ 2147483647 h 379"/>
              <a:gd name="T58" fmla="*/ 2147483647 w 602"/>
              <a:gd name="T59" fmla="*/ 2147483647 h 379"/>
              <a:gd name="T60" fmla="*/ 2147483647 w 602"/>
              <a:gd name="T61" fmla="*/ 2147483647 h 379"/>
              <a:gd name="T62" fmla="*/ 2147483647 w 602"/>
              <a:gd name="T63" fmla="*/ 2147483647 h 379"/>
              <a:gd name="T64" fmla="*/ 2147483647 w 602"/>
              <a:gd name="T65" fmla="*/ 2147483647 h 379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602"/>
              <a:gd name="T100" fmla="*/ 0 h 379"/>
              <a:gd name="T101" fmla="*/ 602 w 602"/>
              <a:gd name="T102" fmla="*/ 379 h 379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602" h="379">
                <a:moveTo>
                  <a:pt x="602" y="271"/>
                </a:moveTo>
                <a:lnTo>
                  <a:pt x="578" y="271"/>
                </a:lnTo>
                <a:lnTo>
                  <a:pt x="572" y="281"/>
                </a:lnTo>
                <a:lnTo>
                  <a:pt x="561" y="274"/>
                </a:lnTo>
                <a:lnTo>
                  <a:pt x="557" y="281"/>
                </a:lnTo>
                <a:lnTo>
                  <a:pt x="544" y="268"/>
                </a:lnTo>
                <a:lnTo>
                  <a:pt x="512" y="274"/>
                </a:lnTo>
                <a:lnTo>
                  <a:pt x="495" y="269"/>
                </a:lnTo>
                <a:lnTo>
                  <a:pt x="493" y="281"/>
                </a:lnTo>
                <a:lnTo>
                  <a:pt x="476" y="283"/>
                </a:lnTo>
                <a:lnTo>
                  <a:pt x="465" y="277"/>
                </a:lnTo>
                <a:lnTo>
                  <a:pt x="408" y="295"/>
                </a:lnTo>
                <a:lnTo>
                  <a:pt x="387" y="286"/>
                </a:lnTo>
                <a:lnTo>
                  <a:pt x="375" y="295"/>
                </a:lnTo>
                <a:lnTo>
                  <a:pt x="373" y="308"/>
                </a:lnTo>
                <a:lnTo>
                  <a:pt x="366" y="311"/>
                </a:lnTo>
                <a:lnTo>
                  <a:pt x="324" y="311"/>
                </a:lnTo>
                <a:lnTo>
                  <a:pt x="294" y="298"/>
                </a:lnTo>
                <a:lnTo>
                  <a:pt x="287" y="305"/>
                </a:lnTo>
                <a:lnTo>
                  <a:pt x="280" y="303"/>
                </a:lnTo>
                <a:lnTo>
                  <a:pt x="255" y="272"/>
                </a:lnTo>
                <a:lnTo>
                  <a:pt x="232" y="271"/>
                </a:lnTo>
                <a:lnTo>
                  <a:pt x="202" y="303"/>
                </a:lnTo>
                <a:lnTo>
                  <a:pt x="201" y="337"/>
                </a:lnTo>
                <a:lnTo>
                  <a:pt x="190" y="339"/>
                </a:lnTo>
                <a:lnTo>
                  <a:pt x="158" y="352"/>
                </a:lnTo>
                <a:lnTo>
                  <a:pt x="130" y="339"/>
                </a:lnTo>
                <a:lnTo>
                  <a:pt x="114" y="342"/>
                </a:lnTo>
                <a:lnTo>
                  <a:pt x="94" y="354"/>
                </a:lnTo>
                <a:lnTo>
                  <a:pt x="72" y="377"/>
                </a:lnTo>
                <a:lnTo>
                  <a:pt x="66" y="379"/>
                </a:lnTo>
                <a:lnTo>
                  <a:pt x="38" y="352"/>
                </a:lnTo>
                <a:lnTo>
                  <a:pt x="1" y="288"/>
                </a:lnTo>
                <a:lnTo>
                  <a:pt x="0" y="237"/>
                </a:lnTo>
                <a:lnTo>
                  <a:pt x="14" y="215"/>
                </a:lnTo>
                <a:lnTo>
                  <a:pt x="38" y="168"/>
                </a:lnTo>
                <a:lnTo>
                  <a:pt x="66" y="166"/>
                </a:lnTo>
                <a:lnTo>
                  <a:pt x="87" y="156"/>
                </a:lnTo>
                <a:lnTo>
                  <a:pt x="94" y="150"/>
                </a:lnTo>
                <a:lnTo>
                  <a:pt x="109" y="162"/>
                </a:lnTo>
                <a:lnTo>
                  <a:pt x="151" y="142"/>
                </a:lnTo>
                <a:lnTo>
                  <a:pt x="190" y="139"/>
                </a:lnTo>
                <a:lnTo>
                  <a:pt x="212" y="114"/>
                </a:lnTo>
                <a:lnTo>
                  <a:pt x="206" y="105"/>
                </a:lnTo>
                <a:lnTo>
                  <a:pt x="207" y="99"/>
                </a:lnTo>
                <a:lnTo>
                  <a:pt x="275" y="88"/>
                </a:lnTo>
                <a:lnTo>
                  <a:pt x="282" y="80"/>
                </a:lnTo>
                <a:lnTo>
                  <a:pt x="297" y="73"/>
                </a:lnTo>
                <a:lnTo>
                  <a:pt x="302" y="61"/>
                </a:lnTo>
                <a:lnTo>
                  <a:pt x="334" y="35"/>
                </a:lnTo>
                <a:lnTo>
                  <a:pt x="334" y="22"/>
                </a:lnTo>
                <a:lnTo>
                  <a:pt x="345" y="9"/>
                </a:lnTo>
                <a:lnTo>
                  <a:pt x="379" y="0"/>
                </a:lnTo>
                <a:lnTo>
                  <a:pt x="416" y="46"/>
                </a:lnTo>
                <a:lnTo>
                  <a:pt x="419" y="60"/>
                </a:lnTo>
                <a:lnTo>
                  <a:pt x="416" y="100"/>
                </a:lnTo>
                <a:lnTo>
                  <a:pt x="424" y="107"/>
                </a:lnTo>
                <a:lnTo>
                  <a:pt x="444" y="111"/>
                </a:lnTo>
                <a:lnTo>
                  <a:pt x="450" y="124"/>
                </a:lnTo>
                <a:lnTo>
                  <a:pt x="476" y="128"/>
                </a:lnTo>
                <a:lnTo>
                  <a:pt x="492" y="139"/>
                </a:lnTo>
                <a:lnTo>
                  <a:pt x="497" y="161"/>
                </a:lnTo>
                <a:lnTo>
                  <a:pt x="543" y="195"/>
                </a:lnTo>
                <a:lnTo>
                  <a:pt x="558" y="229"/>
                </a:lnTo>
                <a:lnTo>
                  <a:pt x="592" y="249"/>
                </a:lnTo>
                <a:lnTo>
                  <a:pt x="602" y="271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53" name="Freeform 142"/>
          <p:cNvSpPr>
            <a:spLocks noChangeAspect="1"/>
          </p:cNvSpPr>
          <p:nvPr/>
        </p:nvSpPr>
        <p:spPr bwMode="gray">
          <a:xfrm>
            <a:off x="4214813" y="3587750"/>
            <a:ext cx="139700" cy="144463"/>
          </a:xfrm>
          <a:custGeom>
            <a:avLst/>
            <a:gdLst>
              <a:gd name="T0" fmla="*/ 2147483647 w 283"/>
              <a:gd name="T1" fmla="*/ 2147483647 h 296"/>
              <a:gd name="T2" fmla="*/ 2147483647 w 283"/>
              <a:gd name="T3" fmla="*/ 2147483647 h 296"/>
              <a:gd name="T4" fmla="*/ 2147483647 w 283"/>
              <a:gd name="T5" fmla="*/ 2147483647 h 296"/>
              <a:gd name="T6" fmla="*/ 2147483647 w 283"/>
              <a:gd name="T7" fmla="*/ 2147483647 h 296"/>
              <a:gd name="T8" fmla="*/ 2147483647 w 283"/>
              <a:gd name="T9" fmla="*/ 2147483647 h 296"/>
              <a:gd name="T10" fmla="*/ 2147483647 w 283"/>
              <a:gd name="T11" fmla="*/ 2147483647 h 296"/>
              <a:gd name="T12" fmla="*/ 2147483647 w 283"/>
              <a:gd name="T13" fmla="*/ 2147483647 h 296"/>
              <a:gd name="T14" fmla="*/ 2147483647 w 283"/>
              <a:gd name="T15" fmla="*/ 2147483647 h 296"/>
              <a:gd name="T16" fmla="*/ 2147483647 w 283"/>
              <a:gd name="T17" fmla="*/ 2147483647 h 296"/>
              <a:gd name="T18" fmla="*/ 0 w 283"/>
              <a:gd name="T19" fmla="*/ 2147483647 h 296"/>
              <a:gd name="T20" fmla="*/ 2147483647 w 283"/>
              <a:gd name="T21" fmla="*/ 2147483647 h 296"/>
              <a:gd name="T22" fmla="*/ 2147483647 w 283"/>
              <a:gd name="T23" fmla="*/ 2147483647 h 296"/>
              <a:gd name="T24" fmla="*/ 2147483647 w 283"/>
              <a:gd name="T25" fmla="*/ 2147483647 h 296"/>
              <a:gd name="T26" fmla="*/ 2147483647 w 283"/>
              <a:gd name="T27" fmla="*/ 2147483647 h 296"/>
              <a:gd name="T28" fmla="*/ 2147483647 w 283"/>
              <a:gd name="T29" fmla="*/ 2147483647 h 296"/>
              <a:gd name="T30" fmla="*/ 2147483647 w 283"/>
              <a:gd name="T31" fmla="*/ 2147483647 h 296"/>
              <a:gd name="T32" fmla="*/ 2147483647 w 283"/>
              <a:gd name="T33" fmla="*/ 2147483647 h 296"/>
              <a:gd name="T34" fmla="*/ 2147483647 w 283"/>
              <a:gd name="T35" fmla="*/ 2147483647 h 296"/>
              <a:gd name="T36" fmla="*/ 2147483647 w 283"/>
              <a:gd name="T37" fmla="*/ 2147483647 h 296"/>
              <a:gd name="T38" fmla="*/ 2147483647 w 283"/>
              <a:gd name="T39" fmla="*/ 2147483647 h 296"/>
              <a:gd name="T40" fmla="*/ 2147483647 w 283"/>
              <a:gd name="T41" fmla="*/ 2147483647 h 296"/>
              <a:gd name="T42" fmla="*/ 2147483647 w 283"/>
              <a:gd name="T43" fmla="*/ 2147483647 h 296"/>
              <a:gd name="T44" fmla="*/ 2147483647 w 283"/>
              <a:gd name="T45" fmla="*/ 2147483647 h 296"/>
              <a:gd name="T46" fmla="*/ 2147483647 w 283"/>
              <a:gd name="T47" fmla="*/ 2147483647 h 296"/>
              <a:gd name="T48" fmla="*/ 2147483647 w 283"/>
              <a:gd name="T49" fmla="*/ 2147483647 h 296"/>
              <a:gd name="T50" fmla="*/ 2147483647 w 283"/>
              <a:gd name="T51" fmla="*/ 2147483647 h 296"/>
              <a:gd name="T52" fmla="*/ 2147483647 w 283"/>
              <a:gd name="T53" fmla="*/ 2147483647 h 296"/>
              <a:gd name="T54" fmla="*/ 2147483647 w 283"/>
              <a:gd name="T55" fmla="*/ 2147483647 h 296"/>
              <a:gd name="T56" fmla="*/ 2147483647 w 283"/>
              <a:gd name="T57" fmla="*/ 2147483647 h 296"/>
              <a:gd name="T58" fmla="*/ 2147483647 w 283"/>
              <a:gd name="T59" fmla="*/ 0 h 296"/>
              <a:gd name="T60" fmla="*/ 2147483647 w 283"/>
              <a:gd name="T61" fmla="*/ 2147483647 h 296"/>
              <a:gd name="T62" fmla="*/ 2147483647 w 283"/>
              <a:gd name="T63" fmla="*/ 2147483647 h 296"/>
              <a:gd name="T64" fmla="*/ 2147483647 w 283"/>
              <a:gd name="T65" fmla="*/ 2147483647 h 296"/>
              <a:gd name="T66" fmla="*/ 2147483647 w 283"/>
              <a:gd name="T67" fmla="*/ 2147483647 h 296"/>
              <a:gd name="T68" fmla="*/ 2147483647 w 283"/>
              <a:gd name="T69" fmla="*/ 2147483647 h 29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283"/>
              <a:gd name="T106" fmla="*/ 0 h 296"/>
              <a:gd name="T107" fmla="*/ 283 w 283"/>
              <a:gd name="T108" fmla="*/ 296 h 29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283" h="296">
                <a:moveTo>
                  <a:pt x="27" y="25"/>
                </a:moveTo>
                <a:lnTo>
                  <a:pt x="18" y="37"/>
                </a:lnTo>
                <a:lnTo>
                  <a:pt x="18" y="59"/>
                </a:lnTo>
                <a:lnTo>
                  <a:pt x="32" y="62"/>
                </a:lnTo>
                <a:lnTo>
                  <a:pt x="30" y="74"/>
                </a:lnTo>
                <a:lnTo>
                  <a:pt x="37" y="79"/>
                </a:lnTo>
                <a:lnTo>
                  <a:pt x="29" y="91"/>
                </a:lnTo>
                <a:lnTo>
                  <a:pt x="35" y="93"/>
                </a:lnTo>
                <a:lnTo>
                  <a:pt x="38" y="111"/>
                </a:lnTo>
                <a:lnTo>
                  <a:pt x="29" y="105"/>
                </a:lnTo>
                <a:lnTo>
                  <a:pt x="13" y="106"/>
                </a:lnTo>
                <a:lnTo>
                  <a:pt x="13" y="116"/>
                </a:lnTo>
                <a:lnTo>
                  <a:pt x="24" y="119"/>
                </a:lnTo>
                <a:lnTo>
                  <a:pt x="27" y="125"/>
                </a:lnTo>
                <a:lnTo>
                  <a:pt x="18" y="147"/>
                </a:lnTo>
                <a:lnTo>
                  <a:pt x="3" y="148"/>
                </a:lnTo>
                <a:lnTo>
                  <a:pt x="4" y="161"/>
                </a:lnTo>
                <a:lnTo>
                  <a:pt x="13" y="169"/>
                </a:lnTo>
                <a:lnTo>
                  <a:pt x="10" y="182"/>
                </a:lnTo>
                <a:lnTo>
                  <a:pt x="0" y="196"/>
                </a:lnTo>
                <a:lnTo>
                  <a:pt x="27" y="204"/>
                </a:lnTo>
                <a:lnTo>
                  <a:pt x="37" y="223"/>
                </a:lnTo>
                <a:lnTo>
                  <a:pt x="51" y="227"/>
                </a:lnTo>
                <a:lnTo>
                  <a:pt x="54" y="250"/>
                </a:lnTo>
                <a:lnTo>
                  <a:pt x="47" y="263"/>
                </a:lnTo>
                <a:lnTo>
                  <a:pt x="47" y="292"/>
                </a:lnTo>
                <a:lnTo>
                  <a:pt x="61" y="296"/>
                </a:lnTo>
                <a:lnTo>
                  <a:pt x="114" y="272"/>
                </a:lnTo>
                <a:lnTo>
                  <a:pt x="174" y="260"/>
                </a:lnTo>
                <a:lnTo>
                  <a:pt x="216" y="257"/>
                </a:lnTo>
                <a:lnTo>
                  <a:pt x="252" y="264"/>
                </a:lnTo>
                <a:lnTo>
                  <a:pt x="258" y="257"/>
                </a:lnTo>
                <a:lnTo>
                  <a:pt x="271" y="258"/>
                </a:lnTo>
                <a:lnTo>
                  <a:pt x="269" y="237"/>
                </a:lnTo>
                <a:lnTo>
                  <a:pt x="258" y="230"/>
                </a:lnTo>
                <a:lnTo>
                  <a:pt x="247" y="193"/>
                </a:lnTo>
                <a:lnTo>
                  <a:pt x="249" y="178"/>
                </a:lnTo>
                <a:lnTo>
                  <a:pt x="261" y="162"/>
                </a:lnTo>
                <a:lnTo>
                  <a:pt x="269" y="127"/>
                </a:lnTo>
                <a:lnTo>
                  <a:pt x="283" y="114"/>
                </a:lnTo>
                <a:lnTo>
                  <a:pt x="275" y="79"/>
                </a:lnTo>
                <a:lnTo>
                  <a:pt x="269" y="76"/>
                </a:lnTo>
                <a:lnTo>
                  <a:pt x="272" y="69"/>
                </a:lnTo>
                <a:lnTo>
                  <a:pt x="272" y="57"/>
                </a:lnTo>
                <a:lnTo>
                  <a:pt x="263" y="57"/>
                </a:lnTo>
                <a:lnTo>
                  <a:pt x="249" y="35"/>
                </a:lnTo>
                <a:lnTo>
                  <a:pt x="244" y="38"/>
                </a:lnTo>
                <a:lnTo>
                  <a:pt x="227" y="35"/>
                </a:lnTo>
                <a:lnTo>
                  <a:pt x="198" y="43"/>
                </a:lnTo>
                <a:lnTo>
                  <a:pt x="193" y="51"/>
                </a:lnTo>
                <a:lnTo>
                  <a:pt x="185" y="46"/>
                </a:lnTo>
                <a:lnTo>
                  <a:pt x="179" y="47"/>
                </a:lnTo>
                <a:lnTo>
                  <a:pt x="165" y="38"/>
                </a:lnTo>
                <a:lnTo>
                  <a:pt x="154" y="18"/>
                </a:lnTo>
                <a:lnTo>
                  <a:pt x="145" y="20"/>
                </a:lnTo>
                <a:lnTo>
                  <a:pt x="137" y="13"/>
                </a:lnTo>
                <a:lnTo>
                  <a:pt x="128" y="13"/>
                </a:lnTo>
                <a:lnTo>
                  <a:pt x="117" y="21"/>
                </a:lnTo>
                <a:lnTo>
                  <a:pt x="110" y="21"/>
                </a:lnTo>
                <a:lnTo>
                  <a:pt x="106" y="0"/>
                </a:lnTo>
                <a:lnTo>
                  <a:pt x="100" y="1"/>
                </a:lnTo>
                <a:lnTo>
                  <a:pt x="97" y="6"/>
                </a:lnTo>
                <a:lnTo>
                  <a:pt x="88" y="3"/>
                </a:lnTo>
                <a:lnTo>
                  <a:pt x="86" y="17"/>
                </a:lnTo>
                <a:lnTo>
                  <a:pt x="71" y="20"/>
                </a:lnTo>
                <a:lnTo>
                  <a:pt x="69" y="26"/>
                </a:lnTo>
                <a:lnTo>
                  <a:pt x="60" y="20"/>
                </a:lnTo>
                <a:lnTo>
                  <a:pt x="54" y="21"/>
                </a:lnTo>
                <a:lnTo>
                  <a:pt x="47" y="12"/>
                </a:lnTo>
                <a:lnTo>
                  <a:pt x="27" y="25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54" name="Freeform 143"/>
          <p:cNvSpPr>
            <a:spLocks noChangeAspect="1"/>
          </p:cNvSpPr>
          <p:nvPr/>
        </p:nvSpPr>
        <p:spPr bwMode="gray">
          <a:xfrm>
            <a:off x="4424363" y="3551238"/>
            <a:ext cx="66675" cy="138112"/>
          </a:xfrm>
          <a:custGeom>
            <a:avLst/>
            <a:gdLst>
              <a:gd name="T0" fmla="*/ 2147483647 w 139"/>
              <a:gd name="T1" fmla="*/ 2147483647 h 286"/>
              <a:gd name="T2" fmla="*/ 2147483647 w 139"/>
              <a:gd name="T3" fmla="*/ 2147483647 h 286"/>
              <a:gd name="T4" fmla="*/ 2147483647 w 139"/>
              <a:gd name="T5" fmla="*/ 2147483647 h 286"/>
              <a:gd name="T6" fmla="*/ 2147483647 w 139"/>
              <a:gd name="T7" fmla="*/ 2147483647 h 286"/>
              <a:gd name="T8" fmla="*/ 2147483647 w 139"/>
              <a:gd name="T9" fmla="*/ 2147483647 h 286"/>
              <a:gd name="T10" fmla="*/ 2147483647 w 139"/>
              <a:gd name="T11" fmla="*/ 2147483647 h 286"/>
              <a:gd name="T12" fmla="*/ 2147483647 w 139"/>
              <a:gd name="T13" fmla="*/ 2147483647 h 286"/>
              <a:gd name="T14" fmla="*/ 0 w 139"/>
              <a:gd name="T15" fmla="*/ 2147483647 h 286"/>
              <a:gd name="T16" fmla="*/ 2147483647 w 139"/>
              <a:gd name="T17" fmla="*/ 2147483647 h 286"/>
              <a:gd name="T18" fmla="*/ 2147483647 w 139"/>
              <a:gd name="T19" fmla="*/ 2147483647 h 286"/>
              <a:gd name="T20" fmla="*/ 2147483647 w 139"/>
              <a:gd name="T21" fmla="*/ 2147483647 h 286"/>
              <a:gd name="T22" fmla="*/ 2147483647 w 139"/>
              <a:gd name="T23" fmla="*/ 2147483647 h 286"/>
              <a:gd name="T24" fmla="*/ 2147483647 w 139"/>
              <a:gd name="T25" fmla="*/ 2147483647 h 286"/>
              <a:gd name="T26" fmla="*/ 2147483647 w 139"/>
              <a:gd name="T27" fmla="*/ 2147483647 h 286"/>
              <a:gd name="T28" fmla="*/ 2147483647 w 139"/>
              <a:gd name="T29" fmla="*/ 0 h 286"/>
              <a:gd name="T30" fmla="*/ 2147483647 w 139"/>
              <a:gd name="T31" fmla="*/ 2147483647 h 286"/>
              <a:gd name="T32" fmla="*/ 2147483647 w 139"/>
              <a:gd name="T33" fmla="*/ 2147483647 h 286"/>
              <a:gd name="T34" fmla="*/ 2147483647 w 139"/>
              <a:gd name="T35" fmla="*/ 2147483647 h 286"/>
              <a:gd name="T36" fmla="*/ 2147483647 w 139"/>
              <a:gd name="T37" fmla="*/ 2147483647 h 286"/>
              <a:gd name="T38" fmla="*/ 2147483647 w 139"/>
              <a:gd name="T39" fmla="*/ 2147483647 h 286"/>
              <a:gd name="T40" fmla="*/ 2147483647 w 139"/>
              <a:gd name="T41" fmla="*/ 2147483647 h 286"/>
              <a:gd name="T42" fmla="*/ 2147483647 w 139"/>
              <a:gd name="T43" fmla="*/ 2147483647 h 286"/>
              <a:gd name="T44" fmla="*/ 2147483647 w 139"/>
              <a:gd name="T45" fmla="*/ 2147483647 h 286"/>
              <a:gd name="T46" fmla="*/ 2147483647 w 139"/>
              <a:gd name="T47" fmla="*/ 2147483647 h 286"/>
              <a:gd name="T48" fmla="*/ 2147483647 w 139"/>
              <a:gd name="T49" fmla="*/ 2147483647 h 286"/>
              <a:gd name="T50" fmla="*/ 2147483647 w 139"/>
              <a:gd name="T51" fmla="*/ 2147483647 h 286"/>
              <a:gd name="T52" fmla="*/ 2147483647 w 139"/>
              <a:gd name="T53" fmla="*/ 2147483647 h 286"/>
              <a:gd name="T54" fmla="*/ 2147483647 w 139"/>
              <a:gd name="T55" fmla="*/ 2147483647 h 28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139"/>
              <a:gd name="T85" fmla="*/ 0 h 286"/>
              <a:gd name="T86" fmla="*/ 139 w 139"/>
              <a:gd name="T87" fmla="*/ 286 h 28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139" h="286">
                <a:moveTo>
                  <a:pt x="55" y="286"/>
                </a:moveTo>
                <a:lnTo>
                  <a:pt x="51" y="284"/>
                </a:lnTo>
                <a:lnTo>
                  <a:pt x="46" y="266"/>
                </a:lnTo>
                <a:lnTo>
                  <a:pt x="49" y="238"/>
                </a:lnTo>
                <a:lnTo>
                  <a:pt x="46" y="170"/>
                </a:lnTo>
                <a:lnTo>
                  <a:pt x="27" y="116"/>
                </a:lnTo>
                <a:lnTo>
                  <a:pt x="17" y="102"/>
                </a:lnTo>
                <a:lnTo>
                  <a:pt x="0" y="94"/>
                </a:lnTo>
                <a:lnTo>
                  <a:pt x="6" y="64"/>
                </a:lnTo>
                <a:lnTo>
                  <a:pt x="30" y="40"/>
                </a:lnTo>
                <a:lnTo>
                  <a:pt x="59" y="42"/>
                </a:lnTo>
                <a:lnTo>
                  <a:pt x="74" y="20"/>
                </a:lnTo>
                <a:lnTo>
                  <a:pt x="81" y="17"/>
                </a:lnTo>
                <a:lnTo>
                  <a:pt x="74" y="5"/>
                </a:lnTo>
                <a:lnTo>
                  <a:pt x="94" y="0"/>
                </a:lnTo>
                <a:lnTo>
                  <a:pt x="130" y="30"/>
                </a:lnTo>
                <a:lnTo>
                  <a:pt x="125" y="45"/>
                </a:lnTo>
                <a:lnTo>
                  <a:pt x="135" y="60"/>
                </a:lnTo>
                <a:lnTo>
                  <a:pt x="139" y="89"/>
                </a:lnTo>
                <a:lnTo>
                  <a:pt x="128" y="96"/>
                </a:lnTo>
                <a:lnTo>
                  <a:pt x="134" y="106"/>
                </a:lnTo>
                <a:lnTo>
                  <a:pt x="130" y="114"/>
                </a:lnTo>
                <a:lnTo>
                  <a:pt x="111" y="131"/>
                </a:lnTo>
                <a:lnTo>
                  <a:pt x="108" y="153"/>
                </a:lnTo>
                <a:lnTo>
                  <a:pt x="94" y="181"/>
                </a:lnTo>
                <a:lnTo>
                  <a:pt x="89" y="246"/>
                </a:lnTo>
                <a:lnTo>
                  <a:pt x="94" y="282"/>
                </a:lnTo>
                <a:lnTo>
                  <a:pt x="55" y="286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55" name="Freeform 144"/>
          <p:cNvSpPr>
            <a:spLocks noChangeAspect="1"/>
          </p:cNvSpPr>
          <p:nvPr/>
        </p:nvSpPr>
        <p:spPr bwMode="gray">
          <a:xfrm>
            <a:off x="4149725" y="3636963"/>
            <a:ext cx="90488" cy="93662"/>
          </a:xfrm>
          <a:custGeom>
            <a:avLst/>
            <a:gdLst>
              <a:gd name="T0" fmla="*/ 0 w 188"/>
              <a:gd name="T1" fmla="*/ 2147483647 h 190"/>
              <a:gd name="T2" fmla="*/ 2147483647 w 188"/>
              <a:gd name="T3" fmla="*/ 2147483647 h 190"/>
              <a:gd name="T4" fmla="*/ 2147483647 w 188"/>
              <a:gd name="T5" fmla="*/ 2147483647 h 190"/>
              <a:gd name="T6" fmla="*/ 2147483647 w 188"/>
              <a:gd name="T7" fmla="*/ 2147483647 h 190"/>
              <a:gd name="T8" fmla="*/ 2147483647 w 188"/>
              <a:gd name="T9" fmla="*/ 2147483647 h 190"/>
              <a:gd name="T10" fmla="*/ 2147483647 w 188"/>
              <a:gd name="T11" fmla="*/ 2147483647 h 190"/>
              <a:gd name="T12" fmla="*/ 2147483647 w 188"/>
              <a:gd name="T13" fmla="*/ 0 h 190"/>
              <a:gd name="T14" fmla="*/ 2147483647 w 188"/>
              <a:gd name="T15" fmla="*/ 2147483647 h 190"/>
              <a:gd name="T16" fmla="*/ 2147483647 w 188"/>
              <a:gd name="T17" fmla="*/ 2147483647 h 190"/>
              <a:gd name="T18" fmla="*/ 2147483647 w 188"/>
              <a:gd name="T19" fmla="*/ 2147483647 h 190"/>
              <a:gd name="T20" fmla="*/ 2147483647 w 188"/>
              <a:gd name="T21" fmla="*/ 2147483647 h 190"/>
              <a:gd name="T22" fmla="*/ 2147483647 w 188"/>
              <a:gd name="T23" fmla="*/ 2147483647 h 190"/>
              <a:gd name="T24" fmla="*/ 2147483647 w 188"/>
              <a:gd name="T25" fmla="*/ 2147483647 h 190"/>
              <a:gd name="T26" fmla="*/ 2147483647 w 188"/>
              <a:gd name="T27" fmla="*/ 2147483647 h 190"/>
              <a:gd name="T28" fmla="*/ 2147483647 w 188"/>
              <a:gd name="T29" fmla="*/ 2147483647 h 190"/>
              <a:gd name="T30" fmla="*/ 2147483647 w 188"/>
              <a:gd name="T31" fmla="*/ 2147483647 h 190"/>
              <a:gd name="T32" fmla="*/ 2147483647 w 188"/>
              <a:gd name="T33" fmla="*/ 2147483647 h 190"/>
              <a:gd name="T34" fmla="*/ 2147483647 w 188"/>
              <a:gd name="T35" fmla="*/ 2147483647 h 190"/>
              <a:gd name="T36" fmla="*/ 2147483647 w 188"/>
              <a:gd name="T37" fmla="*/ 2147483647 h 190"/>
              <a:gd name="T38" fmla="*/ 2147483647 w 188"/>
              <a:gd name="T39" fmla="*/ 2147483647 h 190"/>
              <a:gd name="T40" fmla="*/ 2147483647 w 188"/>
              <a:gd name="T41" fmla="*/ 2147483647 h 190"/>
              <a:gd name="T42" fmla="*/ 2147483647 w 188"/>
              <a:gd name="T43" fmla="*/ 2147483647 h 190"/>
              <a:gd name="T44" fmla="*/ 2147483647 w 188"/>
              <a:gd name="T45" fmla="*/ 2147483647 h 190"/>
              <a:gd name="T46" fmla="*/ 2147483647 w 188"/>
              <a:gd name="T47" fmla="*/ 2147483647 h 190"/>
              <a:gd name="T48" fmla="*/ 2147483647 w 188"/>
              <a:gd name="T49" fmla="*/ 2147483647 h 190"/>
              <a:gd name="T50" fmla="*/ 2147483647 w 188"/>
              <a:gd name="T51" fmla="*/ 2147483647 h 190"/>
              <a:gd name="T52" fmla="*/ 2147483647 w 188"/>
              <a:gd name="T53" fmla="*/ 2147483647 h 190"/>
              <a:gd name="T54" fmla="*/ 2147483647 w 188"/>
              <a:gd name="T55" fmla="*/ 2147483647 h 190"/>
              <a:gd name="T56" fmla="*/ 2147483647 w 188"/>
              <a:gd name="T57" fmla="*/ 2147483647 h 190"/>
              <a:gd name="T58" fmla="*/ 2147483647 w 188"/>
              <a:gd name="T59" fmla="*/ 2147483647 h 190"/>
              <a:gd name="T60" fmla="*/ 2147483647 w 188"/>
              <a:gd name="T61" fmla="*/ 2147483647 h 190"/>
              <a:gd name="T62" fmla="*/ 0 w 188"/>
              <a:gd name="T63" fmla="*/ 2147483647 h 190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88"/>
              <a:gd name="T97" fmla="*/ 0 h 190"/>
              <a:gd name="T98" fmla="*/ 188 w 188"/>
              <a:gd name="T99" fmla="*/ 190 h 190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88" h="190">
                <a:moveTo>
                  <a:pt x="0" y="72"/>
                </a:moveTo>
                <a:lnTo>
                  <a:pt x="8" y="59"/>
                </a:lnTo>
                <a:lnTo>
                  <a:pt x="41" y="37"/>
                </a:lnTo>
                <a:lnTo>
                  <a:pt x="39" y="23"/>
                </a:lnTo>
                <a:lnTo>
                  <a:pt x="55" y="17"/>
                </a:lnTo>
                <a:lnTo>
                  <a:pt x="53" y="8"/>
                </a:lnTo>
                <a:lnTo>
                  <a:pt x="61" y="0"/>
                </a:lnTo>
                <a:lnTo>
                  <a:pt x="70" y="4"/>
                </a:lnTo>
                <a:lnTo>
                  <a:pt x="80" y="1"/>
                </a:lnTo>
                <a:lnTo>
                  <a:pt x="90" y="9"/>
                </a:lnTo>
                <a:lnTo>
                  <a:pt x="97" y="35"/>
                </a:lnTo>
                <a:lnTo>
                  <a:pt x="92" y="55"/>
                </a:lnTo>
                <a:lnTo>
                  <a:pt x="100" y="54"/>
                </a:lnTo>
                <a:lnTo>
                  <a:pt x="112" y="62"/>
                </a:lnTo>
                <a:lnTo>
                  <a:pt x="120" y="59"/>
                </a:lnTo>
                <a:lnTo>
                  <a:pt x="129" y="42"/>
                </a:lnTo>
                <a:lnTo>
                  <a:pt x="137" y="46"/>
                </a:lnTo>
                <a:lnTo>
                  <a:pt x="138" y="59"/>
                </a:lnTo>
                <a:lnTo>
                  <a:pt x="147" y="67"/>
                </a:lnTo>
                <a:lnTo>
                  <a:pt x="144" y="80"/>
                </a:lnTo>
                <a:lnTo>
                  <a:pt x="134" y="94"/>
                </a:lnTo>
                <a:lnTo>
                  <a:pt x="161" y="102"/>
                </a:lnTo>
                <a:lnTo>
                  <a:pt x="171" y="121"/>
                </a:lnTo>
                <a:lnTo>
                  <a:pt x="185" y="125"/>
                </a:lnTo>
                <a:lnTo>
                  <a:pt x="188" y="148"/>
                </a:lnTo>
                <a:lnTo>
                  <a:pt x="181" y="161"/>
                </a:lnTo>
                <a:lnTo>
                  <a:pt x="181" y="190"/>
                </a:lnTo>
                <a:lnTo>
                  <a:pt x="138" y="181"/>
                </a:lnTo>
                <a:lnTo>
                  <a:pt x="98" y="156"/>
                </a:lnTo>
                <a:lnTo>
                  <a:pt x="51" y="113"/>
                </a:lnTo>
                <a:lnTo>
                  <a:pt x="27" y="102"/>
                </a:lnTo>
                <a:lnTo>
                  <a:pt x="0" y="72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56" name="Freeform 145"/>
          <p:cNvSpPr>
            <a:spLocks noChangeAspect="1"/>
          </p:cNvSpPr>
          <p:nvPr/>
        </p:nvSpPr>
        <p:spPr bwMode="gray">
          <a:xfrm>
            <a:off x="4405313" y="3582988"/>
            <a:ext cx="44450" cy="109537"/>
          </a:xfrm>
          <a:custGeom>
            <a:avLst/>
            <a:gdLst>
              <a:gd name="T0" fmla="*/ 2147483647 w 93"/>
              <a:gd name="T1" fmla="*/ 2147483647 h 230"/>
              <a:gd name="T2" fmla="*/ 2147483647 w 93"/>
              <a:gd name="T3" fmla="*/ 2147483647 h 230"/>
              <a:gd name="T4" fmla="*/ 2147483647 w 93"/>
              <a:gd name="T5" fmla="*/ 2147483647 h 230"/>
              <a:gd name="T6" fmla="*/ 2147483647 w 93"/>
              <a:gd name="T7" fmla="*/ 2147483647 h 230"/>
              <a:gd name="T8" fmla="*/ 2147483647 w 93"/>
              <a:gd name="T9" fmla="*/ 2147483647 h 230"/>
              <a:gd name="T10" fmla="*/ 2147483647 w 93"/>
              <a:gd name="T11" fmla="*/ 2147483647 h 230"/>
              <a:gd name="T12" fmla="*/ 0 w 93"/>
              <a:gd name="T13" fmla="*/ 2147483647 h 230"/>
              <a:gd name="T14" fmla="*/ 2147483647 w 93"/>
              <a:gd name="T15" fmla="*/ 2147483647 h 230"/>
              <a:gd name="T16" fmla="*/ 0 w 93"/>
              <a:gd name="T17" fmla="*/ 2147483647 h 230"/>
              <a:gd name="T18" fmla="*/ 0 w 93"/>
              <a:gd name="T19" fmla="*/ 2147483647 h 230"/>
              <a:gd name="T20" fmla="*/ 2147483647 w 93"/>
              <a:gd name="T21" fmla="*/ 2147483647 h 230"/>
              <a:gd name="T22" fmla="*/ 2147483647 w 93"/>
              <a:gd name="T23" fmla="*/ 2147483647 h 230"/>
              <a:gd name="T24" fmla="*/ 2147483647 w 93"/>
              <a:gd name="T25" fmla="*/ 0 h 230"/>
              <a:gd name="T26" fmla="*/ 2147483647 w 93"/>
              <a:gd name="T27" fmla="*/ 2147483647 h 230"/>
              <a:gd name="T28" fmla="*/ 2147483647 w 93"/>
              <a:gd name="T29" fmla="*/ 2147483647 h 230"/>
              <a:gd name="T30" fmla="*/ 2147483647 w 93"/>
              <a:gd name="T31" fmla="*/ 2147483647 h 230"/>
              <a:gd name="T32" fmla="*/ 2147483647 w 93"/>
              <a:gd name="T33" fmla="*/ 2147483647 h 230"/>
              <a:gd name="T34" fmla="*/ 2147483647 w 93"/>
              <a:gd name="T35" fmla="*/ 2147483647 h 230"/>
              <a:gd name="T36" fmla="*/ 2147483647 w 93"/>
              <a:gd name="T37" fmla="*/ 2147483647 h 230"/>
              <a:gd name="T38" fmla="*/ 2147483647 w 93"/>
              <a:gd name="T39" fmla="*/ 2147483647 h 230"/>
              <a:gd name="T40" fmla="*/ 2147483647 w 93"/>
              <a:gd name="T41" fmla="*/ 2147483647 h 230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93"/>
              <a:gd name="T64" fmla="*/ 0 h 230"/>
              <a:gd name="T65" fmla="*/ 93 w 93"/>
              <a:gd name="T66" fmla="*/ 230 h 230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93" h="230">
                <a:moveTo>
                  <a:pt x="93" y="222"/>
                </a:moveTo>
                <a:lnTo>
                  <a:pt x="61" y="230"/>
                </a:lnTo>
                <a:lnTo>
                  <a:pt x="44" y="213"/>
                </a:lnTo>
                <a:lnTo>
                  <a:pt x="34" y="196"/>
                </a:lnTo>
                <a:lnTo>
                  <a:pt x="28" y="80"/>
                </a:lnTo>
                <a:lnTo>
                  <a:pt x="17" y="38"/>
                </a:lnTo>
                <a:lnTo>
                  <a:pt x="0" y="17"/>
                </a:lnTo>
                <a:lnTo>
                  <a:pt x="5" y="5"/>
                </a:lnTo>
                <a:lnTo>
                  <a:pt x="0" y="4"/>
                </a:lnTo>
                <a:lnTo>
                  <a:pt x="0" y="1"/>
                </a:lnTo>
                <a:lnTo>
                  <a:pt x="14" y="1"/>
                </a:lnTo>
                <a:lnTo>
                  <a:pt x="25" y="4"/>
                </a:lnTo>
                <a:lnTo>
                  <a:pt x="44" y="0"/>
                </a:lnTo>
                <a:lnTo>
                  <a:pt x="38" y="30"/>
                </a:lnTo>
                <a:lnTo>
                  <a:pt x="55" y="38"/>
                </a:lnTo>
                <a:lnTo>
                  <a:pt x="65" y="52"/>
                </a:lnTo>
                <a:lnTo>
                  <a:pt x="84" y="106"/>
                </a:lnTo>
                <a:lnTo>
                  <a:pt x="87" y="174"/>
                </a:lnTo>
                <a:lnTo>
                  <a:pt x="84" y="202"/>
                </a:lnTo>
                <a:lnTo>
                  <a:pt x="89" y="220"/>
                </a:lnTo>
                <a:lnTo>
                  <a:pt x="93" y="222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57" name="Freeform 146"/>
          <p:cNvSpPr>
            <a:spLocks noChangeAspect="1"/>
          </p:cNvSpPr>
          <p:nvPr/>
        </p:nvSpPr>
        <p:spPr bwMode="gray">
          <a:xfrm>
            <a:off x="4068763" y="3541713"/>
            <a:ext cx="163512" cy="127000"/>
          </a:xfrm>
          <a:custGeom>
            <a:avLst/>
            <a:gdLst>
              <a:gd name="T0" fmla="*/ 2147483647 w 338"/>
              <a:gd name="T1" fmla="*/ 2147483647 h 257"/>
              <a:gd name="T2" fmla="*/ 2147483647 w 338"/>
              <a:gd name="T3" fmla="*/ 2147483647 h 257"/>
              <a:gd name="T4" fmla="*/ 2147483647 w 338"/>
              <a:gd name="T5" fmla="*/ 2147483647 h 257"/>
              <a:gd name="T6" fmla="*/ 2147483647 w 338"/>
              <a:gd name="T7" fmla="*/ 2147483647 h 257"/>
              <a:gd name="T8" fmla="*/ 2147483647 w 338"/>
              <a:gd name="T9" fmla="*/ 2147483647 h 257"/>
              <a:gd name="T10" fmla="*/ 2147483647 w 338"/>
              <a:gd name="T11" fmla="*/ 2147483647 h 257"/>
              <a:gd name="T12" fmla="*/ 2147483647 w 338"/>
              <a:gd name="T13" fmla="*/ 2147483647 h 257"/>
              <a:gd name="T14" fmla="*/ 2147483647 w 338"/>
              <a:gd name="T15" fmla="*/ 2147483647 h 257"/>
              <a:gd name="T16" fmla="*/ 2147483647 w 338"/>
              <a:gd name="T17" fmla="*/ 2147483647 h 257"/>
              <a:gd name="T18" fmla="*/ 2147483647 w 338"/>
              <a:gd name="T19" fmla="*/ 2147483647 h 257"/>
              <a:gd name="T20" fmla="*/ 2147483647 w 338"/>
              <a:gd name="T21" fmla="*/ 2147483647 h 257"/>
              <a:gd name="T22" fmla="*/ 2147483647 w 338"/>
              <a:gd name="T23" fmla="*/ 2147483647 h 257"/>
              <a:gd name="T24" fmla="*/ 2147483647 w 338"/>
              <a:gd name="T25" fmla="*/ 2147483647 h 257"/>
              <a:gd name="T26" fmla="*/ 2147483647 w 338"/>
              <a:gd name="T27" fmla="*/ 2147483647 h 257"/>
              <a:gd name="T28" fmla="*/ 2147483647 w 338"/>
              <a:gd name="T29" fmla="*/ 2147483647 h 257"/>
              <a:gd name="T30" fmla="*/ 2147483647 w 338"/>
              <a:gd name="T31" fmla="*/ 2147483647 h 257"/>
              <a:gd name="T32" fmla="*/ 2147483647 w 338"/>
              <a:gd name="T33" fmla="*/ 2147483647 h 257"/>
              <a:gd name="T34" fmla="*/ 2147483647 w 338"/>
              <a:gd name="T35" fmla="*/ 2147483647 h 257"/>
              <a:gd name="T36" fmla="*/ 2147483647 w 338"/>
              <a:gd name="T37" fmla="*/ 2147483647 h 257"/>
              <a:gd name="T38" fmla="*/ 2147483647 w 338"/>
              <a:gd name="T39" fmla="*/ 2147483647 h 257"/>
              <a:gd name="T40" fmla="*/ 2147483647 w 338"/>
              <a:gd name="T41" fmla="*/ 2147483647 h 257"/>
              <a:gd name="T42" fmla="*/ 2147483647 w 338"/>
              <a:gd name="T43" fmla="*/ 2147483647 h 257"/>
              <a:gd name="T44" fmla="*/ 2147483647 w 338"/>
              <a:gd name="T45" fmla="*/ 2147483647 h 257"/>
              <a:gd name="T46" fmla="*/ 2147483647 w 338"/>
              <a:gd name="T47" fmla="*/ 2147483647 h 257"/>
              <a:gd name="T48" fmla="*/ 2147483647 w 338"/>
              <a:gd name="T49" fmla="*/ 2147483647 h 257"/>
              <a:gd name="T50" fmla="*/ 2147483647 w 338"/>
              <a:gd name="T51" fmla="*/ 2147483647 h 257"/>
              <a:gd name="T52" fmla="*/ 2147483647 w 338"/>
              <a:gd name="T53" fmla="*/ 2147483647 h 257"/>
              <a:gd name="T54" fmla="*/ 2147483647 w 338"/>
              <a:gd name="T55" fmla="*/ 2147483647 h 257"/>
              <a:gd name="T56" fmla="*/ 2147483647 w 338"/>
              <a:gd name="T57" fmla="*/ 2147483647 h 257"/>
              <a:gd name="T58" fmla="*/ 2147483647 w 338"/>
              <a:gd name="T59" fmla="*/ 2147483647 h 257"/>
              <a:gd name="T60" fmla="*/ 2147483647 w 338"/>
              <a:gd name="T61" fmla="*/ 2147483647 h 257"/>
              <a:gd name="T62" fmla="*/ 2147483647 w 338"/>
              <a:gd name="T63" fmla="*/ 2147483647 h 257"/>
              <a:gd name="T64" fmla="*/ 2147483647 w 338"/>
              <a:gd name="T65" fmla="*/ 2147483647 h 257"/>
              <a:gd name="T66" fmla="*/ 2147483647 w 338"/>
              <a:gd name="T67" fmla="*/ 2147483647 h 257"/>
              <a:gd name="T68" fmla="*/ 2147483647 w 338"/>
              <a:gd name="T69" fmla="*/ 2147483647 h 257"/>
              <a:gd name="T70" fmla="*/ 2147483647 w 338"/>
              <a:gd name="T71" fmla="*/ 2147483647 h 257"/>
              <a:gd name="T72" fmla="*/ 2147483647 w 338"/>
              <a:gd name="T73" fmla="*/ 2147483647 h 257"/>
              <a:gd name="T74" fmla="*/ 2147483647 w 338"/>
              <a:gd name="T75" fmla="*/ 2147483647 h 257"/>
              <a:gd name="T76" fmla="*/ 2147483647 w 338"/>
              <a:gd name="T77" fmla="*/ 2147483647 h 257"/>
              <a:gd name="T78" fmla="*/ 2147483647 w 338"/>
              <a:gd name="T79" fmla="*/ 2147483647 h 257"/>
              <a:gd name="T80" fmla="*/ 2147483647 w 338"/>
              <a:gd name="T81" fmla="*/ 2147483647 h 257"/>
              <a:gd name="T82" fmla="*/ 2147483647 w 338"/>
              <a:gd name="T83" fmla="*/ 2147483647 h 257"/>
              <a:gd name="T84" fmla="*/ 2147483647 w 338"/>
              <a:gd name="T85" fmla="*/ 0 h 25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38"/>
              <a:gd name="T130" fmla="*/ 0 h 257"/>
              <a:gd name="T131" fmla="*/ 338 w 338"/>
              <a:gd name="T132" fmla="*/ 257 h 25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38" h="257">
                <a:moveTo>
                  <a:pt x="63" y="0"/>
                </a:moveTo>
                <a:lnTo>
                  <a:pt x="92" y="3"/>
                </a:lnTo>
                <a:lnTo>
                  <a:pt x="94" y="11"/>
                </a:lnTo>
                <a:lnTo>
                  <a:pt x="102" y="8"/>
                </a:lnTo>
                <a:lnTo>
                  <a:pt x="128" y="18"/>
                </a:lnTo>
                <a:lnTo>
                  <a:pt x="173" y="14"/>
                </a:lnTo>
                <a:lnTo>
                  <a:pt x="166" y="26"/>
                </a:lnTo>
                <a:lnTo>
                  <a:pt x="171" y="31"/>
                </a:lnTo>
                <a:lnTo>
                  <a:pt x="178" y="32"/>
                </a:lnTo>
                <a:lnTo>
                  <a:pt x="191" y="23"/>
                </a:lnTo>
                <a:lnTo>
                  <a:pt x="205" y="37"/>
                </a:lnTo>
                <a:lnTo>
                  <a:pt x="221" y="22"/>
                </a:lnTo>
                <a:lnTo>
                  <a:pt x="247" y="32"/>
                </a:lnTo>
                <a:lnTo>
                  <a:pt x="249" y="23"/>
                </a:lnTo>
                <a:lnTo>
                  <a:pt x="263" y="18"/>
                </a:lnTo>
                <a:lnTo>
                  <a:pt x="263" y="9"/>
                </a:lnTo>
                <a:lnTo>
                  <a:pt x="278" y="9"/>
                </a:lnTo>
                <a:lnTo>
                  <a:pt x="280" y="23"/>
                </a:lnTo>
                <a:lnTo>
                  <a:pt x="284" y="25"/>
                </a:lnTo>
                <a:lnTo>
                  <a:pt x="289" y="35"/>
                </a:lnTo>
                <a:lnTo>
                  <a:pt x="289" y="49"/>
                </a:lnTo>
                <a:lnTo>
                  <a:pt x="293" y="49"/>
                </a:lnTo>
                <a:lnTo>
                  <a:pt x="297" y="56"/>
                </a:lnTo>
                <a:lnTo>
                  <a:pt x="309" y="62"/>
                </a:lnTo>
                <a:lnTo>
                  <a:pt x="309" y="68"/>
                </a:lnTo>
                <a:lnTo>
                  <a:pt x="295" y="77"/>
                </a:lnTo>
                <a:lnTo>
                  <a:pt x="295" y="82"/>
                </a:lnTo>
                <a:lnTo>
                  <a:pt x="301" y="77"/>
                </a:lnTo>
                <a:lnTo>
                  <a:pt x="310" y="77"/>
                </a:lnTo>
                <a:lnTo>
                  <a:pt x="312" y="101"/>
                </a:lnTo>
                <a:lnTo>
                  <a:pt x="327" y="118"/>
                </a:lnTo>
                <a:lnTo>
                  <a:pt x="318" y="130"/>
                </a:lnTo>
                <a:lnTo>
                  <a:pt x="318" y="152"/>
                </a:lnTo>
                <a:lnTo>
                  <a:pt x="332" y="155"/>
                </a:lnTo>
                <a:lnTo>
                  <a:pt x="330" y="167"/>
                </a:lnTo>
                <a:lnTo>
                  <a:pt x="337" y="172"/>
                </a:lnTo>
                <a:lnTo>
                  <a:pt x="329" y="184"/>
                </a:lnTo>
                <a:lnTo>
                  <a:pt x="335" y="186"/>
                </a:lnTo>
                <a:lnTo>
                  <a:pt x="338" y="204"/>
                </a:lnTo>
                <a:lnTo>
                  <a:pt x="329" y="198"/>
                </a:lnTo>
                <a:lnTo>
                  <a:pt x="313" y="199"/>
                </a:lnTo>
                <a:lnTo>
                  <a:pt x="313" y="209"/>
                </a:lnTo>
                <a:lnTo>
                  <a:pt x="324" y="212"/>
                </a:lnTo>
                <a:lnTo>
                  <a:pt x="327" y="218"/>
                </a:lnTo>
                <a:lnTo>
                  <a:pt x="318" y="240"/>
                </a:lnTo>
                <a:lnTo>
                  <a:pt x="303" y="241"/>
                </a:lnTo>
                <a:lnTo>
                  <a:pt x="295" y="237"/>
                </a:lnTo>
                <a:lnTo>
                  <a:pt x="286" y="254"/>
                </a:lnTo>
                <a:lnTo>
                  <a:pt x="278" y="257"/>
                </a:lnTo>
                <a:lnTo>
                  <a:pt x="266" y="249"/>
                </a:lnTo>
                <a:lnTo>
                  <a:pt x="258" y="250"/>
                </a:lnTo>
                <a:lnTo>
                  <a:pt x="263" y="230"/>
                </a:lnTo>
                <a:lnTo>
                  <a:pt x="256" y="204"/>
                </a:lnTo>
                <a:lnTo>
                  <a:pt x="246" y="196"/>
                </a:lnTo>
                <a:lnTo>
                  <a:pt x="236" y="199"/>
                </a:lnTo>
                <a:lnTo>
                  <a:pt x="227" y="195"/>
                </a:lnTo>
                <a:lnTo>
                  <a:pt x="219" y="203"/>
                </a:lnTo>
                <a:lnTo>
                  <a:pt x="217" y="198"/>
                </a:lnTo>
                <a:lnTo>
                  <a:pt x="202" y="204"/>
                </a:lnTo>
                <a:lnTo>
                  <a:pt x="205" y="189"/>
                </a:lnTo>
                <a:lnTo>
                  <a:pt x="210" y="186"/>
                </a:lnTo>
                <a:lnTo>
                  <a:pt x="208" y="178"/>
                </a:lnTo>
                <a:lnTo>
                  <a:pt x="202" y="170"/>
                </a:lnTo>
                <a:lnTo>
                  <a:pt x="202" y="157"/>
                </a:lnTo>
                <a:lnTo>
                  <a:pt x="195" y="153"/>
                </a:lnTo>
                <a:lnTo>
                  <a:pt x="191" y="145"/>
                </a:lnTo>
                <a:lnTo>
                  <a:pt x="178" y="128"/>
                </a:lnTo>
                <a:lnTo>
                  <a:pt x="122" y="131"/>
                </a:lnTo>
                <a:lnTo>
                  <a:pt x="115" y="147"/>
                </a:lnTo>
                <a:lnTo>
                  <a:pt x="97" y="169"/>
                </a:lnTo>
                <a:lnTo>
                  <a:pt x="83" y="169"/>
                </a:lnTo>
                <a:lnTo>
                  <a:pt x="63" y="150"/>
                </a:lnTo>
                <a:lnTo>
                  <a:pt x="56" y="133"/>
                </a:lnTo>
                <a:lnTo>
                  <a:pt x="32" y="122"/>
                </a:lnTo>
                <a:lnTo>
                  <a:pt x="26" y="98"/>
                </a:lnTo>
                <a:lnTo>
                  <a:pt x="17" y="96"/>
                </a:lnTo>
                <a:lnTo>
                  <a:pt x="15" y="85"/>
                </a:lnTo>
                <a:lnTo>
                  <a:pt x="4" y="93"/>
                </a:lnTo>
                <a:lnTo>
                  <a:pt x="0" y="82"/>
                </a:lnTo>
                <a:lnTo>
                  <a:pt x="9" y="77"/>
                </a:lnTo>
                <a:lnTo>
                  <a:pt x="24" y="57"/>
                </a:lnTo>
                <a:lnTo>
                  <a:pt x="63" y="47"/>
                </a:lnTo>
                <a:lnTo>
                  <a:pt x="61" y="32"/>
                </a:lnTo>
                <a:lnTo>
                  <a:pt x="54" y="25"/>
                </a:lnTo>
                <a:lnTo>
                  <a:pt x="68" y="15"/>
                </a:lnTo>
                <a:lnTo>
                  <a:pt x="63" y="0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58" name="Freeform 147"/>
          <p:cNvSpPr>
            <a:spLocks noChangeAspect="1"/>
          </p:cNvSpPr>
          <p:nvPr/>
        </p:nvSpPr>
        <p:spPr bwMode="gray">
          <a:xfrm>
            <a:off x="4337050" y="3582988"/>
            <a:ext cx="96838" cy="141287"/>
          </a:xfrm>
          <a:custGeom>
            <a:avLst/>
            <a:gdLst>
              <a:gd name="T0" fmla="*/ 2147483647 w 203"/>
              <a:gd name="T1" fmla="*/ 2147483647 h 293"/>
              <a:gd name="T2" fmla="*/ 2147483647 w 203"/>
              <a:gd name="T3" fmla="*/ 2147483647 h 293"/>
              <a:gd name="T4" fmla="*/ 2147483647 w 203"/>
              <a:gd name="T5" fmla="*/ 2147483647 h 293"/>
              <a:gd name="T6" fmla="*/ 2147483647 w 203"/>
              <a:gd name="T7" fmla="*/ 2147483647 h 293"/>
              <a:gd name="T8" fmla="*/ 2147483647 w 203"/>
              <a:gd name="T9" fmla="*/ 2147483647 h 293"/>
              <a:gd name="T10" fmla="*/ 2147483647 w 203"/>
              <a:gd name="T11" fmla="*/ 2147483647 h 293"/>
              <a:gd name="T12" fmla="*/ 2147483647 w 203"/>
              <a:gd name="T13" fmla="*/ 2147483647 h 293"/>
              <a:gd name="T14" fmla="*/ 2147483647 w 203"/>
              <a:gd name="T15" fmla="*/ 2147483647 h 293"/>
              <a:gd name="T16" fmla="*/ 2147483647 w 203"/>
              <a:gd name="T17" fmla="*/ 2147483647 h 293"/>
              <a:gd name="T18" fmla="*/ 2147483647 w 203"/>
              <a:gd name="T19" fmla="*/ 2147483647 h 293"/>
              <a:gd name="T20" fmla="*/ 2147483647 w 203"/>
              <a:gd name="T21" fmla="*/ 0 h 293"/>
              <a:gd name="T22" fmla="*/ 2147483647 w 203"/>
              <a:gd name="T23" fmla="*/ 2147483647 h 293"/>
              <a:gd name="T24" fmla="*/ 2147483647 w 203"/>
              <a:gd name="T25" fmla="*/ 2147483647 h 293"/>
              <a:gd name="T26" fmla="*/ 2147483647 w 203"/>
              <a:gd name="T27" fmla="*/ 2147483647 h 293"/>
              <a:gd name="T28" fmla="*/ 2147483647 w 203"/>
              <a:gd name="T29" fmla="*/ 2147483647 h 293"/>
              <a:gd name="T30" fmla="*/ 2147483647 w 203"/>
              <a:gd name="T31" fmla="*/ 2147483647 h 293"/>
              <a:gd name="T32" fmla="*/ 2147483647 w 203"/>
              <a:gd name="T33" fmla="*/ 2147483647 h 293"/>
              <a:gd name="T34" fmla="*/ 2147483647 w 203"/>
              <a:gd name="T35" fmla="*/ 2147483647 h 293"/>
              <a:gd name="T36" fmla="*/ 2147483647 w 203"/>
              <a:gd name="T37" fmla="*/ 2147483647 h 293"/>
              <a:gd name="T38" fmla="*/ 2147483647 w 203"/>
              <a:gd name="T39" fmla="*/ 2147483647 h 293"/>
              <a:gd name="T40" fmla="*/ 2147483647 w 203"/>
              <a:gd name="T41" fmla="*/ 2147483647 h 293"/>
              <a:gd name="T42" fmla="*/ 0 w 203"/>
              <a:gd name="T43" fmla="*/ 2147483647 h 293"/>
              <a:gd name="T44" fmla="*/ 2147483647 w 203"/>
              <a:gd name="T45" fmla="*/ 2147483647 h 293"/>
              <a:gd name="T46" fmla="*/ 2147483647 w 203"/>
              <a:gd name="T47" fmla="*/ 2147483647 h 293"/>
              <a:gd name="T48" fmla="*/ 2147483647 w 203"/>
              <a:gd name="T49" fmla="*/ 2147483647 h 293"/>
              <a:gd name="T50" fmla="*/ 2147483647 w 203"/>
              <a:gd name="T51" fmla="*/ 2147483647 h 293"/>
              <a:gd name="T52" fmla="*/ 2147483647 w 203"/>
              <a:gd name="T53" fmla="*/ 2147483647 h 293"/>
              <a:gd name="T54" fmla="*/ 2147483647 w 203"/>
              <a:gd name="T55" fmla="*/ 2147483647 h 293"/>
              <a:gd name="T56" fmla="*/ 2147483647 w 203"/>
              <a:gd name="T57" fmla="*/ 2147483647 h 293"/>
              <a:gd name="T58" fmla="*/ 2147483647 w 203"/>
              <a:gd name="T59" fmla="*/ 2147483647 h 293"/>
              <a:gd name="T60" fmla="*/ 2147483647 w 203"/>
              <a:gd name="T61" fmla="*/ 2147483647 h 293"/>
              <a:gd name="T62" fmla="*/ 2147483647 w 203"/>
              <a:gd name="T63" fmla="*/ 2147483647 h 293"/>
              <a:gd name="T64" fmla="*/ 2147483647 w 203"/>
              <a:gd name="T65" fmla="*/ 2147483647 h 293"/>
              <a:gd name="T66" fmla="*/ 2147483647 w 203"/>
              <a:gd name="T67" fmla="*/ 2147483647 h 293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03"/>
              <a:gd name="T103" fmla="*/ 0 h 293"/>
              <a:gd name="T104" fmla="*/ 203 w 203"/>
              <a:gd name="T105" fmla="*/ 293 h 293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03" h="293">
                <a:moveTo>
                  <a:pt x="203" y="230"/>
                </a:moveTo>
                <a:lnTo>
                  <a:pt x="186" y="213"/>
                </a:lnTo>
                <a:lnTo>
                  <a:pt x="176" y="196"/>
                </a:lnTo>
                <a:lnTo>
                  <a:pt x="170" y="80"/>
                </a:lnTo>
                <a:lnTo>
                  <a:pt x="159" y="38"/>
                </a:lnTo>
                <a:lnTo>
                  <a:pt x="142" y="17"/>
                </a:lnTo>
                <a:lnTo>
                  <a:pt x="147" y="5"/>
                </a:lnTo>
                <a:lnTo>
                  <a:pt x="142" y="4"/>
                </a:lnTo>
                <a:lnTo>
                  <a:pt x="142" y="1"/>
                </a:lnTo>
                <a:lnTo>
                  <a:pt x="110" y="4"/>
                </a:lnTo>
                <a:lnTo>
                  <a:pt x="17" y="0"/>
                </a:lnTo>
                <a:lnTo>
                  <a:pt x="14" y="13"/>
                </a:lnTo>
                <a:lnTo>
                  <a:pt x="20" y="30"/>
                </a:lnTo>
                <a:lnTo>
                  <a:pt x="25" y="69"/>
                </a:lnTo>
                <a:lnTo>
                  <a:pt x="25" y="81"/>
                </a:lnTo>
                <a:lnTo>
                  <a:pt x="22" y="88"/>
                </a:lnTo>
                <a:lnTo>
                  <a:pt x="28" y="91"/>
                </a:lnTo>
                <a:lnTo>
                  <a:pt x="36" y="126"/>
                </a:lnTo>
                <a:lnTo>
                  <a:pt x="22" y="139"/>
                </a:lnTo>
                <a:lnTo>
                  <a:pt x="14" y="174"/>
                </a:lnTo>
                <a:lnTo>
                  <a:pt x="2" y="190"/>
                </a:lnTo>
                <a:lnTo>
                  <a:pt x="0" y="205"/>
                </a:lnTo>
                <a:lnTo>
                  <a:pt x="11" y="242"/>
                </a:lnTo>
                <a:lnTo>
                  <a:pt x="22" y="249"/>
                </a:lnTo>
                <a:lnTo>
                  <a:pt x="24" y="270"/>
                </a:lnTo>
                <a:lnTo>
                  <a:pt x="11" y="269"/>
                </a:lnTo>
                <a:lnTo>
                  <a:pt x="5" y="276"/>
                </a:lnTo>
                <a:lnTo>
                  <a:pt x="57" y="293"/>
                </a:lnTo>
                <a:lnTo>
                  <a:pt x="82" y="278"/>
                </a:lnTo>
                <a:lnTo>
                  <a:pt x="117" y="269"/>
                </a:lnTo>
                <a:lnTo>
                  <a:pt x="155" y="247"/>
                </a:lnTo>
                <a:lnTo>
                  <a:pt x="159" y="245"/>
                </a:lnTo>
                <a:lnTo>
                  <a:pt x="192" y="244"/>
                </a:lnTo>
                <a:lnTo>
                  <a:pt x="203" y="230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59" name="Freeform 148"/>
          <p:cNvSpPr>
            <a:spLocks noChangeAspect="1"/>
          </p:cNvSpPr>
          <p:nvPr/>
        </p:nvSpPr>
        <p:spPr bwMode="gray">
          <a:xfrm>
            <a:off x="4029075" y="3516313"/>
            <a:ext cx="69850" cy="17462"/>
          </a:xfrm>
          <a:custGeom>
            <a:avLst/>
            <a:gdLst>
              <a:gd name="T0" fmla="*/ 2147483647 w 141"/>
              <a:gd name="T1" fmla="*/ 2147483647 h 37"/>
              <a:gd name="T2" fmla="*/ 2147483647 w 141"/>
              <a:gd name="T3" fmla="*/ 2147483647 h 37"/>
              <a:gd name="T4" fmla="*/ 2147483647 w 141"/>
              <a:gd name="T5" fmla="*/ 2147483647 h 37"/>
              <a:gd name="T6" fmla="*/ 2147483647 w 141"/>
              <a:gd name="T7" fmla="*/ 0 h 37"/>
              <a:gd name="T8" fmla="*/ 2147483647 w 141"/>
              <a:gd name="T9" fmla="*/ 2147483647 h 37"/>
              <a:gd name="T10" fmla="*/ 2147483647 w 141"/>
              <a:gd name="T11" fmla="*/ 2147483647 h 37"/>
              <a:gd name="T12" fmla="*/ 2147483647 w 141"/>
              <a:gd name="T13" fmla="*/ 2147483647 h 37"/>
              <a:gd name="T14" fmla="*/ 2147483647 w 141"/>
              <a:gd name="T15" fmla="*/ 2147483647 h 37"/>
              <a:gd name="T16" fmla="*/ 2147483647 w 141"/>
              <a:gd name="T17" fmla="*/ 2147483647 h 37"/>
              <a:gd name="T18" fmla="*/ 2147483647 w 141"/>
              <a:gd name="T19" fmla="*/ 2147483647 h 37"/>
              <a:gd name="T20" fmla="*/ 2147483647 w 141"/>
              <a:gd name="T21" fmla="*/ 2147483647 h 37"/>
              <a:gd name="T22" fmla="*/ 2147483647 w 141"/>
              <a:gd name="T23" fmla="*/ 2147483647 h 37"/>
              <a:gd name="T24" fmla="*/ 2147483647 w 141"/>
              <a:gd name="T25" fmla="*/ 2147483647 h 37"/>
              <a:gd name="T26" fmla="*/ 2147483647 w 141"/>
              <a:gd name="T27" fmla="*/ 2147483647 h 37"/>
              <a:gd name="T28" fmla="*/ 0 w 141"/>
              <a:gd name="T29" fmla="*/ 2147483647 h 37"/>
              <a:gd name="T30" fmla="*/ 2147483647 w 141"/>
              <a:gd name="T31" fmla="*/ 2147483647 h 37"/>
              <a:gd name="T32" fmla="*/ 2147483647 w 141"/>
              <a:gd name="T33" fmla="*/ 2147483647 h 3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41"/>
              <a:gd name="T52" fmla="*/ 0 h 37"/>
              <a:gd name="T53" fmla="*/ 141 w 141"/>
              <a:gd name="T54" fmla="*/ 37 h 37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41" h="37">
                <a:moveTo>
                  <a:pt x="12" y="12"/>
                </a:moveTo>
                <a:lnTo>
                  <a:pt x="59" y="12"/>
                </a:lnTo>
                <a:lnTo>
                  <a:pt x="68" y="2"/>
                </a:lnTo>
                <a:lnTo>
                  <a:pt x="81" y="0"/>
                </a:lnTo>
                <a:lnTo>
                  <a:pt x="113" y="17"/>
                </a:lnTo>
                <a:lnTo>
                  <a:pt x="141" y="12"/>
                </a:lnTo>
                <a:lnTo>
                  <a:pt x="141" y="20"/>
                </a:lnTo>
                <a:lnTo>
                  <a:pt x="122" y="28"/>
                </a:lnTo>
                <a:lnTo>
                  <a:pt x="79" y="12"/>
                </a:lnTo>
                <a:lnTo>
                  <a:pt x="66" y="22"/>
                </a:lnTo>
                <a:lnTo>
                  <a:pt x="49" y="22"/>
                </a:lnTo>
                <a:lnTo>
                  <a:pt x="45" y="28"/>
                </a:lnTo>
                <a:lnTo>
                  <a:pt x="6" y="33"/>
                </a:lnTo>
                <a:lnTo>
                  <a:pt x="3" y="37"/>
                </a:lnTo>
                <a:lnTo>
                  <a:pt x="0" y="24"/>
                </a:lnTo>
                <a:lnTo>
                  <a:pt x="12" y="17"/>
                </a:lnTo>
                <a:lnTo>
                  <a:pt x="12" y="12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60" name="Freeform 149"/>
          <p:cNvSpPr>
            <a:spLocks noChangeAspect="1"/>
          </p:cNvSpPr>
          <p:nvPr/>
        </p:nvSpPr>
        <p:spPr bwMode="gray">
          <a:xfrm>
            <a:off x="4030663" y="3541713"/>
            <a:ext cx="71437" cy="41275"/>
          </a:xfrm>
          <a:custGeom>
            <a:avLst/>
            <a:gdLst>
              <a:gd name="T0" fmla="*/ 2147483647 w 146"/>
              <a:gd name="T1" fmla="*/ 2147483647 h 82"/>
              <a:gd name="T2" fmla="*/ 2147483647 w 146"/>
              <a:gd name="T3" fmla="*/ 2147483647 h 82"/>
              <a:gd name="T4" fmla="*/ 2147483647 w 146"/>
              <a:gd name="T5" fmla="*/ 2147483647 h 82"/>
              <a:gd name="T6" fmla="*/ 2147483647 w 146"/>
              <a:gd name="T7" fmla="*/ 2147483647 h 82"/>
              <a:gd name="T8" fmla="*/ 2147483647 w 146"/>
              <a:gd name="T9" fmla="*/ 2147483647 h 82"/>
              <a:gd name="T10" fmla="*/ 2147483647 w 146"/>
              <a:gd name="T11" fmla="*/ 2147483647 h 82"/>
              <a:gd name="T12" fmla="*/ 2147483647 w 146"/>
              <a:gd name="T13" fmla="*/ 2147483647 h 82"/>
              <a:gd name="T14" fmla="*/ 2147483647 w 146"/>
              <a:gd name="T15" fmla="*/ 0 h 82"/>
              <a:gd name="T16" fmla="*/ 2147483647 w 146"/>
              <a:gd name="T17" fmla="*/ 2147483647 h 82"/>
              <a:gd name="T18" fmla="*/ 2147483647 w 146"/>
              <a:gd name="T19" fmla="*/ 2147483647 h 82"/>
              <a:gd name="T20" fmla="*/ 2147483647 w 146"/>
              <a:gd name="T21" fmla="*/ 2147483647 h 82"/>
              <a:gd name="T22" fmla="*/ 2147483647 w 146"/>
              <a:gd name="T23" fmla="*/ 2147483647 h 82"/>
              <a:gd name="T24" fmla="*/ 0 w 146"/>
              <a:gd name="T25" fmla="*/ 2147483647 h 82"/>
              <a:gd name="T26" fmla="*/ 2147483647 w 146"/>
              <a:gd name="T27" fmla="*/ 2147483647 h 82"/>
              <a:gd name="T28" fmla="*/ 2147483647 w 146"/>
              <a:gd name="T29" fmla="*/ 2147483647 h 82"/>
              <a:gd name="T30" fmla="*/ 2147483647 w 146"/>
              <a:gd name="T31" fmla="*/ 2147483647 h 82"/>
              <a:gd name="T32" fmla="*/ 2147483647 w 146"/>
              <a:gd name="T33" fmla="*/ 2147483647 h 82"/>
              <a:gd name="T34" fmla="*/ 2147483647 w 146"/>
              <a:gd name="T35" fmla="*/ 2147483647 h 82"/>
              <a:gd name="T36" fmla="*/ 2147483647 w 146"/>
              <a:gd name="T37" fmla="*/ 2147483647 h 82"/>
              <a:gd name="T38" fmla="*/ 2147483647 w 146"/>
              <a:gd name="T39" fmla="*/ 2147483647 h 82"/>
              <a:gd name="T40" fmla="*/ 2147483647 w 146"/>
              <a:gd name="T41" fmla="*/ 2147483647 h 82"/>
              <a:gd name="T42" fmla="*/ 2147483647 w 146"/>
              <a:gd name="T43" fmla="*/ 2147483647 h 82"/>
              <a:gd name="T44" fmla="*/ 2147483647 w 146"/>
              <a:gd name="T45" fmla="*/ 2147483647 h 82"/>
              <a:gd name="T46" fmla="*/ 2147483647 w 146"/>
              <a:gd name="T47" fmla="*/ 2147483647 h 82"/>
              <a:gd name="T48" fmla="*/ 2147483647 w 146"/>
              <a:gd name="T49" fmla="*/ 2147483647 h 8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46"/>
              <a:gd name="T76" fmla="*/ 0 h 82"/>
              <a:gd name="T77" fmla="*/ 146 w 146"/>
              <a:gd name="T78" fmla="*/ 82 h 82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46" h="82">
                <a:moveTo>
                  <a:pt x="78" y="82"/>
                </a:moveTo>
                <a:lnTo>
                  <a:pt x="87" y="77"/>
                </a:lnTo>
                <a:lnTo>
                  <a:pt x="102" y="57"/>
                </a:lnTo>
                <a:lnTo>
                  <a:pt x="141" y="47"/>
                </a:lnTo>
                <a:lnTo>
                  <a:pt x="139" y="32"/>
                </a:lnTo>
                <a:lnTo>
                  <a:pt x="132" y="25"/>
                </a:lnTo>
                <a:lnTo>
                  <a:pt x="146" y="15"/>
                </a:lnTo>
                <a:lnTo>
                  <a:pt x="141" y="0"/>
                </a:lnTo>
                <a:lnTo>
                  <a:pt x="76" y="1"/>
                </a:lnTo>
                <a:lnTo>
                  <a:pt x="50" y="11"/>
                </a:lnTo>
                <a:lnTo>
                  <a:pt x="24" y="11"/>
                </a:lnTo>
                <a:lnTo>
                  <a:pt x="11" y="17"/>
                </a:lnTo>
                <a:lnTo>
                  <a:pt x="0" y="15"/>
                </a:lnTo>
                <a:lnTo>
                  <a:pt x="3" y="23"/>
                </a:lnTo>
                <a:lnTo>
                  <a:pt x="20" y="28"/>
                </a:lnTo>
                <a:lnTo>
                  <a:pt x="26" y="40"/>
                </a:lnTo>
                <a:lnTo>
                  <a:pt x="39" y="42"/>
                </a:lnTo>
                <a:lnTo>
                  <a:pt x="42" y="49"/>
                </a:lnTo>
                <a:lnTo>
                  <a:pt x="88" y="39"/>
                </a:lnTo>
                <a:lnTo>
                  <a:pt x="87" y="42"/>
                </a:lnTo>
                <a:lnTo>
                  <a:pt x="59" y="49"/>
                </a:lnTo>
                <a:lnTo>
                  <a:pt x="63" y="73"/>
                </a:lnTo>
                <a:lnTo>
                  <a:pt x="68" y="77"/>
                </a:lnTo>
                <a:lnTo>
                  <a:pt x="78" y="77"/>
                </a:lnTo>
                <a:lnTo>
                  <a:pt x="78" y="82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61" name="Freeform 150"/>
          <p:cNvSpPr>
            <a:spLocks noChangeAspect="1"/>
          </p:cNvSpPr>
          <p:nvPr/>
        </p:nvSpPr>
        <p:spPr bwMode="gray">
          <a:xfrm>
            <a:off x="4110038" y="3603625"/>
            <a:ext cx="66675" cy="68263"/>
          </a:xfrm>
          <a:custGeom>
            <a:avLst/>
            <a:gdLst>
              <a:gd name="T0" fmla="*/ 2147483647 w 138"/>
              <a:gd name="T1" fmla="*/ 2147483647 h 139"/>
              <a:gd name="T2" fmla="*/ 2147483647 w 138"/>
              <a:gd name="T3" fmla="*/ 2147483647 h 139"/>
              <a:gd name="T4" fmla="*/ 2147483647 w 138"/>
              <a:gd name="T5" fmla="*/ 2147483647 h 139"/>
              <a:gd name="T6" fmla="*/ 2147483647 w 138"/>
              <a:gd name="T7" fmla="*/ 2147483647 h 139"/>
              <a:gd name="T8" fmla="*/ 2147483647 w 138"/>
              <a:gd name="T9" fmla="*/ 2147483647 h 139"/>
              <a:gd name="T10" fmla="*/ 2147483647 w 138"/>
              <a:gd name="T11" fmla="*/ 2147483647 h 139"/>
              <a:gd name="T12" fmla="*/ 2147483647 w 138"/>
              <a:gd name="T13" fmla="*/ 2147483647 h 139"/>
              <a:gd name="T14" fmla="*/ 2147483647 w 138"/>
              <a:gd name="T15" fmla="*/ 2147483647 h 139"/>
              <a:gd name="T16" fmla="*/ 2147483647 w 138"/>
              <a:gd name="T17" fmla="*/ 2147483647 h 139"/>
              <a:gd name="T18" fmla="*/ 2147483647 w 138"/>
              <a:gd name="T19" fmla="*/ 2147483647 h 139"/>
              <a:gd name="T20" fmla="*/ 2147483647 w 138"/>
              <a:gd name="T21" fmla="*/ 2147483647 h 139"/>
              <a:gd name="T22" fmla="*/ 2147483647 w 138"/>
              <a:gd name="T23" fmla="*/ 2147483647 h 139"/>
              <a:gd name="T24" fmla="*/ 2147483647 w 138"/>
              <a:gd name="T25" fmla="*/ 2147483647 h 139"/>
              <a:gd name="T26" fmla="*/ 2147483647 w 138"/>
              <a:gd name="T27" fmla="*/ 2147483647 h 139"/>
              <a:gd name="T28" fmla="*/ 2147483647 w 138"/>
              <a:gd name="T29" fmla="*/ 2147483647 h 139"/>
              <a:gd name="T30" fmla="*/ 2147483647 w 138"/>
              <a:gd name="T31" fmla="*/ 0 h 139"/>
              <a:gd name="T32" fmla="*/ 2147483647 w 138"/>
              <a:gd name="T33" fmla="*/ 2147483647 h 139"/>
              <a:gd name="T34" fmla="*/ 2147483647 w 138"/>
              <a:gd name="T35" fmla="*/ 2147483647 h 139"/>
              <a:gd name="T36" fmla="*/ 2147483647 w 138"/>
              <a:gd name="T37" fmla="*/ 2147483647 h 139"/>
              <a:gd name="T38" fmla="*/ 0 w 138"/>
              <a:gd name="T39" fmla="*/ 2147483647 h 139"/>
              <a:gd name="T40" fmla="*/ 2147483647 w 138"/>
              <a:gd name="T41" fmla="*/ 2147483647 h 139"/>
              <a:gd name="T42" fmla="*/ 2147483647 w 138"/>
              <a:gd name="T43" fmla="*/ 2147483647 h 139"/>
              <a:gd name="T44" fmla="*/ 2147483647 w 138"/>
              <a:gd name="T45" fmla="*/ 2147483647 h 139"/>
              <a:gd name="T46" fmla="*/ 2147483647 w 138"/>
              <a:gd name="T47" fmla="*/ 2147483647 h 139"/>
              <a:gd name="T48" fmla="*/ 2147483647 w 138"/>
              <a:gd name="T49" fmla="*/ 2147483647 h 139"/>
              <a:gd name="T50" fmla="*/ 2147483647 w 138"/>
              <a:gd name="T51" fmla="*/ 2147483647 h 139"/>
              <a:gd name="T52" fmla="*/ 2147483647 w 138"/>
              <a:gd name="T53" fmla="*/ 2147483647 h 139"/>
              <a:gd name="T54" fmla="*/ 2147483647 w 138"/>
              <a:gd name="T55" fmla="*/ 2147483647 h 139"/>
              <a:gd name="T56" fmla="*/ 2147483647 w 138"/>
              <a:gd name="T57" fmla="*/ 2147483647 h 13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138"/>
              <a:gd name="T88" fmla="*/ 0 h 139"/>
              <a:gd name="T89" fmla="*/ 138 w 138"/>
              <a:gd name="T90" fmla="*/ 139 h 139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138" h="139">
                <a:moveTo>
                  <a:pt x="83" y="139"/>
                </a:moveTo>
                <a:lnTo>
                  <a:pt x="91" y="126"/>
                </a:lnTo>
                <a:lnTo>
                  <a:pt x="124" y="104"/>
                </a:lnTo>
                <a:lnTo>
                  <a:pt x="122" y="90"/>
                </a:lnTo>
                <a:lnTo>
                  <a:pt x="138" y="84"/>
                </a:lnTo>
                <a:lnTo>
                  <a:pt x="136" y="75"/>
                </a:lnTo>
                <a:lnTo>
                  <a:pt x="134" y="70"/>
                </a:lnTo>
                <a:lnTo>
                  <a:pt x="119" y="76"/>
                </a:lnTo>
                <a:lnTo>
                  <a:pt x="122" y="61"/>
                </a:lnTo>
                <a:lnTo>
                  <a:pt x="127" y="58"/>
                </a:lnTo>
                <a:lnTo>
                  <a:pt x="125" y="50"/>
                </a:lnTo>
                <a:lnTo>
                  <a:pt x="119" y="42"/>
                </a:lnTo>
                <a:lnTo>
                  <a:pt x="119" y="29"/>
                </a:lnTo>
                <a:lnTo>
                  <a:pt x="112" y="25"/>
                </a:lnTo>
                <a:lnTo>
                  <a:pt x="108" y="17"/>
                </a:lnTo>
                <a:lnTo>
                  <a:pt x="95" y="0"/>
                </a:lnTo>
                <a:lnTo>
                  <a:pt x="39" y="3"/>
                </a:lnTo>
                <a:lnTo>
                  <a:pt x="32" y="19"/>
                </a:lnTo>
                <a:lnTo>
                  <a:pt x="14" y="41"/>
                </a:lnTo>
                <a:lnTo>
                  <a:pt x="0" y="41"/>
                </a:lnTo>
                <a:lnTo>
                  <a:pt x="2" y="65"/>
                </a:lnTo>
                <a:lnTo>
                  <a:pt x="9" y="71"/>
                </a:lnTo>
                <a:lnTo>
                  <a:pt x="2" y="71"/>
                </a:lnTo>
                <a:lnTo>
                  <a:pt x="2" y="78"/>
                </a:lnTo>
                <a:lnTo>
                  <a:pt x="15" y="88"/>
                </a:lnTo>
                <a:lnTo>
                  <a:pt x="17" y="98"/>
                </a:lnTo>
                <a:lnTo>
                  <a:pt x="37" y="113"/>
                </a:lnTo>
                <a:lnTo>
                  <a:pt x="40" y="122"/>
                </a:lnTo>
                <a:lnTo>
                  <a:pt x="83" y="139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62" name="Freeform 151"/>
          <p:cNvSpPr>
            <a:spLocks noChangeAspect="1"/>
          </p:cNvSpPr>
          <p:nvPr/>
        </p:nvSpPr>
        <p:spPr bwMode="gray">
          <a:xfrm>
            <a:off x="4013200" y="3452813"/>
            <a:ext cx="139700" cy="98425"/>
          </a:xfrm>
          <a:custGeom>
            <a:avLst/>
            <a:gdLst>
              <a:gd name="T0" fmla="*/ 2147483647 w 288"/>
              <a:gd name="T1" fmla="*/ 2147483647 h 205"/>
              <a:gd name="T2" fmla="*/ 2147483647 w 288"/>
              <a:gd name="T3" fmla="*/ 2147483647 h 205"/>
              <a:gd name="T4" fmla="*/ 2147483647 w 288"/>
              <a:gd name="T5" fmla="*/ 2147483647 h 205"/>
              <a:gd name="T6" fmla="*/ 2147483647 w 288"/>
              <a:gd name="T7" fmla="*/ 2147483647 h 205"/>
              <a:gd name="T8" fmla="*/ 2147483647 w 288"/>
              <a:gd name="T9" fmla="*/ 2147483647 h 205"/>
              <a:gd name="T10" fmla="*/ 2147483647 w 288"/>
              <a:gd name="T11" fmla="*/ 2147483647 h 205"/>
              <a:gd name="T12" fmla="*/ 2147483647 w 288"/>
              <a:gd name="T13" fmla="*/ 2147483647 h 205"/>
              <a:gd name="T14" fmla="*/ 2147483647 w 288"/>
              <a:gd name="T15" fmla="*/ 2147483647 h 205"/>
              <a:gd name="T16" fmla="*/ 2147483647 w 288"/>
              <a:gd name="T17" fmla="*/ 2147483647 h 205"/>
              <a:gd name="T18" fmla="*/ 2147483647 w 288"/>
              <a:gd name="T19" fmla="*/ 2147483647 h 205"/>
              <a:gd name="T20" fmla="*/ 2147483647 w 288"/>
              <a:gd name="T21" fmla="*/ 2147483647 h 205"/>
              <a:gd name="T22" fmla="*/ 2147483647 w 288"/>
              <a:gd name="T23" fmla="*/ 2147483647 h 205"/>
              <a:gd name="T24" fmla="*/ 2147483647 w 288"/>
              <a:gd name="T25" fmla="*/ 2147483647 h 205"/>
              <a:gd name="T26" fmla="*/ 2147483647 w 288"/>
              <a:gd name="T27" fmla="*/ 2147483647 h 205"/>
              <a:gd name="T28" fmla="*/ 2147483647 w 288"/>
              <a:gd name="T29" fmla="*/ 2147483647 h 205"/>
              <a:gd name="T30" fmla="*/ 2147483647 w 288"/>
              <a:gd name="T31" fmla="*/ 2147483647 h 205"/>
              <a:gd name="T32" fmla="*/ 2147483647 w 288"/>
              <a:gd name="T33" fmla="*/ 2147483647 h 205"/>
              <a:gd name="T34" fmla="*/ 0 w 288"/>
              <a:gd name="T35" fmla="*/ 2147483647 h 205"/>
              <a:gd name="T36" fmla="*/ 2147483647 w 288"/>
              <a:gd name="T37" fmla="*/ 2147483647 h 205"/>
              <a:gd name="T38" fmla="*/ 2147483647 w 288"/>
              <a:gd name="T39" fmla="*/ 2147483647 h 205"/>
              <a:gd name="T40" fmla="*/ 2147483647 w 288"/>
              <a:gd name="T41" fmla="*/ 2147483647 h 205"/>
              <a:gd name="T42" fmla="*/ 2147483647 w 288"/>
              <a:gd name="T43" fmla="*/ 2147483647 h 205"/>
              <a:gd name="T44" fmla="*/ 2147483647 w 288"/>
              <a:gd name="T45" fmla="*/ 2147483647 h 205"/>
              <a:gd name="T46" fmla="*/ 2147483647 w 288"/>
              <a:gd name="T47" fmla="*/ 2147483647 h 205"/>
              <a:gd name="T48" fmla="*/ 2147483647 w 288"/>
              <a:gd name="T49" fmla="*/ 0 h 205"/>
              <a:gd name="T50" fmla="*/ 2147483647 w 288"/>
              <a:gd name="T51" fmla="*/ 0 h 205"/>
              <a:gd name="T52" fmla="*/ 2147483647 w 288"/>
              <a:gd name="T53" fmla="*/ 2147483647 h 205"/>
              <a:gd name="T54" fmla="*/ 2147483647 w 288"/>
              <a:gd name="T55" fmla="*/ 2147483647 h 205"/>
              <a:gd name="T56" fmla="*/ 2147483647 w 288"/>
              <a:gd name="T57" fmla="*/ 2147483647 h 205"/>
              <a:gd name="T58" fmla="*/ 2147483647 w 288"/>
              <a:gd name="T59" fmla="*/ 2147483647 h 205"/>
              <a:gd name="T60" fmla="*/ 2147483647 w 288"/>
              <a:gd name="T61" fmla="*/ 2147483647 h 205"/>
              <a:gd name="T62" fmla="*/ 2147483647 w 288"/>
              <a:gd name="T63" fmla="*/ 2147483647 h 205"/>
              <a:gd name="T64" fmla="*/ 2147483647 w 288"/>
              <a:gd name="T65" fmla="*/ 2147483647 h 205"/>
              <a:gd name="T66" fmla="*/ 2147483647 w 288"/>
              <a:gd name="T67" fmla="*/ 2147483647 h 205"/>
              <a:gd name="T68" fmla="*/ 2147483647 w 288"/>
              <a:gd name="T69" fmla="*/ 2147483647 h 205"/>
              <a:gd name="T70" fmla="*/ 2147483647 w 288"/>
              <a:gd name="T71" fmla="*/ 2147483647 h 205"/>
              <a:gd name="T72" fmla="*/ 2147483647 w 288"/>
              <a:gd name="T73" fmla="*/ 2147483647 h 205"/>
              <a:gd name="T74" fmla="*/ 2147483647 w 288"/>
              <a:gd name="T75" fmla="*/ 2147483647 h 205"/>
              <a:gd name="T76" fmla="*/ 2147483647 w 288"/>
              <a:gd name="T77" fmla="*/ 2147483647 h 205"/>
              <a:gd name="T78" fmla="*/ 2147483647 w 288"/>
              <a:gd name="T79" fmla="*/ 2147483647 h 205"/>
              <a:gd name="T80" fmla="*/ 2147483647 w 288"/>
              <a:gd name="T81" fmla="*/ 2147483647 h 205"/>
              <a:gd name="T82" fmla="*/ 2147483647 w 288"/>
              <a:gd name="T83" fmla="*/ 2147483647 h 205"/>
              <a:gd name="T84" fmla="*/ 2147483647 w 288"/>
              <a:gd name="T85" fmla="*/ 2147483647 h 205"/>
              <a:gd name="T86" fmla="*/ 2147483647 w 288"/>
              <a:gd name="T87" fmla="*/ 2147483647 h 205"/>
              <a:gd name="T88" fmla="*/ 2147483647 w 288"/>
              <a:gd name="T89" fmla="*/ 2147483647 h 205"/>
              <a:gd name="T90" fmla="*/ 2147483647 w 288"/>
              <a:gd name="T91" fmla="*/ 2147483647 h 205"/>
              <a:gd name="T92" fmla="*/ 2147483647 w 288"/>
              <a:gd name="T93" fmla="*/ 2147483647 h 205"/>
              <a:gd name="T94" fmla="*/ 2147483647 w 288"/>
              <a:gd name="T95" fmla="*/ 2147483647 h 205"/>
              <a:gd name="T96" fmla="*/ 2147483647 w 288"/>
              <a:gd name="T97" fmla="*/ 2147483647 h 205"/>
              <a:gd name="T98" fmla="*/ 2147483647 w 288"/>
              <a:gd name="T99" fmla="*/ 2147483647 h 205"/>
              <a:gd name="T100" fmla="*/ 2147483647 w 288"/>
              <a:gd name="T101" fmla="*/ 2147483647 h 205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288"/>
              <a:gd name="T154" fmla="*/ 0 h 205"/>
              <a:gd name="T155" fmla="*/ 288 w 288"/>
              <a:gd name="T156" fmla="*/ 205 h 205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288" h="205">
                <a:moveTo>
                  <a:pt x="37" y="202"/>
                </a:moveTo>
                <a:lnTo>
                  <a:pt x="37" y="171"/>
                </a:lnTo>
                <a:lnTo>
                  <a:pt x="40" y="167"/>
                </a:lnTo>
                <a:lnTo>
                  <a:pt x="79" y="162"/>
                </a:lnTo>
                <a:lnTo>
                  <a:pt x="83" y="156"/>
                </a:lnTo>
                <a:lnTo>
                  <a:pt x="100" y="156"/>
                </a:lnTo>
                <a:lnTo>
                  <a:pt x="113" y="146"/>
                </a:lnTo>
                <a:lnTo>
                  <a:pt x="156" y="162"/>
                </a:lnTo>
                <a:lnTo>
                  <a:pt x="175" y="154"/>
                </a:lnTo>
                <a:lnTo>
                  <a:pt x="175" y="146"/>
                </a:lnTo>
                <a:lnTo>
                  <a:pt x="147" y="151"/>
                </a:lnTo>
                <a:lnTo>
                  <a:pt x="115" y="134"/>
                </a:lnTo>
                <a:lnTo>
                  <a:pt x="102" y="136"/>
                </a:lnTo>
                <a:lnTo>
                  <a:pt x="93" y="146"/>
                </a:lnTo>
                <a:lnTo>
                  <a:pt x="46" y="146"/>
                </a:lnTo>
                <a:lnTo>
                  <a:pt x="12" y="92"/>
                </a:lnTo>
                <a:lnTo>
                  <a:pt x="3" y="97"/>
                </a:lnTo>
                <a:lnTo>
                  <a:pt x="0" y="90"/>
                </a:lnTo>
                <a:lnTo>
                  <a:pt x="14" y="85"/>
                </a:lnTo>
                <a:lnTo>
                  <a:pt x="31" y="71"/>
                </a:lnTo>
                <a:lnTo>
                  <a:pt x="46" y="46"/>
                </a:lnTo>
                <a:lnTo>
                  <a:pt x="48" y="26"/>
                </a:lnTo>
                <a:lnTo>
                  <a:pt x="57" y="6"/>
                </a:lnTo>
                <a:lnTo>
                  <a:pt x="87" y="9"/>
                </a:lnTo>
                <a:lnTo>
                  <a:pt x="113" y="0"/>
                </a:lnTo>
                <a:lnTo>
                  <a:pt x="147" y="0"/>
                </a:lnTo>
                <a:lnTo>
                  <a:pt x="171" y="24"/>
                </a:lnTo>
                <a:lnTo>
                  <a:pt x="188" y="24"/>
                </a:lnTo>
                <a:lnTo>
                  <a:pt x="200" y="48"/>
                </a:lnTo>
                <a:lnTo>
                  <a:pt x="213" y="54"/>
                </a:lnTo>
                <a:lnTo>
                  <a:pt x="218" y="65"/>
                </a:lnTo>
                <a:lnTo>
                  <a:pt x="217" y="66"/>
                </a:lnTo>
                <a:lnTo>
                  <a:pt x="249" y="90"/>
                </a:lnTo>
                <a:lnTo>
                  <a:pt x="251" y="107"/>
                </a:lnTo>
                <a:lnTo>
                  <a:pt x="257" y="114"/>
                </a:lnTo>
                <a:lnTo>
                  <a:pt x="261" y="129"/>
                </a:lnTo>
                <a:lnTo>
                  <a:pt x="257" y="141"/>
                </a:lnTo>
                <a:lnTo>
                  <a:pt x="266" y="156"/>
                </a:lnTo>
                <a:lnTo>
                  <a:pt x="276" y="154"/>
                </a:lnTo>
                <a:lnTo>
                  <a:pt x="288" y="173"/>
                </a:lnTo>
                <a:lnTo>
                  <a:pt x="288" y="201"/>
                </a:lnTo>
                <a:lnTo>
                  <a:pt x="243" y="205"/>
                </a:lnTo>
                <a:lnTo>
                  <a:pt x="217" y="195"/>
                </a:lnTo>
                <a:lnTo>
                  <a:pt x="209" y="198"/>
                </a:lnTo>
                <a:lnTo>
                  <a:pt x="207" y="190"/>
                </a:lnTo>
                <a:lnTo>
                  <a:pt x="178" y="187"/>
                </a:lnTo>
                <a:lnTo>
                  <a:pt x="113" y="188"/>
                </a:lnTo>
                <a:lnTo>
                  <a:pt x="87" y="198"/>
                </a:lnTo>
                <a:lnTo>
                  <a:pt x="61" y="198"/>
                </a:lnTo>
                <a:lnTo>
                  <a:pt x="48" y="204"/>
                </a:lnTo>
                <a:lnTo>
                  <a:pt x="37" y="202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63" name="Freeform 152"/>
          <p:cNvSpPr>
            <a:spLocks noChangeAspect="1"/>
          </p:cNvSpPr>
          <p:nvPr/>
        </p:nvSpPr>
        <p:spPr bwMode="gray">
          <a:xfrm>
            <a:off x="4611688" y="3046413"/>
            <a:ext cx="355600" cy="339725"/>
          </a:xfrm>
          <a:custGeom>
            <a:avLst/>
            <a:gdLst>
              <a:gd name="T0" fmla="*/ 2147483647 w 731"/>
              <a:gd name="T1" fmla="*/ 2147483647 h 701"/>
              <a:gd name="T2" fmla="*/ 2147483647 w 731"/>
              <a:gd name="T3" fmla="*/ 2147483647 h 701"/>
              <a:gd name="T4" fmla="*/ 2147483647 w 731"/>
              <a:gd name="T5" fmla="*/ 2147483647 h 701"/>
              <a:gd name="T6" fmla="*/ 2147483647 w 731"/>
              <a:gd name="T7" fmla="*/ 2147483647 h 701"/>
              <a:gd name="T8" fmla="*/ 2147483647 w 731"/>
              <a:gd name="T9" fmla="*/ 2147483647 h 701"/>
              <a:gd name="T10" fmla="*/ 2147483647 w 731"/>
              <a:gd name="T11" fmla="*/ 2147483647 h 701"/>
              <a:gd name="T12" fmla="*/ 2147483647 w 731"/>
              <a:gd name="T13" fmla="*/ 2147483647 h 701"/>
              <a:gd name="T14" fmla="*/ 2147483647 w 731"/>
              <a:gd name="T15" fmla="*/ 2147483647 h 701"/>
              <a:gd name="T16" fmla="*/ 2147483647 w 731"/>
              <a:gd name="T17" fmla="*/ 2147483647 h 701"/>
              <a:gd name="T18" fmla="*/ 2147483647 w 731"/>
              <a:gd name="T19" fmla="*/ 2147483647 h 701"/>
              <a:gd name="T20" fmla="*/ 2147483647 w 731"/>
              <a:gd name="T21" fmla="*/ 2147483647 h 701"/>
              <a:gd name="T22" fmla="*/ 2147483647 w 731"/>
              <a:gd name="T23" fmla="*/ 2147483647 h 701"/>
              <a:gd name="T24" fmla="*/ 0 w 731"/>
              <a:gd name="T25" fmla="*/ 2147483647 h 701"/>
              <a:gd name="T26" fmla="*/ 2147483647 w 731"/>
              <a:gd name="T27" fmla="*/ 2147483647 h 701"/>
              <a:gd name="T28" fmla="*/ 2147483647 w 731"/>
              <a:gd name="T29" fmla="*/ 2147483647 h 701"/>
              <a:gd name="T30" fmla="*/ 2147483647 w 731"/>
              <a:gd name="T31" fmla="*/ 2147483647 h 701"/>
              <a:gd name="T32" fmla="*/ 2147483647 w 731"/>
              <a:gd name="T33" fmla="*/ 0 h 701"/>
              <a:gd name="T34" fmla="*/ 2147483647 w 731"/>
              <a:gd name="T35" fmla="*/ 2147483647 h 701"/>
              <a:gd name="T36" fmla="*/ 2147483647 w 731"/>
              <a:gd name="T37" fmla="*/ 2147483647 h 701"/>
              <a:gd name="T38" fmla="*/ 2147483647 w 731"/>
              <a:gd name="T39" fmla="*/ 2147483647 h 701"/>
              <a:gd name="T40" fmla="*/ 2147483647 w 731"/>
              <a:gd name="T41" fmla="*/ 2147483647 h 701"/>
              <a:gd name="T42" fmla="*/ 2147483647 w 731"/>
              <a:gd name="T43" fmla="*/ 2147483647 h 701"/>
              <a:gd name="T44" fmla="*/ 2147483647 w 731"/>
              <a:gd name="T45" fmla="*/ 2147483647 h 701"/>
              <a:gd name="T46" fmla="*/ 2147483647 w 731"/>
              <a:gd name="T47" fmla="*/ 2147483647 h 701"/>
              <a:gd name="T48" fmla="*/ 2147483647 w 731"/>
              <a:gd name="T49" fmla="*/ 2147483647 h 701"/>
              <a:gd name="T50" fmla="*/ 2147483647 w 731"/>
              <a:gd name="T51" fmla="*/ 2147483647 h 701"/>
              <a:gd name="T52" fmla="*/ 2147483647 w 731"/>
              <a:gd name="T53" fmla="*/ 2147483647 h 701"/>
              <a:gd name="T54" fmla="*/ 2147483647 w 731"/>
              <a:gd name="T55" fmla="*/ 2147483647 h 701"/>
              <a:gd name="T56" fmla="*/ 2147483647 w 731"/>
              <a:gd name="T57" fmla="*/ 2147483647 h 701"/>
              <a:gd name="T58" fmla="*/ 2147483647 w 731"/>
              <a:gd name="T59" fmla="*/ 2147483647 h 701"/>
              <a:gd name="T60" fmla="*/ 2147483647 w 731"/>
              <a:gd name="T61" fmla="*/ 2147483647 h 701"/>
              <a:gd name="T62" fmla="*/ 2147483647 w 731"/>
              <a:gd name="T63" fmla="*/ 2147483647 h 701"/>
              <a:gd name="T64" fmla="*/ 2147483647 w 731"/>
              <a:gd name="T65" fmla="*/ 2147483647 h 701"/>
              <a:gd name="T66" fmla="*/ 2147483647 w 731"/>
              <a:gd name="T67" fmla="*/ 2147483647 h 701"/>
              <a:gd name="T68" fmla="*/ 2147483647 w 731"/>
              <a:gd name="T69" fmla="*/ 2147483647 h 701"/>
              <a:gd name="T70" fmla="*/ 2147483647 w 731"/>
              <a:gd name="T71" fmla="*/ 2147483647 h 701"/>
              <a:gd name="T72" fmla="*/ 2147483647 w 731"/>
              <a:gd name="T73" fmla="*/ 2147483647 h 701"/>
              <a:gd name="T74" fmla="*/ 2147483647 w 731"/>
              <a:gd name="T75" fmla="*/ 2147483647 h 701"/>
              <a:gd name="T76" fmla="*/ 2147483647 w 731"/>
              <a:gd name="T77" fmla="*/ 2147483647 h 701"/>
              <a:gd name="T78" fmla="*/ 2147483647 w 731"/>
              <a:gd name="T79" fmla="*/ 2147483647 h 701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731"/>
              <a:gd name="T121" fmla="*/ 0 h 701"/>
              <a:gd name="T122" fmla="*/ 731 w 731"/>
              <a:gd name="T123" fmla="*/ 701 h 701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731" h="701">
                <a:moveTo>
                  <a:pt x="685" y="701"/>
                </a:moveTo>
                <a:lnTo>
                  <a:pt x="640" y="678"/>
                </a:lnTo>
                <a:lnTo>
                  <a:pt x="594" y="653"/>
                </a:lnTo>
                <a:lnTo>
                  <a:pt x="548" y="630"/>
                </a:lnTo>
                <a:lnTo>
                  <a:pt x="501" y="606"/>
                </a:lnTo>
                <a:lnTo>
                  <a:pt x="455" y="582"/>
                </a:lnTo>
                <a:lnTo>
                  <a:pt x="410" y="559"/>
                </a:lnTo>
                <a:lnTo>
                  <a:pt x="363" y="535"/>
                </a:lnTo>
                <a:lnTo>
                  <a:pt x="317" y="509"/>
                </a:lnTo>
                <a:lnTo>
                  <a:pt x="269" y="526"/>
                </a:lnTo>
                <a:lnTo>
                  <a:pt x="255" y="530"/>
                </a:lnTo>
                <a:lnTo>
                  <a:pt x="247" y="520"/>
                </a:lnTo>
                <a:lnTo>
                  <a:pt x="220" y="505"/>
                </a:lnTo>
                <a:lnTo>
                  <a:pt x="116" y="503"/>
                </a:lnTo>
                <a:lnTo>
                  <a:pt x="97" y="463"/>
                </a:lnTo>
                <a:lnTo>
                  <a:pt x="72" y="450"/>
                </a:lnTo>
                <a:lnTo>
                  <a:pt x="46" y="450"/>
                </a:lnTo>
                <a:lnTo>
                  <a:pt x="35" y="437"/>
                </a:lnTo>
                <a:lnTo>
                  <a:pt x="32" y="412"/>
                </a:lnTo>
                <a:lnTo>
                  <a:pt x="4" y="367"/>
                </a:lnTo>
                <a:lnTo>
                  <a:pt x="4" y="361"/>
                </a:lnTo>
                <a:lnTo>
                  <a:pt x="21" y="354"/>
                </a:lnTo>
                <a:lnTo>
                  <a:pt x="25" y="288"/>
                </a:lnTo>
                <a:lnTo>
                  <a:pt x="18" y="205"/>
                </a:lnTo>
                <a:lnTo>
                  <a:pt x="0" y="175"/>
                </a:lnTo>
                <a:lnTo>
                  <a:pt x="0" y="163"/>
                </a:lnTo>
                <a:lnTo>
                  <a:pt x="9" y="152"/>
                </a:lnTo>
                <a:lnTo>
                  <a:pt x="29" y="146"/>
                </a:lnTo>
                <a:lnTo>
                  <a:pt x="43" y="130"/>
                </a:lnTo>
                <a:lnTo>
                  <a:pt x="38" y="98"/>
                </a:lnTo>
                <a:lnTo>
                  <a:pt x="43" y="83"/>
                </a:lnTo>
                <a:lnTo>
                  <a:pt x="96" y="42"/>
                </a:lnTo>
                <a:lnTo>
                  <a:pt x="99" y="34"/>
                </a:lnTo>
                <a:lnTo>
                  <a:pt x="99" y="0"/>
                </a:lnTo>
                <a:lnTo>
                  <a:pt x="142" y="19"/>
                </a:lnTo>
                <a:lnTo>
                  <a:pt x="176" y="15"/>
                </a:lnTo>
                <a:lnTo>
                  <a:pt x="210" y="20"/>
                </a:lnTo>
                <a:lnTo>
                  <a:pt x="270" y="46"/>
                </a:lnTo>
                <a:lnTo>
                  <a:pt x="275" y="51"/>
                </a:lnTo>
                <a:lnTo>
                  <a:pt x="278" y="71"/>
                </a:lnTo>
                <a:lnTo>
                  <a:pt x="301" y="98"/>
                </a:lnTo>
                <a:lnTo>
                  <a:pt x="311" y="104"/>
                </a:lnTo>
                <a:lnTo>
                  <a:pt x="385" y="119"/>
                </a:lnTo>
                <a:lnTo>
                  <a:pt x="411" y="130"/>
                </a:lnTo>
                <a:lnTo>
                  <a:pt x="431" y="150"/>
                </a:lnTo>
                <a:lnTo>
                  <a:pt x="445" y="156"/>
                </a:lnTo>
                <a:lnTo>
                  <a:pt x="472" y="149"/>
                </a:lnTo>
                <a:lnTo>
                  <a:pt x="487" y="136"/>
                </a:lnTo>
                <a:lnTo>
                  <a:pt x="499" y="110"/>
                </a:lnTo>
                <a:lnTo>
                  <a:pt x="489" y="83"/>
                </a:lnTo>
                <a:lnTo>
                  <a:pt x="492" y="59"/>
                </a:lnTo>
                <a:lnTo>
                  <a:pt x="538" y="20"/>
                </a:lnTo>
                <a:lnTo>
                  <a:pt x="589" y="15"/>
                </a:lnTo>
                <a:lnTo>
                  <a:pt x="626" y="25"/>
                </a:lnTo>
                <a:lnTo>
                  <a:pt x="634" y="31"/>
                </a:lnTo>
                <a:lnTo>
                  <a:pt x="633" y="46"/>
                </a:lnTo>
                <a:lnTo>
                  <a:pt x="642" y="53"/>
                </a:lnTo>
                <a:lnTo>
                  <a:pt x="670" y="57"/>
                </a:lnTo>
                <a:lnTo>
                  <a:pt x="719" y="66"/>
                </a:lnTo>
                <a:lnTo>
                  <a:pt x="731" y="83"/>
                </a:lnTo>
                <a:lnTo>
                  <a:pt x="726" y="85"/>
                </a:lnTo>
                <a:lnTo>
                  <a:pt x="716" y="100"/>
                </a:lnTo>
                <a:lnTo>
                  <a:pt x="721" y="152"/>
                </a:lnTo>
                <a:lnTo>
                  <a:pt x="710" y="166"/>
                </a:lnTo>
                <a:lnTo>
                  <a:pt x="711" y="183"/>
                </a:lnTo>
                <a:lnTo>
                  <a:pt x="719" y="195"/>
                </a:lnTo>
                <a:lnTo>
                  <a:pt x="716" y="205"/>
                </a:lnTo>
                <a:lnTo>
                  <a:pt x="731" y="220"/>
                </a:lnTo>
                <a:lnTo>
                  <a:pt x="731" y="266"/>
                </a:lnTo>
                <a:lnTo>
                  <a:pt x="731" y="311"/>
                </a:lnTo>
                <a:lnTo>
                  <a:pt x="731" y="357"/>
                </a:lnTo>
                <a:lnTo>
                  <a:pt x="731" y="401"/>
                </a:lnTo>
                <a:lnTo>
                  <a:pt x="731" y="447"/>
                </a:lnTo>
                <a:lnTo>
                  <a:pt x="731" y="491"/>
                </a:lnTo>
                <a:lnTo>
                  <a:pt x="731" y="535"/>
                </a:lnTo>
                <a:lnTo>
                  <a:pt x="731" y="579"/>
                </a:lnTo>
                <a:lnTo>
                  <a:pt x="731" y="625"/>
                </a:lnTo>
                <a:lnTo>
                  <a:pt x="731" y="672"/>
                </a:lnTo>
                <a:lnTo>
                  <a:pt x="685" y="672"/>
                </a:lnTo>
                <a:lnTo>
                  <a:pt x="685" y="701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64" name="Freeform 153"/>
          <p:cNvSpPr>
            <a:spLocks noChangeAspect="1"/>
          </p:cNvSpPr>
          <p:nvPr/>
        </p:nvSpPr>
        <p:spPr bwMode="gray">
          <a:xfrm>
            <a:off x="4706938" y="3292475"/>
            <a:ext cx="239712" cy="369888"/>
          </a:xfrm>
          <a:custGeom>
            <a:avLst/>
            <a:gdLst>
              <a:gd name="T0" fmla="*/ 2147483647 w 492"/>
              <a:gd name="T1" fmla="*/ 2147483647 h 761"/>
              <a:gd name="T2" fmla="*/ 2147483647 w 492"/>
              <a:gd name="T3" fmla="*/ 2147483647 h 761"/>
              <a:gd name="T4" fmla="*/ 2147483647 w 492"/>
              <a:gd name="T5" fmla="*/ 2147483647 h 761"/>
              <a:gd name="T6" fmla="*/ 2147483647 w 492"/>
              <a:gd name="T7" fmla="*/ 2147483647 h 761"/>
              <a:gd name="T8" fmla="*/ 2147483647 w 492"/>
              <a:gd name="T9" fmla="*/ 2147483647 h 761"/>
              <a:gd name="T10" fmla="*/ 2147483647 w 492"/>
              <a:gd name="T11" fmla="*/ 2147483647 h 761"/>
              <a:gd name="T12" fmla="*/ 2147483647 w 492"/>
              <a:gd name="T13" fmla="*/ 2147483647 h 761"/>
              <a:gd name="T14" fmla="*/ 2147483647 w 492"/>
              <a:gd name="T15" fmla="*/ 2147483647 h 761"/>
              <a:gd name="T16" fmla="*/ 2147483647 w 492"/>
              <a:gd name="T17" fmla="*/ 2147483647 h 761"/>
              <a:gd name="T18" fmla="*/ 2147483647 w 492"/>
              <a:gd name="T19" fmla="*/ 2147483647 h 761"/>
              <a:gd name="T20" fmla="*/ 2147483647 w 492"/>
              <a:gd name="T21" fmla="*/ 2147483647 h 761"/>
              <a:gd name="T22" fmla="*/ 2147483647 w 492"/>
              <a:gd name="T23" fmla="*/ 2147483647 h 761"/>
              <a:gd name="T24" fmla="*/ 2147483647 w 492"/>
              <a:gd name="T25" fmla="*/ 2147483647 h 761"/>
              <a:gd name="T26" fmla="*/ 2147483647 w 492"/>
              <a:gd name="T27" fmla="*/ 2147483647 h 761"/>
              <a:gd name="T28" fmla="*/ 2147483647 w 492"/>
              <a:gd name="T29" fmla="*/ 2147483647 h 761"/>
              <a:gd name="T30" fmla="*/ 2147483647 w 492"/>
              <a:gd name="T31" fmla="*/ 2147483647 h 761"/>
              <a:gd name="T32" fmla="*/ 2147483647 w 492"/>
              <a:gd name="T33" fmla="*/ 2147483647 h 761"/>
              <a:gd name="T34" fmla="*/ 2147483647 w 492"/>
              <a:gd name="T35" fmla="*/ 2147483647 h 761"/>
              <a:gd name="T36" fmla="*/ 2147483647 w 492"/>
              <a:gd name="T37" fmla="*/ 2147483647 h 761"/>
              <a:gd name="T38" fmla="*/ 2147483647 w 492"/>
              <a:gd name="T39" fmla="*/ 2147483647 h 761"/>
              <a:gd name="T40" fmla="*/ 2147483647 w 492"/>
              <a:gd name="T41" fmla="*/ 2147483647 h 761"/>
              <a:gd name="T42" fmla="*/ 2147483647 w 492"/>
              <a:gd name="T43" fmla="*/ 2147483647 h 761"/>
              <a:gd name="T44" fmla="*/ 2147483647 w 492"/>
              <a:gd name="T45" fmla="*/ 2147483647 h 761"/>
              <a:gd name="T46" fmla="*/ 2147483647 w 492"/>
              <a:gd name="T47" fmla="*/ 2147483647 h 761"/>
              <a:gd name="T48" fmla="*/ 2147483647 w 492"/>
              <a:gd name="T49" fmla="*/ 2147483647 h 761"/>
              <a:gd name="T50" fmla="*/ 2147483647 w 492"/>
              <a:gd name="T51" fmla="*/ 2147483647 h 761"/>
              <a:gd name="T52" fmla="*/ 2147483647 w 492"/>
              <a:gd name="T53" fmla="*/ 2147483647 h 761"/>
              <a:gd name="T54" fmla="*/ 2147483647 w 492"/>
              <a:gd name="T55" fmla="*/ 2147483647 h 761"/>
              <a:gd name="T56" fmla="*/ 2147483647 w 492"/>
              <a:gd name="T57" fmla="*/ 2147483647 h 761"/>
              <a:gd name="T58" fmla="*/ 2147483647 w 492"/>
              <a:gd name="T59" fmla="*/ 2147483647 h 761"/>
              <a:gd name="T60" fmla="*/ 2147483647 w 492"/>
              <a:gd name="T61" fmla="*/ 2147483647 h 761"/>
              <a:gd name="T62" fmla="*/ 2147483647 w 492"/>
              <a:gd name="T63" fmla="*/ 2147483647 h 761"/>
              <a:gd name="T64" fmla="*/ 2147483647 w 492"/>
              <a:gd name="T65" fmla="*/ 2147483647 h 761"/>
              <a:gd name="T66" fmla="*/ 2147483647 w 492"/>
              <a:gd name="T67" fmla="*/ 2147483647 h 761"/>
              <a:gd name="T68" fmla="*/ 2147483647 w 492"/>
              <a:gd name="T69" fmla="*/ 2147483647 h 761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492"/>
              <a:gd name="T106" fmla="*/ 0 h 761"/>
              <a:gd name="T107" fmla="*/ 492 w 492"/>
              <a:gd name="T108" fmla="*/ 761 h 761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492" h="761">
                <a:moveTo>
                  <a:pt x="492" y="192"/>
                </a:moveTo>
                <a:lnTo>
                  <a:pt x="492" y="237"/>
                </a:lnTo>
                <a:lnTo>
                  <a:pt x="492" y="282"/>
                </a:lnTo>
                <a:lnTo>
                  <a:pt x="492" y="325"/>
                </a:lnTo>
                <a:lnTo>
                  <a:pt x="492" y="371"/>
                </a:lnTo>
                <a:lnTo>
                  <a:pt x="443" y="376"/>
                </a:lnTo>
                <a:lnTo>
                  <a:pt x="436" y="401"/>
                </a:lnTo>
                <a:lnTo>
                  <a:pt x="413" y="430"/>
                </a:lnTo>
                <a:lnTo>
                  <a:pt x="413" y="452"/>
                </a:lnTo>
                <a:lnTo>
                  <a:pt x="404" y="461"/>
                </a:lnTo>
                <a:lnTo>
                  <a:pt x="402" y="481"/>
                </a:lnTo>
                <a:lnTo>
                  <a:pt x="394" y="502"/>
                </a:lnTo>
                <a:lnTo>
                  <a:pt x="394" y="515"/>
                </a:lnTo>
                <a:lnTo>
                  <a:pt x="415" y="512"/>
                </a:lnTo>
                <a:lnTo>
                  <a:pt x="418" y="537"/>
                </a:lnTo>
                <a:lnTo>
                  <a:pt x="440" y="583"/>
                </a:lnTo>
                <a:lnTo>
                  <a:pt x="440" y="590"/>
                </a:lnTo>
                <a:lnTo>
                  <a:pt x="432" y="593"/>
                </a:lnTo>
                <a:lnTo>
                  <a:pt x="398" y="602"/>
                </a:lnTo>
                <a:lnTo>
                  <a:pt x="387" y="615"/>
                </a:lnTo>
                <a:lnTo>
                  <a:pt x="387" y="628"/>
                </a:lnTo>
                <a:lnTo>
                  <a:pt x="355" y="654"/>
                </a:lnTo>
                <a:lnTo>
                  <a:pt x="350" y="666"/>
                </a:lnTo>
                <a:lnTo>
                  <a:pt x="335" y="673"/>
                </a:lnTo>
                <a:lnTo>
                  <a:pt x="328" y="681"/>
                </a:lnTo>
                <a:lnTo>
                  <a:pt x="260" y="692"/>
                </a:lnTo>
                <a:lnTo>
                  <a:pt x="259" y="698"/>
                </a:lnTo>
                <a:lnTo>
                  <a:pt x="265" y="707"/>
                </a:lnTo>
                <a:lnTo>
                  <a:pt x="243" y="732"/>
                </a:lnTo>
                <a:lnTo>
                  <a:pt x="204" y="735"/>
                </a:lnTo>
                <a:lnTo>
                  <a:pt x="162" y="755"/>
                </a:lnTo>
                <a:lnTo>
                  <a:pt x="147" y="743"/>
                </a:lnTo>
                <a:lnTo>
                  <a:pt x="140" y="749"/>
                </a:lnTo>
                <a:lnTo>
                  <a:pt x="119" y="759"/>
                </a:lnTo>
                <a:lnTo>
                  <a:pt x="91" y="761"/>
                </a:lnTo>
                <a:lnTo>
                  <a:pt x="74" y="703"/>
                </a:lnTo>
                <a:lnTo>
                  <a:pt x="65" y="695"/>
                </a:lnTo>
                <a:lnTo>
                  <a:pt x="42" y="684"/>
                </a:lnTo>
                <a:lnTo>
                  <a:pt x="31" y="662"/>
                </a:lnTo>
                <a:lnTo>
                  <a:pt x="33" y="649"/>
                </a:lnTo>
                <a:lnTo>
                  <a:pt x="40" y="642"/>
                </a:lnTo>
                <a:lnTo>
                  <a:pt x="84" y="645"/>
                </a:lnTo>
                <a:lnTo>
                  <a:pt x="90" y="641"/>
                </a:lnTo>
                <a:lnTo>
                  <a:pt x="85" y="628"/>
                </a:lnTo>
                <a:lnTo>
                  <a:pt x="65" y="595"/>
                </a:lnTo>
                <a:lnTo>
                  <a:pt x="71" y="553"/>
                </a:lnTo>
                <a:lnTo>
                  <a:pt x="57" y="511"/>
                </a:lnTo>
                <a:lnTo>
                  <a:pt x="47" y="505"/>
                </a:lnTo>
                <a:lnTo>
                  <a:pt x="44" y="495"/>
                </a:lnTo>
                <a:lnTo>
                  <a:pt x="33" y="495"/>
                </a:lnTo>
                <a:lnTo>
                  <a:pt x="6" y="463"/>
                </a:lnTo>
                <a:lnTo>
                  <a:pt x="2" y="438"/>
                </a:lnTo>
                <a:lnTo>
                  <a:pt x="0" y="427"/>
                </a:lnTo>
                <a:lnTo>
                  <a:pt x="10" y="422"/>
                </a:lnTo>
                <a:lnTo>
                  <a:pt x="14" y="404"/>
                </a:lnTo>
                <a:lnTo>
                  <a:pt x="93" y="316"/>
                </a:lnTo>
                <a:lnTo>
                  <a:pt x="98" y="232"/>
                </a:lnTo>
                <a:lnTo>
                  <a:pt x="110" y="167"/>
                </a:lnTo>
                <a:lnTo>
                  <a:pt x="121" y="146"/>
                </a:lnTo>
                <a:lnTo>
                  <a:pt x="91" y="126"/>
                </a:lnTo>
                <a:lnTo>
                  <a:pt x="77" y="93"/>
                </a:lnTo>
                <a:lnTo>
                  <a:pt x="76" y="17"/>
                </a:lnTo>
                <a:lnTo>
                  <a:pt x="124" y="0"/>
                </a:lnTo>
                <a:lnTo>
                  <a:pt x="170" y="26"/>
                </a:lnTo>
                <a:lnTo>
                  <a:pt x="217" y="50"/>
                </a:lnTo>
                <a:lnTo>
                  <a:pt x="262" y="73"/>
                </a:lnTo>
                <a:lnTo>
                  <a:pt x="308" y="97"/>
                </a:lnTo>
                <a:lnTo>
                  <a:pt x="355" y="121"/>
                </a:lnTo>
                <a:lnTo>
                  <a:pt x="401" y="144"/>
                </a:lnTo>
                <a:lnTo>
                  <a:pt x="447" y="169"/>
                </a:lnTo>
                <a:lnTo>
                  <a:pt x="492" y="192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65" name="Freeform 154"/>
          <p:cNvSpPr>
            <a:spLocks noChangeAspect="1"/>
          </p:cNvSpPr>
          <p:nvPr/>
        </p:nvSpPr>
        <p:spPr bwMode="gray">
          <a:xfrm>
            <a:off x="4116388" y="2971800"/>
            <a:ext cx="269875" cy="214313"/>
          </a:xfrm>
          <a:custGeom>
            <a:avLst/>
            <a:gdLst>
              <a:gd name="T0" fmla="*/ 2147483647 w 552"/>
              <a:gd name="T1" fmla="*/ 2147483647 h 441"/>
              <a:gd name="T2" fmla="*/ 2147483647 w 552"/>
              <a:gd name="T3" fmla="*/ 2147483647 h 441"/>
              <a:gd name="T4" fmla="*/ 2147483647 w 552"/>
              <a:gd name="T5" fmla="*/ 2147483647 h 441"/>
              <a:gd name="T6" fmla="*/ 2147483647 w 552"/>
              <a:gd name="T7" fmla="*/ 2147483647 h 441"/>
              <a:gd name="T8" fmla="*/ 0 w 552"/>
              <a:gd name="T9" fmla="*/ 2147483647 h 441"/>
              <a:gd name="T10" fmla="*/ 2147483647 w 552"/>
              <a:gd name="T11" fmla="*/ 2147483647 h 441"/>
              <a:gd name="T12" fmla="*/ 2147483647 w 552"/>
              <a:gd name="T13" fmla="*/ 2147483647 h 441"/>
              <a:gd name="T14" fmla="*/ 2147483647 w 552"/>
              <a:gd name="T15" fmla="*/ 2147483647 h 441"/>
              <a:gd name="T16" fmla="*/ 2147483647 w 552"/>
              <a:gd name="T17" fmla="*/ 2147483647 h 441"/>
              <a:gd name="T18" fmla="*/ 2147483647 w 552"/>
              <a:gd name="T19" fmla="*/ 2147483647 h 441"/>
              <a:gd name="T20" fmla="*/ 2147483647 w 552"/>
              <a:gd name="T21" fmla="*/ 2147483647 h 441"/>
              <a:gd name="T22" fmla="*/ 2147483647 w 552"/>
              <a:gd name="T23" fmla="*/ 2147483647 h 441"/>
              <a:gd name="T24" fmla="*/ 2147483647 w 552"/>
              <a:gd name="T25" fmla="*/ 2147483647 h 441"/>
              <a:gd name="T26" fmla="*/ 2147483647 w 552"/>
              <a:gd name="T27" fmla="*/ 2147483647 h 441"/>
              <a:gd name="T28" fmla="*/ 2147483647 w 552"/>
              <a:gd name="T29" fmla="*/ 2147483647 h 441"/>
              <a:gd name="T30" fmla="*/ 2147483647 w 552"/>
              <a:gd name="T31" fmla="*/ 2147483647 h 441"/>
              <a:gd name="T32" fmla="*/ 2147483647 w 552"/>
              <a:gd name="T33" fmla="*/ 2147483647 h 441"/>
              <a:gd name="T34" fmla="*/ 2147483647 w 552"/>
              <a:gd name="T35" fmla="*/ 2147483647 h 441"/>
              <a:gd name="T36" fmla="*/ 2147483647 w 552"/>
              <a:gd name="T37" fmla="*/ 2147483647 h 441"/>
              <a:gd name="T38" fmla="*/ 2147483647 w 552"/>
              <a:gd name="T39" fmla="*/ 2147483647 h 441"/>
              <a:gd name="T40" fmla="*/ 2147483647 w 552"/>
              <a:gd name="T41" fmla="*/ 2147483647 h 441"/>
              <a:gd name="T42" fmla="*/ 2147483647 w 552"/>
              <a:gd name="T43" fmla="*/ 2147483647 h 441"/>
              <a:gd name="T44" fmla="*/ 2147483647 w 552"/>
              <a:gd name="T45" fmla="*/ 0 h 441"/>
              <a:gd name="T46" fmla="*/ 2147483647 w 552"/>
              <a:gd name="T47" fmla="*/ 2147483647 h 441"/>
              <a:gd name="T48" fmla="*/ 2147483647 w 552"/>
              <a:gd name="T49" fmla="*/ 2147483647 h 441"/>
              <a:gd name="T50" fmla="*/ 2147483647 w 552"/>
              <a:gd name="T51" fmla="*/ 2147483647 h 441"/>
              <a:gd name="T52" fmla="*/ 2147483647 w 552"/>
              <a:gd name="T53" fmla="*/ 2147483647 h 441"/>
              <a:gd name="T54" fmla="*/ 2147483647 w 552"/>
              <a:gd name="T55" fmla="*/ 2147483647 h 441"/>
              <a:gd name="T56" fmla="*/ 2147483647 w 552"/>
              <a:gd name="T57" fmla="*/ 2147483647 h 441"/>
              <a:gd name="T58" fmla="*/ 2147483647 w 552"/>
              <a:gd name="T59" fmla="*/ 2147483647 h 441"/>
              <a:gd name="T60" fmla="*/ 2147483647 w 552"/>
              <a:gd name="T61" fmla="*/ 2147483647 h 441"/>
              <a:gd name="T62" fmla="*/ 2147483647 w 552"/>
              <a:gd name="T63" fmla="*/ 2147483647 h 441"/>
              <a:gd name="T64" fmla="*/ 2147483647 w 552"/>
              <a:gd name="T65" fmla="*/ 2147483647 h 441"/>
              <a:gd name="T66" fmla="*/ 2147483647 w 552"/>
              <a:gd name="T67" fmla="*/ 2147483647 h 441"/>
              <a:gd name="T68" fmla="*/ 2147483647 w 552"/>
              <a:gd name="T69" fmla="*/ 2147483647 h 441"/>
              <a:gd name="T70" fmla="*/ 2147483647 w 552"/>
              <a:gd name="T71" fmla="*/ 2147483647 h 441"/>
              <a:gd name="T72" fmla="*/ 2147483647 w 552"/>
              <a:gd name="T73" fmla="*/ 2147483647 h 441"/>
              <a:gd name="T74" fmla="*/ 2147483647 w 552"/>
              <a:gd name="T75" fmla="*/ 2147483647 h 441"/>
              <a:gd name="T76" fmla="*/ 2147483647 w 552"/>
              <a:gd name="T77" fmla="*/ 2147483647 h 441"/>
              <a:gd name="T78" fmla="*/ 2147483647 w 552"/>
              <a:gd name="T79" fmla="*/ 2147483647 h 441"/>
              <a:gd name="T80" fmla="*/ 2147483647 w 552"/>
              <a:gd name="T81" fmla="*/ 2147483647 h 441"/>
              <a:gd name="T82" fmla="*/ 2147483647 w 552"/>
              <a:gd name="T83" fmla="*/ 2147483647 h 441"/>
              <a:gd name="T84" fmla="*/ 2147483647 w 552"/>
              <a:gd name="T85" fmla="*/ 2147483647 h 441"/>
              <a:gd name="T86" fmla="*/ 2147483647 w 552"/>
              <a:gd name="T87" fmla="*/ 2147483647 h 441"/>
              <a:gd name="T88" fmla="*/ 2147483647 w 552"/>
              <a:gd name="T89" fmla="*/ 2147483647 h 441"/>
              <a:gd name="T90" fmla="*/ 2147483647 w 552"/>
              <a:gd name="T91" fmla="*/ 2147483647 h 441"/>
              <a:gd name="T92" fmla="*/ 2147483647 w 552"/>
              <a:gd name="T93" fmla="*/ 2147483647 h 441"/>
              <a:gd name="T94" fmla="*/ 2147483647 w 552"/>
              <a:gd name="T95" fmla="*/ 2147483647 h 441"/>
              <a:gd name="T96" fmla="*/ 2147483647 w 552"/>
              <a:gd name="T97" fmla="*/ 2147483647 h 441"/>
              <a:gd name="T98" fmla="*/ 2147483647 w 552"/>
              <a:gd name="T99" fmla="*/ 2147483647 h 441"/>
              <a:gd name="T100" fmla="*/ 2147483647 w 552"/>
              <a:gd name="T101" fmla="*/ 2147483647 h 441"/>
              <a:gd name="T102" fmla="*/ 2147483647 w 552"/>
              <a:gd name="T103" fmla="*/ 2147483647 h 441"/>
              <a:gd name="T104" fmla="*/ 2147483647 w 552"/>
              <a:gd name="T105" fmla="*/ 2147483647 h 441"/>
              <a:gd name="T106" fmla="*/ 2147483647 w 552"/>
              <a:gd name="T107" fmla="*/ 2147483647 h 441"/>
              <a:gd name="T108" fmla="*/ 2147483647 w 552"/>
              <a:gd name="T109" fmla="*/ 2147483647 h 441"/>
              <a:gd name="T110" fmla="*/ 2147483647 w 552"/>
              <a:gd name="T111" fmla="*/ 2147483647 h 441"/>
              <a:gd name="T112" fmla="*/ 2147483647 w 552"/>
              <a:gd name="T113" fmla="*/ 2147483647 h 441"/>
              <a:gd name="T114" fmla="*/ 2147483647 w 552"/>
              <a:gd name="T115" fmla="*/ 2147483647 h 441"/>
              <a:gd name="T116" fmla="*/ 2147483647 w 552"/>
              <a:gd name="T117" fmla="*/ 2147483647 h 441"/>
              <a:gd name="T118" fmla="*/ 2147483647 w 552"/>
              <a:gd name="T119" fmla="*/ 2147483647 h 441"/>
              <a:gd name="T120" fmla="*/ 2147483647 w 552"/>
              <a:gd name="T121" fmla="*/ 2147483647 h 441"/>
              <a:gd name="T122" fmla="*/ 2147483647 w 552"/>
              <a:gd name="T123" fmla="*/ 2147483647 h 441"/>
              <a:gd name="T124" fmla="*/ 2147483647 w 552"/>
              <a:gd name="T125" fmla="*/ 2147483647 h 441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552"/>
              <a:gd name="T190" fmla="*/ 0 h 441"/>
              <a:gd name="T191" fmla="*/ 552 w 552"/>
              <a:gd name="T192" fmla="*/ 441 h 441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552" h="441">
                <a:moveTo>
                  <a:pt x="201" y="440"/>
                </a:moveTo>
                <a:lnTo>
                  <a:pt x="150" y="440"/>
                </a:lnTo>
                <a:lnTo>
                  <a:pt x="102" y="440"/>
                </a:lnTo>
                <a:lnTo>
                  <a:pt x="51" y="441"/>
                </a:lnTo>
                <a:lnTo>
                  <a:pt x="0" y="441"/>
                </a:lnTo>
                <a:lnTo>
                  <a:pt x="3" y="432"/>
                </a:lnTo>
                <a:lnTo>
                  <a:pt x="64" y="415"/>
                </a:lnTo>
                <a:lnTo>
                  <a:pt x="85" y="396"/>
                </a:lnTo>
                <a:lnTo>
                  <a:pt x="125" y="366"/>
                </a:lnTo>
                <a:lnTo>
                  <a:pt x="139" y="344"/>
                </a:lnTo>
                <a:lnTo>
                  <a:pt x="153" y="318"/>
                </a:lnTo>
                <a:lnTo>
                  <a:pt x="152" y="302"/>
                </a:lnTo>
                <a:lnTo>
                  <a:pt x="144" y="288"/>
                </a:lnTo>
                <a:lnTo>
                  <a:pt x="149" y="248"/>
                </a:lnTo>
                <a:lnTo>
                  <a:pt x="164" y="220"/>
                </a:lnTo>
                <a:lnTo>
                  <a:pt x="175" y="215"/>
                </a:lnTo>
                <a:lnTo>
                  <a:pt x="178" y="186"/>
                </a:lnTo>
                <a:lnTo>
                  <a:pt x="213" y="146"/>
                </a:lnTo>
                <a:lnTo>
                  <a:pt x="264" y="123"/>
                </a:lnTo>
                <a:lnTo>
                  <a:pt x="291" y="100"/>
                </a:lnTo>
                <a:lnTo>
                  <a:pt x="308" y="73"/>
                </a:lnTo>
                <a:lnTo>
                  <a:pt x="330" y="8"/>
                </a:lnTo>
                <a:lnTo>
                  <a:pt x="352" y="0"/>
                </a:lnTo>
                <a:lnTo>
                  <a:pt x="373" y="27"/>
                </a:lnTo>
                <a:lnTo>
                  <a:pt x="399" y="41"/>
                </a:lnTo>
                <a:lnTo>
                  <a:pt x="461" y="32"/>
                </a:lnTo>
                <a:lnTo>
                  <a:pt x="482" y="44"/>
                </a:lnTo>
                <a:lnTo>
                  <a:pt x="489" y="44"/>
                </a:lnTo>
                <a:lnTo>
                  <a:pt x="507" y="45"/>
                </a:lnTo>
                <a:lnTo>
                  <a:pt x="503" y="49"/>
                </a:lnTo>
                <a:lnTo>
                  <a:pt x="503" y="54"/>
                </a:lnTo>
                <a:lnTo>
                  <a:pt x="516" y="62"/>
                </a:lnTo>
                <a:lnTo>
                  <a:pt x="515" y="66"/>
                </a:lnTo>
                <a:lnTo>
                  <a:pt x="520" y="75"/>
                </a:lnTo>
                <a:lnTo>
                  <a:pt x="516" y="81"/>
                </a:lnTo>
                <a:lnTo>
                  <a:pt x="521" y="98"/>
                </a:lnTo>
                <a:lnTo>
                  <a:pt x="518" y="117"/>
                </a:lnTo>
                <a:lnTo>
                  <a:pt x="524" y="127"/>
                </a:lnTo>
                <a:lnTo>
                  <a:pt x="523" y="140"/>
                </a:lnTo>
                <a:lnTo>
                  <a:pt x="528" y="158"/>
                </a:lnTo>
                <a:lnTo>
                  <a:pt x="535" y="171"/>
                </a:lnTo>
                <a:lnTo>
                  <a:pt x="552" y="184"/>
                </a:lnTo>
                <a:lnTo>
                  <a:pt x="541" y="192"/>
                </a:lnTo>
                <a:lnTo>
                  <a:pt x="545" y="205"/>
                </a:lnTo>
                <a:lnTo>
                  <a:pt x="466" y="206"/>
                </a:lnTo>
                <a:lnTo>
                  <a:pt x="461" y="222"/>
                </a:lnTo>
                <a:lnTo>
                  <a:pt x="424" y="231"/>
                </a:lnTo>
                <a:lnTo>
                  <a:pt x="421" y="242"/>
                </a:lnTo>
                <a:lnTo>
                  <a:pt x="428" y="245"/>
                </a:lnTo>
                <a:lnTo>
                  <a:pt x="421" y="257"/>
                </a:lnTo>
                <a:lnTo>
                  <a:pt x="433" y="262"/>
                </a:lnTo>
                <a:lnTo>
                  <a:pt x="432" y="268"/>
                </a:lnTo>
                <a:lnTo>
                  <a:pt x="376" y="291"/>
                </a:lnTo>
                <a:lnTo>
                  <a:pt x="357" y="315"/>
                </a:lnTo>
                <a:lnTo>
                  <a:pt x="342" y="325"/>
                </a:lnTo>
                <a:lnTo>
                  <a:pt x="298" y="328"/>
                </a:lnTo>
                <a:lnTo>
                  <a:pt x="294" y="340"/>
                </a:lnTo>
                <a:lnTo>
                  <a:pt x="271" y="338"/>
                </a:lnTo>
                <a:lnTo>
                  <a:pt x="250" y="353"/>
                </a:lnTo>
                <a:lnTo>
                  <a:pt x="240" y="355"/>
                </a:lnTo>
                <a:lnTo>
                  <a:pt x="223" y="366"/>
                </a:lnTo>
                <a:lnTo>
                  <a:pt x="201" y="383"/>
                </a:lnTo>
                <a:lnTo>
                  <a:pt x="201" y="440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66" name="Freeform 155"/>
          <p:cNvSpPr>
            <a:spLocks noChangeAspect="1"/>
          </p:cNvSpPr>
          <p:nvPr/>
        </p:nvSpPr>
        <p:spPr bwMode="gray">
          <a:xfrm>
            <a:off x="4025900" y="3197225"/>
            <a:ext cx="273050" cy="298450"/>
          </a:xfrm>
          <a:custGeom>
            <a:avLst/>
            <a:gdLst>
              <a:gd name="T0" fmla="*/ 2147483647 w 557"/>
              <a:gd name="T1" fmla="*/ 2147483647 h 613"/>
              <a:gd name="T2" fmla="*/ 2147483647 w 557"/>
              <a:gd name="T3" fmla="*/ 2147483647 h 613"/>
              <a:gd name="T4" fmla="*/ 2147483647 w 557"/>
              <a:gd name="T5" fmla="*/ 2147483647 h 613"/>
              <a:gd name="T6" fmla="*/ 2147483647 w 557"/>
              <a:gd name="T7" fmla="*/ 2147483647 h 613"/>
              <a:gd name="T8" fmla="*/ 2147483647 w 557"/>
              <a:gd name="T9" fmla="*/ 2147483647 h 613"/>
              <a:gd name="T10" fmla="*/ 2147483647 w 557"/>
              <a:gd name="T11" fmla="*/ 2147483647 h 613"/>
              <a:gd name="T12" fmla="*/ 2147483647 w 557"/>
              <a:gd name="T13" fmla="*/ 2147483647 h 613"/>
              <a:gd name="T14" fmla="*/ 2147483647 w 557"/>
              <a:gd name="T15" fmla="*/ 2147483647 h 613"/>
              <a:gd name="T16" fmla="*/ 2147483647 w 557"/>
              <a:gd name="T17" fmla="*/ 2147483647 h 613"/>
              <a:gd name="T18" fmla="*/ 2147483647 w 557"/>
              <a:gd name="T19" fmla="*/ 2147483647 h 613"/>
              <a:gd name="T20" fmla="*/ 2147483647 w 557"/>
              <a:gd name="T21" fmla="*/ 2147483647 h 613"/>
              <a:gd name="T22" fmla="*/ 2147483647 w 557"/>
              <a:gd name="T23" fmla="*/ 2147483647 h 613"/>
              <a:gd name="T24" fmla="*/ 2147483647 w 557"/>
              <a:gd name="T25" fmla="*/ 2147483647 h 613"/>
              <a:gd name="T26" fmla="*/ 2147483647 w 557"/>
              <a:gd name="T27" fmla="*/ 2147483647 h 613"/>
              <a:gd name="T28" fmla="*/ 2147483647 w 557"/>
              <a:gd name="T29" fmla="*/ 2147483647 h 613"/>
              <a:gd name="T30" fmla="*/ 2147483647 w 557"/>
              <a:gd name="T31" fmla="*/ 2147483647 h 613"/>
              <a:gd name="T32" fmla="*/ 2147483647 w 557"/>
              <a:gd name="T33" fmla="*/ 2147483647 h 613"/>
              <a:gd name="T34" fmla="*/ 2147483647 w 557"/>
              <a:gd name="T35" fmla="*/ 2147483647 h 613"/>
              <a:gd name="T36" fmla="*/ 0 w 557"/>
              <a:gd name="T37" fmla="*/ 2147483647 h 613"/>
              <a:gd name="T38" fmla="*/ 2147483647 w 557"/>
              <a:gd name="T39" fmla="*/ 2147483647 h 613"/>
              <a:gd name="T40" fmla="*/ 2147483647 w 557"/>
              <a:gd name="T41" fmla="*/ 2147483647 h 613"/>
              <a:gd name="T42" fmla="*/ 2147483647 w 557"/>
              <a:gd name="T43" fmla="*/ 2147483647 h 613"/>
              <a:gd name="T44" fmla="*/ 2147483647 w 557"/>
              <a:gd name="T45" fmla="*/ 2147483647 h 613"/>
              <a:gd name="T46" fmla="*/ 2147483647 w 557"/>
              <a:gd name="T47" fmla="*/ 2147483647 h 613"/>
              <a:gd name="T48" fmla="*/ 2147483647 w 557"/>
              <a:gd name="T49" fmla="*/ 2147483647 h 613"/>
              <a:gd name="T50" fmla="*/ 2147483647 w 557"/>
              <a:gd name="T51" fmla="*/ 2147483647 h 613"/>
              <a:gd name="T52" fmla="*/ 2147483647 w 557"/>
              <a:gd name="T53" fmla="*/ 2147483647 h 613"/>
              <a:gd name="T54" fmla="*/ 2147483647 w 557"/>
              <a:gd name="T55" fmla="*/ 2147483647 h 613"/>
              <a:gd name="T56" fmla="*/ 2147483647 w 557"/>
              <a:gd name="T57" fmla="*/ 2147483647 h 613"/>
              <a:gd name="T58" fmla="*/ 2147483647 w 557"/>
              <a:gd name="T59" fmla="*/ 2147483647 h 613"/>
              <a:gd name="T60" fmla="*/ 2147483647 w 557"/>
              <a:gd name="T61" fmla="*/ 2147483647 h 613"/>
              <a:gd name="T62" fmla="*/ 2147483647 w 557"/>
              <a:gd name="T63" fmla="*/ 2147483647 h 613"/>
              <a:gd name="T64" fmla="*/ 2147483647 w 557"/>
              <a:gd name="T65" fmla="*/ 2147483647 h 613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557"/>
              <a:gd name="T100" fmla="*/ 0 h 613"/>
              <a:gd name="T101" fmla="*/ 557 w 557"/>
              <a:gd name="T102" fmla="*/ 613 h 613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557" h="613">
                <a:moveTo>
                  <a:pt x="316" y="575"/>
                </a:moveTo>
                <a:lnTo>
                  <a:pt x="368" y="577"/>
                </a:lnTo>
                <a:lnTo>
                  <a:pt x="421" y="580"/>
                </a:lnTo>
                <a:lnTo>
                  <a:pt x="473" y="580"/>
                </a:lnTo>
                <a:lnTo>
                  <a:pt x="526" y="581"/>
                </a:lnTo>
                <a:lnTo>
                  <a:pt x="536" y="540"/>
                </a:lnTo>
                <a:lnTo>
                  <a:pt x="518" y="535"/>
                </a:lnTo>
                <a:lnTo>
                  <a:pt x="512" y="484"/>
                </a:lnTo>
                <a:lnTo>
                  <a:pt x="507" y="432"/>
                </a:lnTo>
                <a:lnTo>
                  <a:pt x="502" y="379"/>
                </a:lnTo>
                <a:lnTo>
                  <a:pt x="497" y="329"/>
                </a:lnTo>
                <a:lnTo>
                  <a:pt x="490" y="276"/>
                </a:lnTo>
                <a:lnTo>
                  <a:pt x="485" y="222"/>
                </a:lnTo>
                <a:lnTo>
                  <a:pt x="480" y="170"/>
                </a:lnTo>
                <a:lnTo>
                  <a:pt x="475" y="116"/>
                </a:lnTo>
                <a:lnTo>
                  <a:pt x="515" y="116"/>
                </a:lnTo>
                <a:lnTo>
                  <a:pt x="557" y="116"/>
                </a:lnTo>
                <a:lnTo>
                  <a:pt x="514" y="86"/>
                </a:lnTo>
                <a:lnTo>
                  <a:pt x="472" y="58"/>
                </a:lnTo>
                <a:lnTo>
                  <a:pt x="430" y="29"/>
                </a:lnTo>
                <a:lnTo>
                  <a:pt x="387" y="0"/>
                </a:lnTo>
                <a:lnTo>
                  <a:pt x="384" y="63"/>
                </a:lnTo>
                <a:lnTo>
                  <a:pt x="348" y="63"/>
                </a:lnTo>
                <a:lnTo>
                  <a:pt x="311" y="61"/>
                </a:lnTo>
                <a:lnTo>
                  <a:pt x="274" y="61"/>
                </a:lnTo>
                <a:lnTo>
                  <a:pt x="238" y="61"/>
                </a:lnTo>
                <a:lnTo>
                  <a:pt x="238" y="100"/>
                </a:lnTo>
                <a:lnTo>
                  <a:pt x="236" y="145"/>
                </a:lnTo>
                <a:lnTo>
                  <a:pt x="236" y="190"/>
                </a:lnTo>
                <a:lnTo>
                  <a:pt x="192" y="201"/>
                </a:lnTo>
                <a:lnTo>
                  <a:pt x="181" y="217"/>
                </a:lnTo>
                <a:lnTo>
                  <a:pt x="184" y="250"/>
                </a:lnTo>
                <a:lnTo>
                  <a:pt x="187" y="293"/>
                </a:lnTo>
                <a:lnTo>
                  <a:pt x="143" y="293"/>
                </a:lnTo>
                <a:lnTo>
                  <a:pt x="101" y="293"/>
                </a:lnTo>
                <a:lnTo>
                  <a:pt x="57" y="293"/>
                </a:lnTo>
                <a:lnTo>
                  <a:pt x="14" y="293"/>
                </a:lnTo>
                <a:lnTo>
                  <a:pt x="0" y="312"/>
                </a:lnTo>
                <a:lnTo>
                  <a:pt x="9" y="310"/>
                </a:lnTo>
                <a:lnTo>
                  <a:pt x="18" y="331"/>
                </a:lnTo>
                <a:lnTo>
                  <a:pt x="26" y="331"/>
                </a:lnTo>
                <a:lnTo>
                  <a:pt x="33" y="346"/>
                </a:lnTo>
                <a:lnTo>
                  <a:pt x="37" y="365"/>
                </a:lnTo>
                <a:lnTo>
                  <a:pt x="35" y="371"/>
                </a:lnTo>
                <a:lnTo>
                  <a:pt x="23" y="391"/>
                </a:lnTo>
                <a:lnTo>
                  <a:pt x="38" y="413"/>
                </a:lnTo>
                <a:lnTo>
                  <a:pt x="43" y="436"/>
                </a:lnTo>
                <a:lnTo>
                  <a:pt x="43" y="476"/>
                </a:lnTo>
                <a:lnTo>
                  <a:pt x="20" y="549"/>
                </a:lnTo>
                <a:lnTo>
                  <a:pt x="29" y="529"/>
                </a:lnTo>
                <a:lnTo>
                  <a:pt x="59" y="532"/>
                </a:lnTo>
                <a:lnTo>
                  <a:pt x="85" y="523"/>
                </a:lnTo>
                <a:lnTo>
                  <a:pt x="119" y="523"/>
                </a:lnTo>
                <a:lnTo>
                  <a:pt x="143" y="547"/>
                </a:lnTo>
                <a:lnTo>
                  <a:pt x="160" y="547"/>
                </a:lnTo>
                <a:lnTo>
                  <a:pt x="172" y="571"/>
                </a:lnTo>
                <a:lnTo>
                  <a:pt x="185" y="577"/>
                </a:lnTo>
                <a:lnTo>
                  <a:pt x="190" y="588"/>
                </a:lnTo>
                <a:lnTo>
                  <a:pt x="189" y="589"/>
                </a:lnTo>
                <a:lnTo>
                  <a:pt x="221" y="613"/>
                </a:lnTo>
                <a:lnTo>
                  <a:pt x="241" y="594"/>
                </a:lnTo>
                <a:lnTo>
                  <a:pt x="257" y="561"/>
                </a:lnTo>
                <a:lnTo>
                  <a:pt x="269" y="566"/>
                </a:lnTo>
                <a:lnTo>
                  <a:pt x="278" y="592"/>
                </a:lnTo>
                <a:lnTo>
                  <a:pt x="292" y="594"/>
                </a:lnTo>
                <a:lnTo>
                  <a:pt x="316" y="575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67" name="Freeform 156"/>
          <p:cNvSpPr>
            <a:spLocks noChangeAspect="1"/>
          </p:cNvSpPr>
          <p:nvPr/>
        </p:nvSpPr>
        <p:spPr bwMode="gray">
          <a:xfrm>
            <a:off x="4025900" y="3186113"/>
            <a:ext cx="188913" cy="163512"/>
          </a:xfrm>
          <a:custGeom>
            <a:avLst/>
            <a:gdLst>
              <a:gd name="T0" fmla="*/ 2147483647 w 387"/>
              <a:gd name="T1" fmla="*/ 2147483647 h 337"/>
              <a:gd name="T2" fmla="*/ 2147483647 w 387"/>
              <a:gd name="T3" fmla="*/ 2147483647 h 337"/>
              <a:gd name="T4" fmla="*/ 2147483647 w 387"/>
              <a:gd name="T5" fmla="*/ 2147483647 h 337"/>
              <a:gd name="T6" fmla="*/ 2147483647 w 387"/>
              <a:gd name="T7" fmla="*/ 2147483647 h 337"/>
              <a:gd name="T8" fmla="*/ 2147483647 w 387"/>
              <a:gd name="T9" fmla="*/ 2147483647 h 337"/>
              <a:gd name="T10" fmla="*/ 2147483647 w 387"/>
              <a:gd name="T11" fmla="*/ 2147483647 h 337"/>
              <a:gd name="T12" fmla="*/ 2147483647 w 387"/>
              <a:gd name="T13" fmla="*/ 2147483647 h 337"/>
              <a:gd name="T14" fmla="*/ 2147483647 w 387"/>
              <a:gd name="T15" fmla="*/ 2147483647 h 337"/>
              <a:gd name="T16" fmla="*/ 2147483647 w 387"/>
              <a:gd name="T17" fmla="*/ 2147483647 h 337"/>
              <a:gd name="T18" fmla="*/ 2147483647 w 387"/>
              <a:gd name="T19" fmla="*/ 2147483647 h 337"/>
              <a:gd name="T20" fmla="*/ 2147483647 w 387"/>
              <a:gd name="T21" fmla="*/ 2147483647 h 337"/>
              <a:gd name="T22" fmla="*/ 2147483647 w 387"/>
              <a:gd name="T23" fmla="*/ 2147483647 h 337"/>
              <a:gd name="T24" fmla="*/ 2147483647 w 387"/>
              <a:gd name="T25" fmla="*/ 2147483647 h 337"/>
              <a:gd name="T26" fmla="*/ 2147483647 w 387"/>
              <a:gd name="T27" fmla="*/ 2147483647 h 337"/>
              <a:gd name="T28" fmla="*/ 2147483647 w 387"/>
              <a:gd name="T29" fmla="*/ 2147483647 h 337"/>
              <a:gd name="T30" fmla="*/ 2147483647 w 387"/>
              <a:gd name="T31" fmla="*/ 2147483647 h 337"/>
              <a:gd name="T32" fmla="*/ 0 w 387"/>
              <a:gd name="T33" fmla="*/ 2147483647 h 337"/>
              <a:gd name="T34" fmla="*/ 2147483647 w 387"/>
              <a:gd name="T35" fmla="*/ 2147483647 h 337"/>
              <a:gd name="T36" fmla="*/ 2147483647 w 387"/>
              <a:gd name="T37" fmla="*/ 2147483647 h 337"/>
              <a:gd name="T38" fmla="*/ 2147483647 w 387"/>
              <a:gd name="T39" fmla="*/ 2147483647 h 337"/>
              <a:gd name="T40" fmla="*/ 2147483647 w 387"/>
              <a:gd name="T41" fmla="*/ 2147483647 h 337"/>
              <a:gd name="T42" fmla="*/ 2147483647 w 387"/>
              <a:gd name="T43" fmla="*/ 2147483647 h 337"/>
              <a:gd name="T44" fmla="*/ 2147483647 w 387"/>
              <a:gd name="T45" fmla="*/ 2147483647 h 337"/>
              <a:gd name="T46" fmla="*/ 2147483647 w 387"/>
              <a:gd name="T47" fmla="*/ 2147483647 h 337"/>
              <a:gd name="T48" fmla="*/ 2147483647 w 387"/>
              <a:gd name="T49" fmla="*/ 2147483647 h 337"/>
              <a:gd name="T50" fmla="*/ 2147483647 w 387"/>
              <a:gd name="T51" fmla="*/ 2147483647 h 337"/>
              <a:gd name="T52" fmla="*/ 2147483647 w 387"/>
              <a:gd name="T53" fmla="*/ 2147483647 h 337"/>
              <a:gd name="T54" fmla="*/ 2147483647 w 387"/>
              <a:gd name="T55" fmla="*/ 2147483647 h 337"/>
              <a:gd name="T56" fmla="*/ 2147483647 w 387"/>
              <a:gd name="T57" fmla="*/ 2147483647 h 337"/>
              <a:gd name="T58" fmla="*/ 2147483647 w 387"/>
              <a:gd name="T59" fmla="*/ 2147483647 h 337"/>
              <a:gd name="T60" fmla="*/ 2147483647 w 387"/>
              <a:gd name="T61" fmla="*/ 0 h 337"/>
              <a:gd name="T62" fmla="*/ 2147483647 w 387"/>
              <a:gd name="T63" fmla="*/ 0 h 337"/>
              <a:gd name="T64" fmla="*/ 2147483647 w 387"/>
              <a:gd name="T65" fmla="*/ 0 h 337"/>
              <a:gd name="T66" fmla="*/ 2147483647 w 387"/>
              <a:gd name="T67" fmla="*/ 2147483647 h 337"/>
              <a:gd name="T68" fmla="*/ 2147483647 w 387"/>
              <a:gd name="T69" fmla="*/ 2147483647 h 337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87"/>
              <a:gd name="T106" fmla="*/ 0 h 337"/>
              <a:gd name="T107" fmla="*/ 387 w 387"/>
              <a:gd name="T108" fmla="*/ 337 h 337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87" h="337">
                <a:moveTo>
                  <a:pt x="384" y="88"/>
                </a:moveTo>
                <a:lnTo>
                  <a:pt x="348" y="88"/>
                </a:lnTo>
                <a:lnTo>
                  <a:pt x="311" y="86"/>
                </a:lnTo>
                <a:lnTo>
                  <a:pt x="274" y="86"/>
                </a:lnTo>
                <a:lnTo>
                  <a:pt x="238" y="86"/>
                </a:lnTo>
                <a:lnTo>
                  <a:pt x="238" y="125"/>
                </a:lnTo>
                <a:lnTo>
                  <a:pt x="236" y="170"/>
                </a:lnTo>
                <a:lnTo>
                  <a:pt x="236" y="215"/>
                </a:lnTo>
                <a:lnTo>
                  <a:pt x="192" y="226"/>
                </a:lnTo>
                <a:lnTo>
                  <a:pt x="181" y="242"/>
                </a:lnTo>
                <a:lnTo>
                  <a:pt x="184" y="275"/>
                </a:lnTo>
                <a:lnTo>
                  <a:pt x="187" y="318"/>
                </a:lnTo>
                <a:lnTo>
                  <a:pt x="143" y="318"/>
                </a:lnTo>
                <a:lnTo>
                  <a:pt x="101" y="318"/>
                </a:lnTo>
                <a:lnTo>
                  <a:pt x="57" y="318"/>
                </a:lnTo>
                <a:lnTo>
                  <a:pt x="14" y="318"/>
                </a:lnTo>
                <a:lnTo>
                  <a:pt x="0" y="337"/>
                </a:lnTo>
                <a:lnTo>
                  <a:pt x="4" y="300"/>
                </a:lnTo>
                <a:lnTo>
                  <a:pt x="12" y="277"/>
                </a:lnTo>
                <a:lnTo>
                  <a:pt x="23" y="272"/>
                </a:lnTo>
                <a:lnTo>
                  <a:pt x="40" y="238"/>
                </a:lnTo>
                <a:lnTo>
                  <a:pt x="38" y="232"/>
                </a:lnTo>
                <a:lnTo>
                  <a:pt x="60" y="193"/>
                </a:lnTo>
                <a:lnTo>
                  <a:pt x="102" y="137"/>
                </a:lnTo>
                <a:lnTo>
                  <a:pt x="116" y="85"/>
                </a:lnTo>
                <a:lnTo>
                  <a:pt x="130" y="68"/>
                </a:lnTo>
                <a:lnTo>
                  <a:pt x="160" y="49"/>
                </a:lnTo>
                <a:lnTo>
                  <a:pt x="168" y="29"/>
                </a:lnTo>
                <a:lnTo>
                  <a:pt x="184" y="1"/>
                </a:lnTo>
                <a:lnTo>
                  <a:pt x="235" y="1"/>
                </a:lnTo>
                <a:lnTo>
                  <a:pt x="286" y="0"/>
                </a:lnTo>
                <a:lnTo>
                  <a:pt x="334" y="0"/>
                </a:lnTo>
                <a:lnTo>
                  <a:pt x="385" y="0"/>
                </a:lnTo>
                <a:lnTo>
                  <a:pt x="387" y="25"/>
                </a:lnTo>
                <a:lnTo>
                  <a:pt x="384" y="88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68" name="Freeform 157"/>
          <p:cNvSpPr>
            <a:spLocks noChangeAspect="1"/>
          </p:cNvSpPr>
          <p:nvPr/>
        </p:nvSpPr>
        <p:spPr bwMode="gray">
          <a:xfrm>
            <a:off x="4213225" y="2936875"/>
            <a:ext cx="457200" cy="460375"/>
          </a:xfrm>
          <a:custGeom>
            <a:avLst/>
            <a:gdLst>
              <a:gd name="T0" fmla="*/ 2147483647 w 933"/>
              <a:gd name="T1" fmla="*/ 2147483647 h 945"/>
              <a:gd name="T2" fmla="*/ 2147483647 w 933"/>
              <a:gd name="T3" fmla="*/ 2147483647 h 945"/>
              <a:gd name="T4" fmla="*/ 2147483647 w 933"/>
              <a:gd name="T5" fmla="*/ 2147483647 h 945"/>
              <a:gd name="T6" fmla="*/ 2147483647 w 933"/>
              <a:gd name="T7" fmla="*/ 2147483647 h 945"/>
              <a:gd name="T8" fmla="*/ 2147483647 w 933"/>
              <a:gd name="T9" fmla="*/ 2147483647 h 945"/>
              <a:gd name="T10" fmla="*/ 2147483647 w 933"/>
              <a:gd name="T11" fmla="*/ 2147483647 h 945"/>
              <a:gd name="T12" fmla="*/ 2147483647 w 933"/>
              <a:gd name="T13" fmla="*/ 2147483647 h 945"/>
              <a:gd name="T14" fmla="*/ 2147483647 w 933"/>
              <a:gd name="T15" fmla="*/ 2147483647 h 945"/>
              <a:gd name="T16" fmla="*/ 2147483647 w 933"/>
              <a:gd name="T17" fmla="*/ 2147483647 h 945"/>
              <a:gd name="T18" fmla="*/ 2147483647 w 933"/>
              <a:gd name="T19" fmla="*/ 2147483647 h 945"/>
              <a:gd name="T20" fmla="*/ 2147483647 w 933"/>
              <a:gd name="T21" fmla="*/ 2147483647 h 945"/>
              <a:gd name="T22" fmla="*/ 2147483647 w 933"/>
              <a:gd name="T23" fmla="*/ 2147483647 h 945"/>
              <a:gd name="T24" fmla="*/ 2147483647 w 933"/>
              <a:gd name="T25" fmla="*/ 2147483647 h 945"/>
              <a:gd name="T26" fmla="*/ 2147483647 w 933"/>
              <a:gd name="T27" fmla="*/ 2147483647 h 945"/>
              <a:gd name="T28" fmla="*/ 2147483647 w 933"/>
              <a:gd name="T29" fmla="*/ 2147483647 h 945"/>
              <a:gd name="T30" fmla="*/ 2147483647 w 933"/>
              <a:gd name="T31" fmla="*/ 2147483647 h 945"/>
              <a:gd name="T32" fmla="*/ 2147483647 w 933"/>
              <a:gd name="T33" fmla="*/ 2147483647 h 945"/>
              <a:gd name="T34" fmla="*/ 2147483647 w 933"/>
              <a:gd name="T35" fmla="*/ 2147483647 h 945"/>
              <a:gd name="T36" fmla="*/ 2147483647 w 933"/>
              <a:gd name="T37" fmla="*/ 2147483647 h 945"/>
              <a:gd name="T38" fmla="*/ 2147483647 w 933"/>
              <a:gd name="T39" fmla="*/ 2147483647 h 945"/>
              <a:gd name="T40" fmla="*/ 2147483647 w 933"/>
              <a:gd name="T41" fmla="*/ 2147483647 h 945"/>
              <a:gd name="T42" fmla="*/ 2147483647 w 933"/>
              <a:gd name="T43" fmla="*/ 2147483647 h 945"/>
              <a:gd name="T44" fmla="*/ 2147483647 w 933"/>
              <a:gd name="T45" fmla="*/ 2147483647 h 945"/>
              <a:gd name="T46" fmla="*/ 2147483647 w 933"/>
              <a:gd name="T47" fmla="*/ 2147483647 h 945"/>
              <a:gd name="T48" fmla="*/ 2147483647 w 933"/>
              <a:gd name="T49" fmla="*/ 2147483647 h 945"/>
              <a:gd name="T50" fmla="*/ 2147483647 w 933"/>
              <a:gd name="T51" fmla="*/ 2147483647 h 945"/>
              <a:gd name="T52" fmla="*/ 2147483647 w 933"/>
              <a:gd name="T53" fmla="*/ 2147483647 h 945"/>
              <a:gd name="T54" fmla="*/ 2147483647 w 933"/>
              <a:gd name="T55" fmla="*/ 2147483647 h 945"/>
              <a:gd name="T56" fmla="*/ 2147483647 w 933"/>
              <a:gd name="T57" fmla="*/ 2147483647 h 945"/>
              <a:gd name="T58" fmla="*/ 2147483647 w 933"/>
              <a:gd name="T59" fmla="*/ 2147483647 h 945"/>
              <a:gd name="T60" fmla="*/ 2147483647 w 933"/>
              <a:gd name="T61" fmla="*/ 2147483647 h 945"/>
              <a:gd name="T62" fmla="*/ 2147483647 w 933"/>
              <a:gd name="T63" fmla="*/ 0 h 945"/>
              <a:gd name="T64" fmla="*/ 2147483647 w 933"/>
              <a:gd name="T65" fmla="*/ 0 h 945"/>
              <a:gd name="T66" fmla="*/ 2147483647 w 933"/>
              <a:gd name="T67" fmla="*/ 2147483647 h 945"/>
              <a:gd name="T68" fmla="*/ 2147483647 w 933"/>
              <a:gd name="T69" fmla="*/ 2147483647 h 945"/>
              <a:gd name="T70" fmla="*/ 2147483647 w 933"/>
              <a:gd name="T71" fmla="*/ 2147483647 h 945"/>
              <a:gd name="T72" fmla="*/ 2147483647 w 933"/>
              <a:gd name="T73" fmla="*/ 2147483647 h 945"/>
              <a:gd name="T74" fmla="*/ 2147483647 w 933"/>
              <a:gd name="T75" fmla="*/ 2147483647 h 945"/>
              <a:gd name="T76" fmla="*/ 2147483647 w 933"/>
              <a:gd name="T77" fmla="*/ 2147483647 h 945"/>
              <a:gd name="T78" fmla="*/ 2147483647 w 933"/>
              <a:gd name="T79" fmla="*/ 2147483647 h 945"/>
              <a:gd name="T80" fmla="*/ 2147483647 w 933"/>
              <a:gd name="T81" fmla="*/ 2147483647 h 945"/>
              <a:gd name="T82" fmla="*/ 2147483647 w 933"/>
              <a:gd name="T83" fmla="*/ 2147483647 h 945"/>
              <a:gd name="T84" fmla="*/ 2147483647 w 933"/>
              <a:gd name="T85" fmla="*/ 2147483647 h 945"/>
              <a:gd name="T86" fmla="*/ 2147483647 w 933"/>
              <a:gd name="T87" fmla="*/ 2147483647 h 945"/>
              <a:gd name="T88" fmla="*/ 2147483647 w 933"/>
              <a:gd name="T89" fmla="*/ 2147483647 h 945"/>
              <a:gd name="T90" fmla="*/ 2147483647 w 933"/>
              <a:gd name="T91" fmla="*/ 2147483647 h 945"/>
              <a:gd name="T92" fmla="*/ 2147483647 w 933"/>
              <a:gd name="T93" fmla="*/ 2147483647 h 945"/>
              <a:gd name="T94" fmla="*/ 2147483647 w 933"/>
              <a:gd name="T95" fmla="*/ 2147483647 h 945"/>
              <a:gd name="T96" fmla="*/ 2147483647 w 933"/>
              <a:gd name="T97" fmla="*/ 2147483647 h 945"/>
              <a:gd name="T98" fmla="*/ 2147483647 w 933"/>
              <a:gd name="T99" fmla="*/ 2147483647 h 945"/>
              <a:gd name="T100" fmla="*/ 2147483647 w 933"/>
              <a:gd name="T101" fmla="*/ 2147483647 h 945"/>
              <a:gd name="T102" fmla="*/ 2147483647 w 933"/>
              <a:gd name="T103" fmla="*/ 2147483647 h 945"/>
              <a:gd name="T104" fmla="*/ 2147483647 w 933"/>
              <a:gd name="T105" fmla="*/ 2147483647 h 945"/>
              <a:gd name="T106" fmla="*/ 2147483647 w 933"/>
              <a:gd name="T107" fmla="*/ 2147483647 h 945"/>
              <a:gd name="T108" fmla="*/ 2147483647 w 933"/>
              <a:gd name="T109" fmla="*/ 2147483647 h 945"/>
              <a:gd name="T110" fmla="*/ 2147483647 w 933"/>
              <a:gd name="T111" fmla="*/ 2147483647 h 945"/>
              <a:gd name="T112" fmla="*/ 0 w 933"/>
              <a:gd name="T113" fmla="*/ 2147483647 h 945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933"/>
              <a:gd name="T172" fmla="*/ 0 h 945"/>
              <a:gd name="T173" fmla="*/ 933 w 933"/>
              <a:gd name="T174" fmla="*/ 945 h 945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933" h="945">
                <a:moveTo>
                  <a:pt x="2" y="534"/>
                </a:moveTo>
                <a:lnTo>
                  <a:pt x="45" y="563"/>
                </a:lnTo>
                <a:lnTo>
                  <a:pt x="87" y="592"/>
                </a:lnTo>
                <a:lnTo>
                  <a:pt x="129" y="620"/>
                </a:lnTo>
                <a:lnTo>
                  <a:pt x="172" y="650"/>
                </a:lnTo>
                <a:lnTo>
                  <a:pt x="206" y="673"/>
                </a:lnTo>
                <a:lnTo>
                  <a:pt x="241" y="696"/>
                </a:lnTo>
                <a:lnTo>
                  <a:pt x="274" y="721"/>
                </a:lnTo>
                <a:lnTo>
                  <a:pt x="308" y="744"/>
                </a:lnTo>
                <a:lnTo>
                  <a:pt x="342" y="768"/>
                </a:lnTo>
                <a:lnTo>
                  <a:pt x="376" y="792"/>
                </a:lnTo>
                <a:lnTo>
                  <a:pt x="408" y="815"/>
                </a:lnTo>
                <a:lnTo>
                  <a:pt x="444" y="837"/>
                </a:lnTo>
                <a:lnTo>
                  <a:pt x="447" y="856"/>
                </a:lnTo>
                <a:lnTo>
                  <a:pt x="467" y="865"/>
                </a:lnTo>
                <a:lnTo>
                  <a:pt x="478" y="880"/>
                </a:lnTo>
                <a:lnTo>
                  <a:pt x="498" y="883"/>
                </a:lnTo>
                <a:lnTo>
                  <a:pt x="506" y="893"/>
                </a:lnTo>
                <a:lnTo>
                  <a:pt x="540" y="903"/>
                </a:lnTo>
                <a:lnTo>
                  <a:pt x="544" y="922"/>
                </a:lnTo>
                <a:lnTo>
                  <a:pt x="539" y="939"/>
                </a:lnTo>
                <a:lnTo>
                  <a:pt x="546" y="945"/>
                </a:lnTo>
                <a:lnTo>
                  <a:pt x="585" y="937"/>
                </a:lnTo>
                <a:lnTo>
                  <a:pt x="619" y="928"/>
                </a:lnTo>
                <a:lnTo>
                  <a:pt x="656" y="920"/>
                </a:lnTo>
                <a:lnTo>
                  <a:pt x="681" y="900"/>
                </a:lnTo>
                <a:lnTo>
                  <a:pt x="707" y="882"/>
                </a:lnTo>
                <a:lnTo>
                  <a:pt x="732" y="861"/>
                </a:lnTo>
                <a:lnTo>
                  <a:pt x="759" y="840"/>
                </a:lnTo>
                <a:lnTo>
                  <a:pt x="781" y="827"/>
                </a:lnTo>
                <a:lnTo>
                  <a:pt x="803" y="812"/>
                </a:lnTo>
                <a:lnTo>
                  <a:pt x="825" y="798"/>
                </a:lnTo>
                <a:lnTo>
                  <a:pt x="846" y="783"/>
                </a:lnTo>
                <a:lnTo>
                  <a:pt x="869" y="768"/>
                </a:lnTo>
                <a:lnTo>
                  <a:pt x="891" y="755"/>
                </a:lnTo>
                <a:lnTo>
                  <a:pt x="913" y="739"/>
                </a:lnTo>
                <a:lnTo>
                  <a:pt x="933" y="724"/>
                </a:lnTo>
                <a:lnTo>
                  <a:pt x="914" y="684"/>
                </a:lnTo>
                <a:lnTo>
                  <a:pt x="889" y="671"/>
                </a:lnTo>
                <a:lnTo>
                  <a:pt x="863" y="671"/>
                </a:lnTo>
                <a:lnTo>
                  <a:pt x="852" y="658"/>
                </a:lnTo>
                <a:lnTo>
                  <a:pt x="849" y="633"/>
                </a:lnTo>
                <a:lnTo>
                  <a:pt x="821" y="588"/>
                </a:lnTo>
                <a:lnTo>
                  <a:pt x="821" y="582"/>
                </a:lnTo>
                <a:lnTo>
                  <a:pt x="838" y="575"/>
                </a:lnTo>
                <a:lnTo>
                  <a:pt x="842" y="509"/>
                </a:lnTo>
                <a:lnTo>
                  <a:pt x="835" y="426"/>
                </a:lnTo>
                <a:lnTo>
                  <a:pt x="817" y="396"/>
                </a:lnTo>
                <a:lnTo>
                  <a:pt x="817" y="384"/>
                </a:lnTo>
                <a:lnTo>
                  <a:pt x="826" y="373"/>
                </a:lnTo>
                <a:lnTo>
                  <a:pt x="809" y="280"/>
                </a:lnTo>
                <a:lnTo>
                  <a:pt x="771" y="258"/>
                </a:lnTo>
                <a:lnTo>
                  <a:pt x="771" y="243"/>
                </a:lnTo>
                <a:lnTo>
                  <a:pt x="764" y="226"/>
                </a:lnTo>
                <a:lnTo>
                  <a:pt x="744" y="215"/>
                </a:lnTo>
                <a:lnTo>
                  <a:pt x="733" y="178"/>
                </a:lnTo>
                <a:lnTo>
                  <a:pt x="774" y="142"/>
                </a:lnTo>
                <a:lnTo>
                  <a:pt x="783" y="110"/>
                </a:lnTo>
                <a:lnTo>
                  <a:pt x="778" y="72"/>
                </a:lnTo>
                <a:lnTo>
                  <a:pt x="783" y="37"/>
                </a:lnTo>
                <a:lnTo>
                  <a:pt x="774" y="32"/>
                </a:lnTo>
                <a:lnTo>
                  <a:pt x="797" y="8"/>
                </a:lnTo>
                <a:lnTo>
                  <a:pt x="755" y="11"/>
                </a:lnTo>
                <a:lnTo>
                  <a:pt x="732" y="0"/>
                </a:lnTo>
                <a:lnTo>
                  <a:pt x="718" y="9"/>
                </a:lnTo>
                <a:lnTo>
                  <a:pt x="688" y="0"/>
                </a:lnTo>
                <a:lnTo>
                  <a:pt x="681" y="9"/>
                </a:lnTo>
                <a:lnTo>
                  <a:pt x="642" y="21"/>
                </a:lnTo>
                <a:lnTo>
                  <a:pt x="625" y="11"/>
                </a:lnTo>
                <a:lnTo>
                  <a:pt x="577" y="9"/>
                </a:lnTo>
                <a:lnTo>
                  <a:pt x="557" y="18"/>
                </a:lnTo>
                <a:lnTo>
                  <a:pt x="537" y="17"/>
                </a:lnTo>
                <a:lnTo>
                  <a:pt x="520" y="26"/>
                </a:lnTo>
                <a:lnTo>
                  <a:pt x="456" y="34"/>
                </a:lnTo>
                <a:lnTo>
                  <a:pt x="412" y="54"/>
                </a:lnTo>
                <a:lnTo>
                  <a:pt x="407" y="60"/>
                </a:lnTo>
                <a:lnTo>
                  <a:pt x="399" y="69"/>
                </a:lnTo>
                <a:lnTo>
                  <a:pt x="361" y="76"/>
                </a:lnTo>
                <a:lnTo>
                  <a:pt x="337" y="102"/>
                </a:lnTo>
                <a:lnTo>
                  <a:pt x="306" y="114"/>
                </a:lnTo>
                <a:lnTo>
                  <a:pt x="302" y="118"/>
                </a:lnTo>
                <a:lnTo>
                  <a:pt x="302" y="123"/>
                </a:lnTo>
                <a:lnTo>
                  <a:pt x="315" y="131"/>
                </a:lnTo>
                <a:lnTo>
                  <a:pt x="314" y="135"/>
                </a:lnTo>
                <a:lnTo>
                  <a:pt x="319" y="144"/>
                </a:lnTo>
                <a:lnTo>
                  <a:pt x="315" y="150"/>
                </a:lnTo>
                <a:lnTo>
                  <a:pt x="320" y="167"/>
                </a:lnTo>
                <a:lnTo>
                  <a:pt x="317" y="186"/>
                </a:lnTo>
                <a:lnTo>
                  <a:pt x="323" y="196"/>
                </a:lnTo>
                <a:lnTo>
                  <a:pt x="322" y="209"/>
                </a:lnTo>
                <a:lnTo>
                  <a:pt x="327" y="227"/>
                </a:lnTo>
                <a:lnTo>
                  <a:pt x="334" y="240"/>
                </a:lnTo>
                <a:lnTo>
                  <a:pt x="351" y="253"/>
                </a:lnTo>
                <a:lnTo>
                  <a:pt x="340" y="261"/>
                </a:lnTo>
                <a:lnTo>
                  <a:pt x="344" y="274"/>
                </a:lnTo>
                <a:lnTo>
                  <a:pt x="265" y="275"/>
                </a:lnTo>
                <a:lnTo>
                  <a:pt x="260" y="291"/>
                </a:lnTo>
                <a:lnTo>
                  <a:pt x="223" y="300"/>
                </a:lnTo>
                <a:lnTo>
                  <a:pt x="220" y="311"/>
                </a:lnTo>
                <a:lnTo>
                  <a:pt x="227" y="314"/>
                </a:lnTo>
                <a:lnTo>
                  <a:pt x="220" y="326"/>
                </a:lnTo>
                <a:lnTo>
                  <a:pt x="232" y="331"/>
                </a:lnTo>
                <a:lnTo>
                  <a:pt x="231" y="337"/>
                </a:lnTo>
                <a:lnTo>
                  <a:pt x="175" y="360"/>
                </a:lnTo>
                <a:lnTo>
                  <a:pt x="156" y="384"/>
                </a:lnTo>
                <a:lnTo>
                  <a:pt x="141" y="394"/>
                </a:lnTo>
                <a:lnTo>
                  <a:pt x="97" y="397"/>
                </a:lnTo>
                <a:lnTo>
                  <a:pt x="93" y="409"/>
                </a:lnTo>
                <a:lnTo>
                  <a:pt x="70" y="407"/>
                </a:lnTo>
                <a:lnTo>
                  <a:pt x="49" y="422"/>
                </a:lnTo>
                <a:lnTo>
                  <a:pt x="39" y="424"/>
                </a:lnTo>
                <a:lnTo>
                  <a:pt x="22" y="435"/>
                </a:lnTo>
                <a:lnTo>
                  <a:pt x="0" y="452"/>
                </a:lnTo>
                <a:lnTo>
                  <a:pt x="0" y="509"/>
                </a:lnTo>
                <a:lnTo>
                  <a:pt x="2" y="534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69" name="Freeform 158"/>
          <p:cNvSpPr>
            <a:spLocks noChangeAspect="1"/>
          </p:cNvSpPr>
          <p:nvPr/>
        </p:nvSpPr>
        <p:spPr bwMode="gray">
          <a:xfrm>
            <a:off x="4133850" y="3254375"/>
            <a:ext cx="366713" cy="346075"/>
          </a:xfrm>
          <a:custGeom>
            <a:avLst/>
            <a:gdLst>
              <a:gd name="T0" fmla="*/ 2147483647 w 750"/>
              <a:gd name="T1" fmla="*/ 2147483647 h 713"/>
              <a:gd name="T2" fmla="*/ 2147483647 w 750"/>
              <a:gd name="T3" fmla="*/ 2147483647 h 713"/>
              <a:gd name="T4" fmla="*/ 2147483647 w 750"/>
              <a:gd name="T5" fmla="*/ 2147483647 h 713"/>
              <a:gd name="T6" fmla="*/ 2147483647 w 750"/>
              <a:gd name="T7" fmla="*/ 2147483647 h 713"/>
              <a:gd name="T8" fmla="*/ 2147483647 w 750"/>
              <a:gd name="T9" fmla="*/ 2147483647 h 713"/>
              <a:gd name="T10" fmla="*/ 2147483647 w 750"/>
              <a:gd name="T11" fmla="*/ 2147483647 h 713"/>
              <a:gd name="T12" fmla="*/ 2147483647 w 750"/>
              <a:gd name="T13" fmla="*/ 2147483647 h 713"/>
              <a:gd name="T14" fmla="*/ 2147483647 w 750"/>
              <a:gd name="T15" fmla="*/ 0 h 713"/>
              <a:gd name="T16" fmla="*/ 2147483647 w 750"/>
              <a:gd name="T17" fmla="*/ 2147483647 h 713"/>
              <a:gd name="T18" fmla="*/ 2147483647 w 750"/>
              <a:gd name="T19" fmla="*/ 2147483647 h 713"/>
              <a:gd name="T20" fmla="*/ 2147483647 w 750"/>
              <a:gd name="T21" fmla="*/ 2147483647 h 713"/>
              <a:gd name="T22" fmla="*/ 2147483647 w 750"/>
              <a:gd name="T23" fmla="*/ 2147483647 h 713"/>
              <a:gd name="T24" fmla="*/ 2147483647 w 750"/>
              <a:gd name="T25" fmla="*/ 2147483647 h 713"/>
              <a:gd name="T26" fmla="*/ 2147483647 w 750"/>
              <a:gd name="T27" fmla="*/ 2147483647 h 713"/>
              <a:gd name="T28" fmla="*/ 2147483647 w 750"/>
              <a:gd name="T29" fmla="*/ 2147483647 h 713"/>
              <a:gd name="T30" fmla="*/ 2147483647 w 750"/>
              <a:gd name="T31" fmla="*/ 2147483647 h 713"/>
              <a:gd name="T32" fmla="*/ 2147483647 w 750"/>
              <a:gd name="T33" fmla="*/ 2147483647 h 713"/>
              <a:gd name="T34" fmla="*/ 2147483647 w 750"/>
              <a:gd name="T35" fmla="*/ 2147483647 h 713"/>
              <a:gd name="T36" fmla="*/ 2147483647 w 750"/>
              <a:gd name="T37" fmla="*/ 2147483647 h 713"/>
              <a:gd name="T38" fmla="*/ 2147483647 w 750"/>
              <a:gd name="T39" fmla="*/ 2147483647 h 713"/>
              <a:gd name="T40" fmla="*/ 2147483647 w 750"/>
              <a:gd name="T41" fmla="*/ 2147483647 h 713"/>
              <a:gd name="T42" fmla="*/ 2147483647 w 750"/>
              <a:gd name="T43" fmla="*/ 2147483647 h 713"/>
              <a:gd name="T44" fmla="*/ 2147483647 w 750"/>
              <a:gd name="T45" fmla="*/ 2147483647 h 713"/>
              <a:gd name="T46" fmla="*/ 2147483647 w 750"/>
              <a:gd name="T47" fmla="*/ 2147483647 h 713"/>
              <a:gd name="T48" fmla="*/ 2147483647 w 750"/>
              <a:gd name="T49" fmla="*/ 2147483647 h 713"/>
              <a:gd name="T50" fmla="*/ 2147483647 w 750"/>
              <a:gd name="T51" fmla="*/ 2147483647 h 713"/>
              <a:gd name="T52" fmla="*/ 2147483647 w 750"/>
              <a:gd name="T53" fmla="*/ 2147483647 h 713"/>
              <a:gd name="T54" fmla="*/ 2147483647 w 750"/>
              <a:gd name="T55" fmla="*/ 2147483647 h 713"/>
              <a:gd name="T56" fmla="*/ 2147483647 w 750"/>
              <a:gd name="T57" fmla="*/ 2147483647 h 713"/>
              <a:gd name="T58" fmla="*/ 2147483647 w 750"/>
              <a:gd name="T59" fmla="*/ 2147483647 h 713"/>
              <a:gd name="T60" fmla="*/ 2147483647 w 750"/>
              <a:gd name="T61" fmla="*/ 2147483647 h 713"/>
              <a:gd name="T62" fmla="*/ 2147483647 w 750"/>
              <a:gd name="T63" fmla="*/ 2147483647 h 713"/>
              <a:gd name="T64" fmla="*/ 2147483647 w 750"/>
              <a:gd name="T65" fmla="*/ 2147483647 h 713"/>
              <a:gd name="T66" fmla="*/ 2147483647 w 750"/>
              <a:gd name="T67" fmla="*/ 2147483647 h 713"/>
              <a:gd name="T68" fmla="*/ 2147483647 w 750"/>
              <a:gd name="T69" fmla="*/ 2147483647 h 713"/>
              <a:gd name="T70" fmla="*/ 2147483647 w 750"/>
              <a:gd name="T71" fmla="*/ 2147483647 h 713"/>
              <a:gd name="T72" fmla="*/ 2147483647 w 750"/>
              <a:gd name="T73" fmla="*/ 2147483647 h 713"/>
              <a:gd name="T74" fmla="*/ 2147483647 w 750"/>
              <a:gd name="T75" fmla="*/ 2147483647 h 713"/>
              <a:gd name="T76" fmla="*/ 2147483647 w 750"/>
              <a:gd name="T77" fmla="*/ 2147483647 h 713"/>
              <a:gd name="T78" fmla="*/ 2147483647 w 750"/>
              <a:gd name="T79" fmla="*/ 2147483647 h 713"/>
              <a:gd name="T80" fmla="*/ 2147483647 w 750"/>
              <a:gd name="T81" fmla="*/ 2147483647 h 713"/>
              <a:gd name="T82" fmla="*/ 2147483647 w 750"/>
              <a:gd name="T83" fmla="*/ 2147483647 h 713"/>
              <a:gd name="T84" fmla="*/ 2147483647 w 750"/>
              <a:gd name="T85" fmla="*/ 2147483647 h 713"/>
              <a:gd name="T86" fmla="*/ 2147483647 w 750"/>
              <a:gd name="T87" fmla="*/ 2147483647 h 713"/>
              <a:gd name="T88" fmla="*/ 2147483647 w 750"/>
              <a:gd name="T89" fmla="*/ 2147483647 h 713"/>
              <a:gd name="T90" fmla="*/ 2147483647 w 750"/>
              <a:gd name="T91" fmla="*/ 2147483647 h 713"/>
              <a:gd name="T92" fmla="*/ 2147483647 w 750"/>
              <a:gd name="T93" fmla="*/ 2147483647 h 713"/>
              <a:gd name="T94" fmla="*/ 2147483647 w 750"/>
              <a:gd name="T95" fmla="*/ 2147483647 h 713"/>
              <a:gd name="T96" fmla="*/ 2147483647 w 750"/>
              <a:gd name="T97" fmla="*/ 2147483647 h 713"/>
              <a:gd name="T98" fmla="*/ 2147483647 w 750"/>
              <a:gd name="T99" fmla="*/ 2147483647 h 713"/>
              <a:gd name="T100" fmla="*/ 2147483647 w 750"/>
              <a:gd name="T101" fmla="*/ 2147483647 h 713"/>
              <a:gd name="T102" fmla="*/ 2147483647 w 750"/>
              <a:gd name="T103" fmla="*/ 2147483647 h 713"/>
              <a:gd name="T104" fmla="*/ 2147483647 w 750"/>
              <a:gd name="T105" fmla="*/ 2147483647 h 713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750"/>
              <a:gd name="T160" fmla="*/ 0 h 713"/>
              <a:gd name="T161" fmla="*/ 750 w 750"/>
              <a:gd name="T162" fmla="*/ 713 h 713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750" h="713">
                <a:moveTo>
                  <a:pt x="95" y="459"/>
                </a:moveTo>
                <a:lnTo>
                  <a:pt x="147" y="461"/>
                </a:lnTo>
                <a:lnTo>
                  <a:pt x="200" y="464"/>
                </a:lnTo>
                <a:lnTo>
                  <a:pt x="252" y="464"/>
                </a:lnTo>
                <a:lnTo>
                  <a:pt x="305" y="465"/>
                </a:lnTo>
                <a:lnTo>
                  <a:pt x="315" y="424"/>
                </a:lnTo>
                <a:lnTo>
                  <a:pt x="297" y="419"/>
                </a:lnTo>
                <a:lnTo>
                  <a:pt x="291" y="368"/>
                </a:lnTo>
                <a:lnTo>
                  <a:pt x="286" y="316"/>
                </a:lnTo>
                <a:lnTo>
                  <a:pt x="281" y="263"/>
                </a:lnTo>
                <a:lnTo>
                  <a:pt x="276" y="213"/>
                </a:lnTo>
                <a:lnTo>
                  <a:pt x="269" y="160"/>
                </a:lnTo>
                <a:lnTo>
                  <a:pt x="264" y="106"/>
                </a:lnTo>
                <a:lnTo>
                  <a:pt x="259" y="54"/>
                </a:lnTo>
                <a:lnTo>
                  <a:pt x="254" y="0"/>
                </a:lnTo>
                <a:lnTo>
                  <a:pt x="293" y="0"/>
                </a:lnTo>
                <a:lnTo>
                  <a:pt x="336" y="0"/>
                </a:lnTo>
                <a:lnTo>
                  <a:pt x="370" y="23"/>
                </a:lnTo>
                <a:lnTo>
                  <a:pt x="405" y="46"/>
                </a:lnTo>
                <a:lnTo>
                  <a:pt x="438" y="71"/>
                </a:lnTo>
                <a:lnTo>
                  <a:pt x="472" y="94"/>
                </a:lnTo>
                <a:lnTo>
                  <a:pt x="506" y="118"/>
                </a:lnTo>
                <a:lnTo>
                  <a:pt x="540" y="142"/>
                </a:lnTo>
                <a:lnTo>
                  <a:pt x="572" y="165"/>
                </a:lnTo>
                <a:lnTo>
                  <a:pt x="608" y="187"/>
                </a:lnTo>
                <a:lnTo>
                  <a:pt x="611" y="206"/>
                </a:lnTo>
                <a:lnTo>
                  <a:pt x="631" y="215"/>
                </a:lnTo>
                <a:lnTo>
                  <a:pt x="642" y="230"/>
                </a:lnTo>
                <a:lnTo>
                  <a:pt x="662" y="233"/>
                </a:lnTo>
                <a:lnTo>
                  <a:pt x="670" y="243"/>
                </a:lnTo>
                <a:lnTo>
                  <a:pt x="704" y="253"/>
                </a:lnTo>
                <a:lnTo>
                  <a:pt x="708" y="272"/>
                </a:lnTo>
                <a:lnTo>
                  <a:pt x="703" y="289"/>
                </a:lnTo>
                <a:lnTo>
                  <a:pt x="710" y="295"/>
                </a:lnTo>
                <a:lnTo>
                  <a:pt x="749" y="287"/>
                </a:lnTo>
                <a:lnTo>
                  <a:pt x="749" y="325"/>
                </a:lnTo>
                <a:lnTo>
                  <a:pt x="749" y="363"/>
                </a:lnTo>
                <a:lnTo>
                  <a:pt x="749" y="401"/>
                </a:lnTo>
                <a:lnTo>
                  <a:pt x="750" y="438"/>
                </a:lnTo>
                <a:lnTo>
                  <a:pt x="736" y="442"/>
                </a:lnTo>
                <a:lnTo>
                  <a:pt x="716" y="470"/>
                </a:lnTo>
                <a:lnTo>
                  <a:pt x="669" y="470"/>
                </a:lnTo>
                <a:lnTo>
                  <a:pt x="619" y="470"/>
                </a:lnTo>
                <a:lnTo>
                  <a:pt x="596" y="487"/>
                </a:lnTo>
                <a:lnTo>
                  <a:pt x="566" y="487"/>
                </a:lnTo>
                <a:lnTo>
                  <a:pt x="523" y="493"/>
                </a:lnTo>
                <a:lnTo>
                  <a:pt x="445" y="553"/>
                </a:lnTo>
                <a:lnTo>
                  <a:pt x="381" y="574"/>
                </a:lnTo>
                <a:lnTo>
                  <a:pt x="364" y="616"/>
                </a:lnTo>
                <a:lnTo>
                  <a:pt x="328" y="653"/>
                </a:lnTo>
                <a:lnTo>
                  <a:pt x="320" y="675"/>
                </a:lnTo>
                <a:lnTo>
                  <a:pt x="320" y="705"/>
                </a:lnTo>
                <a:lnTo>
                  <a:pt x="311" y="707"/>
                </a:lnTo>
                <a:lnTo>
                  <a:pt x="303" y="700"/>
                </a:lnTo>
                <a:lnTo>
                  <a:pt x="294" y="700"/>
                </a:lnTo>
                <a:lnTo>
                  <a:pt x="283" y="708"/>
                </a:lnTo>
                <a:lnTo>
                  <a:pt x="276" y="708"/>
                </a:lnTo>
                <a:lnTo>
                  <a:pt x="272" y="687"/>
                </a:lnTo>
                <a:lnTo>
                  <a:pt x="266" y="688"/>
                </a:lnTo>
                <a:lnTo>
                  <a:pt x="263" y="693"/>
                </a:lnTo>
                <a:lnTo>
                  <a:pt x="254" y="690"/>
                </a:lnTo>
                <a:lnTo>
                  <a:pt x="252" y="704"/>
                </a:lnTo>
                <a:lnTo>
                  <a:pt x="237" y="707"/>
                </a:lnTo>
                <a:lnTo>
                  <a:pt x="235" y="713"/>
                </a:lnTo>
                <a:lnTo>
                  <a:pt x="226" y="707"/>
                </a:lnTo>
                <a:lnTo>
                  <a:pt x="220" y="708"/>
                </a:lnTo>
                <a:lnTo>
                  <a:pt x="213" y="699"/>
                </a:lnTo>
                <a:lnTo>
                  <a:pt x="193" y="712"/>
                </a:lnTo>
                <a:lnTo>
                  <a:pt x="178" y="695"/>
                </a:lnTo>
                <a:lnTo>
                  <a:pt x="176" y="671"/>
                </a:lnTo>
                <a:lnTo>
                  <a:pt x="167" y="671"/>
                </a:lnTo>
                <a:lnTo>
                  <a:pt x="161" y="676"/>
                </a:lnTo>
                <a:lnTo>
                  <a:pt x="161" y="671"/>
                </a:lnTo>
                <a:lnTo>
                  <a:pt x="175" y="662"/>
                </a:lnTo>
                <a:lnTo>
                  <a:pt x="175" y="656"/>
                </a:lnTo>
                <a:lnTo>
                  <a:pt x="163" y="650"/>
                </a:lnTo>
                <a:lnTo>
                  <a:pt x="159" y="643"/>
                </a:lnTo>
                <a:lnTo>
                  <a:pt x="155" y="643"/>
                </a:lnTo>
                <a:lnTo>
                  <a:pt x="155" y="629"/>
                </a:lnTo>
                <a:lnTo>
                  <a:pt x="150" y="619"/>
                </a:lnTo>
                <a:lnTo>
                  <a:pt x="146" y="617"/>
                </a:lnTo>
                <a:lnTo>
                  <a:pt x="144" y="603"/>
                </a:lnTo>
                <a:lnTo>
                  <a:pt x="129" y="603"/>
                </a:lnTo>
                <a:lnTo>
                  <a:pt x="129" y="612"/>
                </a:lnTo>
                <a:lnTo>
                  <a:pt x="115" y="617"/>
                </a:lnTo>
                <a:lnTo>
                  <a:pt x="113" y="626"/>
                </a:lnTo>
                <a:lnTo>
                  <a:pt x="87" y="616"/>
                </a:lnTo>
                <a:lnTo>
                  <a:pt x="71" y="631"/>
                </a:lnTo>
                <a:lnTo>
                  <a:pt x="57" y="617"/>
                </a:lnTo>
                <a:lnTo>
                  <a:pt x="44" y="626"/>
                </a:lnTo>
                <a:lnTo>
                  <a:pt x="37" y="625"/>
                </a:lnTo>
                <a:lnTo>
                  <a:pt x="32" y="620"/>
                </a:lnTo>
                <a:lnTo>
                  <a:pt x="39" y="608"/>
                </a:lnTo>
                <a:lnTo>
                  <a:pt x="39" y="580"/>
                </a:lnTo>
                <a:lnTo>
                  <a:pt x="27" y="561"/>
                </a:lnTo>
                <a:lnTo>
                  <a:pt x="17" y="563"/>
                </a:lnTo>
                <a:lnTo>
                  <a:pt x="8" y="548"/>
                </a:lnTo>
                <a:lnTo>
                  <a:pt x="12" y="536"/>
                </a:lnTo>
                <a:lnTo>
                  <a:pt x="8" y="521"/>
                </a:lnTo>
                <a:lnTo>
                  <a:pt x="2" y="514"/>
                </a:lnTo>
                <a:lnTo>
                  <a:pt x="0" y="497"/>
                </a:lnTo>
                <a:lnTo>
                  <a:pt x="20" y="478"/>
                </a:lnTo>
                <a:lnTo>
                  <a:pt x="36" y="445"/>
                </a:lnTo>
                <a:lnTo>
                  <a:pt x="48" y="450"/>
                </a:lnTo>
                <a:lnTo>
                  <a:pt x="57" y="476"/>
                </a:lnTo>
                <a:lnTo>
                  <a:pt x="71" y="478"/>
                </a:lnTo>
                <a:lnTo>
                  <a:pt x="95" y="459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70" name="Freeform 159"/>
          <p:cNvSpPr>
            <a:spLocks noChangeAspect="1"/>
          </p:cNvSpPr>
          <p:nvPr/>
        </p:nvSpPr>
        <p:spPr bwMode="gray">
          <a:xfrm>
            <a:off x="4291013" y="3490913"/>
            <a:ext cx="168275" cy="123825"/>
          </a:xfrm>
          <a:custGeom>
            <a:avLst/>
            <a:gdLst>
              <a:gd name="T0" fmla="*/ 2147483647 w 347"/>
              <a:gd name="T1" fmla="*/ 2147483647 h 257"/>
              <a:gd name="T2" fmla="*/ 2147483647 w 347"/>
              <a:gd name="T3" fmla="*/ 2147483647 h 257"/>
              <a:gd name="T4" fmla="*/ 2147483647 w 347"/>
              <a:gd name="T5" fmla="*/ 2147483647 h 257"/>
              <a:gd name="T6" fmla="*/ 2147483647 w 347"/>
              <a:gd name="T7" fmla="*/ 2147483647 h 257"/>
              <a:gd name="T8" fmla="*/ 2147483647 w 347"/>
              <a:gd name="T9" fmla="*/ 2147483647 h 257"/>
              <a:gd name="T10" fmla="*/ 2147483647 w 347"/>
              <a:gd name="T11" fmla="*/ 2147483647 h 257"/>
              <a:gd name="T12" fmla="*/ 2147483647 w 347"/>
              <a:gd name="T13" fmla="*/ 2147483647 h 257"/>
              <a:gd name="T14" fmla="*/ 2147483647 w 347"/>
              <a:gd name="T15" fmla="*/ 2147483647 h 257"/>
              <a:gd name="T16" fmla="*/ 2147483647 w 347"/>
              <a:gd name="T17" fmla="*/ 2147483647 h 257"/>
              <a:gd name="T18" fmla="*/ 2147483647 w 347"/>
              <a:gd name="T19" fmla="*/ 2147483647 h 257"/>
              <a:gd name="T20" fmla="*/ 2147483647 w 347"/>
              <a:gd name="T21" fmla="*/ 2147483647 h 257"/>
              <a:gd name="T22" fmla="*/ 2147483647 w 347"/>
              <a:gd name="T23" fmla="*/ 2147483647 h 257"/>
              <a:gd name="T24" fmla="*/ 2147483647 w 347"/>
              <a:gd name="T25" fmla="*/ 2147483647 h 257"/>
              <a:gd name="T26" fmla="*/ 2147483647 w 347"/>
              <a:gd name="T27" fmla="*/ 2147483647 h 257"/>
              <a:gd name="T28" fmla="*/ 2147483647 w 347"/>
              <a:gd name="T29" fmla="*/ 2147483647 h 257"/>
              <a:gd name="T30" fmla="*/ 2147483647 w 347"/>
              <a:gd name="T31" fmla="*/ 2147483647 h 257"/>
              <a:gd name="T32" fmla="*/ 2147483647 w 347"/>
              <a:gd name="T33" fmla="*/ 2147483647 h 257"/>
              <a:gd name="T34" fmla="*/ 2147483647 w 347"/>
              <a:gd name="T35" fmla="*/ 2147483647 h 257"/>
              <a:gd name="T36" fmla="*/ 2147483647 w 347"/>
              <a:gd name="T37" fmla="*/ 2147483647 h 257"/>
              <a:gd name="T38" fmla="*/ 2147483647 w 347"/>
              <a:gd name="T39" fmla="*/ 2147483647 h 257"/>
              <a:gd name="T40" fmla="*/ 2147483647 w 347"/>
              <a:gd name="T41" fmla="*/ 2147483647 h 257"/>
              <a:gd name="T42" fmla="*/ 2147483647 w 347"/>
              <a:gd name="T43" fmla="*/ 2147483647 h 257"/>
              <a:gd name="T44" fmla="*/ 2147483647 w 347"/>
              <a:gd name="T45" fmla="*/ 2147483647 h 257"/>
              <a:gd name="T46" fmla="*/ 2147483647 w 347"/>
              <a:gd name="T47" fmla="*/ 0 h 257"/>
              <a:gd name="T48" fmla="*/ 2147483647 w 347"/>
              <a:gd name="T49" fmla="*/ 2147483647 h 257"/>
              <a:gd name="T50" fmla="*/ 2147483647 w 347"/>
              <a:gd name="T51" fmla="*/ 2147483647 h 257"/>
              <a:gd name="T52" fmla="*/ 2147483647 w 347"/>
              <a:gd name="T53" fmla="*/ 2147483647 h 257"/>
              <a:gd name="T54" fmla="*/ 2147483647 w 347"/>
              <a:gd name="T55" fmla="*/ 2147483647 h 257"/>
              <a:gd name="T56" fmla="*/ 2147483647 w 347"/>
              <a:gd name="T57" fmla="*/ 2147483647 h 257"/>
              <a:gd name="T58" fmla="*/ 0 w 347"/>
              <a:gd name="T59" fmla="*/ 2147483647 h 257"/>
              <a:gd name="T60" fmla="*/ 0 w 347"/>
              <a:gd name="T61" fmla="*/ 2147483647 h 257"/>
              <a:gd name="T62" fmla="*/ 2147483647 w 347"/>
              <a:gd name="T63" fmla="*/ 2147483647 h 257"/>
              <a:gd name="T64" fmla="*/ 2147483647 w 347"/>
              <a:gd name="T65" fmla="*/ 2147483647 h 257"/>
              <a:gd name="T66" fmla="*/ 2147483647 w 347"/>
              <a:gd name="T67" fmla="*/ 2147483647 h 257"/>
              <a:gd name="T68" fmla="*/ 2147483647 w 347"/>
              <a:gd name="T69" fmla="*/ 2147483647 h 257"/>
              <a:gd name="T70" fmla="*/ 2147483647 w 347"/>
              <a:gd name="T71" fmla="*/ 2147483647 h 257"/>
              <a:gd name="T72" fmla="*/ 2147483647 w 347"/>
              <a:gd name="T73" fmla="*/ 2147483647 h 257"/>
              <a:gd name="T74" fmla="*/ 2147483647 w 347"/>
              <a:gd name="T75" fmla="*/ 2147483647 h 257"/>
              <a:gd name="T76" fmla="*/ 2147483647 w 347"/>
              <a:gd name="T77" fmla="*/ 2147483647 h 257"/>
              <a:gd name="T78" fmla="*/ 2147483647 w 347"/>
              <a:gd name="T79" fmla="*/ 2147483647 h 257"/>
              <a:gd name="T80" fmla="*/ 2147483647 w 347"/>
              <a:gd name="T81" fmla="*/ 2147483647 h 257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347"/>
              <a:gd name="T124" fmla="*/ 0 h 257"/>
              <a:gd name="T125" fmla="*/ 347 w 347"/>
              <a:gd name="T126" fmla="*/ 257 h 257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347" h="257">
                <a:moveTo>
                  <a:pt x="118" y="257"/>
                </a:moveTo>
                <a:lnTo>
                  <a:pt x="113" y="218"/>
                </a:lnTo>
                <a:lnTo>
                  <a:pt x="107" y="201"/>
                </a:lnTo>
                <a:lnTo>
                  <a:pt x="110" y="188"/>
                </a:lnTo>
                <a:lnTo>
                  <a:pt x="203" y="192"/>
                </a:lnTo>
                <a:lnTo>
                  <a:pt x="235" y="189"/>
                </a:lnTo>
                <a:lnTo>
                  <a:pt x="249" y="189"/>
                </a:lnTo>
                <a:lnTo>
                  <a:pt x="260" y="192"/>
                </a:lnTo>
                <a:lnTo>
                  <a:pt x="279" y="188"/>
                </a:lnTo>
                <a:lnTo>
                  <a:pt x="303" y="164"/>
                </a:lnTo>
                <a:lnTo>
                  <a:pt x="332" y="166"/>
                </a:lnTo>
                <a:lnTo>
                  <a:pt x="347" y="144"/>
                </a:lnTo>
                <a:lnTo>
                  <a:pt x="333" y="129"/>
                </a:lnTo>
                <a:lnTo>
                  <a:pt x="333" y="124"/>
                </a:lnTo>
                <a:lnTo>
                  <a:pt x="342" y="121"/>
                </a:lnTo>
                <a:lnTo>
                  <a:pt x="336" y="110"/>
                </a:lnTo>
                <a:lnTo>
                  <a:pt x="327" y="107"/>
                </a:lnTo>
                <a:lnTo>
                  <a:pt x="315" y="113"/>
                </a:lnTo>
                <a:lnTo>
                  <a:pt x="302" y="107"/>
                </a:lnTo>
                <a:lnTo>
                  <a:pt x="277" y="71"/>
                </a:lnTo>
                <a:lnTo>
                  <a:pt x="254" y="48"/>
                </a:lnTo>
                <a:lnTo>
                  <a:pt x="251" y="31"/>
                </a:lnTo>
                <a:lnTo>
                  <a:pt x="240" y="22"/>
                </a:lnTo>
                <a:lnTo>
                  <a:pt x="246" y="0"/>
                </a:lnTo>
                <a:lnTo>
                  <a:pt x="203" y="6"/>
                </a:lnTo>
                <a:lnTo>
                  <a:pt x="125" y="66"/>
                </a:lnTo>
                <a:lnTo>
                  <a:pt x="61" y="87"/>
                </a:lnTo>
                <a:lnTo>
                  <a:pt x="44" y="129"/>
                </a:lnTo>
                <a:lnTo>
                  <a:pt x="8" y="166"/>
                </a:lnTo>
                <a:lnTo>
                  <a:pt x="0" y="188"/>
                </a:lnTo>
                <a:lnTo>
                  <a:pt x="0" y="218"/>
                </a:lnTo>
                <a:lnTo>
                  <a:pt x="11" y="238"/>
                </a:lnTo>
                <a:lnTo>
                  <a:pt x="25" y="247"/>
                </a:lnTo>
                <a:lnTo>
                  <a:pt x="31" y="246"/>
                </a:lnTo>
                <a:lnTo>
                  <a:pt x="39" y="251"/>
                </a:lnTo>
                <a:lnTo>
                  <a:pt x="44" y="243"/>
                </a:lnTo>
                <a:lnTo>
                  <a:pt x="73" y="235"/>
                </a:lnTo>
                <a:lnTo>
                  <a:pt x="90" y="238"/>
                </a:lnTo>
                <a:lnTo>
                  <a:pt x="95" y="235"/>
                </a:lnTo>
                <a:lnTo>
                  <a:pt x="109" y="257"/>
                </a:lnTo>
                <a:lnTo>
                  <a:pt x="118" y="257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71" name="Freeform 160"/>
          <p:cNvSpPr>
            <a:spLocks noChangeAspect="1"/>
          </p:cNvSpPr>
          <p:nvPr/>
        </p:nvSpPr>
        <p:spPr bwMode="gray">
          <a:xfrm>
            <a:off x="4897438" y="3300413"/>
            <a:ext cx="373062" cy="447675"/>
          </a:xfrm>
          <a:custGeom>
            <a:avLst/>
            <a:gdLst>
              <a:gd name="T0" fmla="*/ 2147483647 w 764"/>
              <a:gd name="T1" fmla="*/ 2147483647 h 920"/>
              <a:gd name="T2" fmla="*/ 2147483647 w 764"/>
              <a:gd name="T3" fmla="*/ 2147483647 h 920"/>
              <a:gd name="T4" fmla="*/ 2147483647 w 764"/>
              <a:gd name="T5" fmla="*/ 2147483647 h 920"/>
              <a:gd name="T6" fmla="*/ 2147483647 w 764"/>
              <a:gd name="T7" fmla="*/ 2147483647 h 920"/>
              <a:gd name="T8" fmla="*/ 2147483647 w 764"/>
              <a:gd name="T9" fmla="*/ 2147483647 h 920"/>
              <a:gd name="T10" fmla="*/ 0 w 764"/>
              <a:gd name="T11" fmla="*/ 2147483647 h 920"/>
              <a:gd name="T12" fmla="*/ 2147483647 w 764"/>
              <a:gd name="T13" fmla="*/ 2147483647 h 920"/>
              <a:gd name="T14" fmla="*/ 2147483647 w 764"/>
              <a:gd name="T15" fmla="*/ 2147483647 h 920"/>
              <a:gd name="T16" fmla="*/ 2147483647 w 764"/>
              <a:gd name="T17" fmla="*/ 2147483647 h 920"/>
              <a:gd name="T18" fmla="*/ 2147483647 w 764"/>
              <a:gd name="T19" fmla="*/ 2147483647 h 920"/>
              <a:gd name="T20" fmla="*/ 2147483647 w 764"/>
              <a:gd name="T21" fmla="*/ 2147483647 h 920"/>
              <a:gd name="T22" fmla="*/ 2147483647 w 764"/>
              <a:gd name="T23" fmla="*/ 2147483647 h 920"/>
              <a:gd name="T24" fmla="*/ 2147483647 w 764"/>
              <a:gd name="T25" fmla="*/ 2147483647 h 920"/>
              <a:gd name="T26" fmla="*/ 2147483647 w 764"/>
              <a:gd name="T27" fmla="*/ 2147483647 h 920"/>
              <a:gd name="T28" fmla="*/ 2147483647 w 764"/>
              <a:gd name="T29" fmla="*/ 2147483647 h 920"/>
              <a:gd name="T30" fmla="*/ 2147483647 w 764"/>
              <a:gd name="T31" fmla="*/ 2147483647 h 920"/>
              <a:gd name="T32" fmla="*/ 2147483647 w 764"/>
              <a:gd name="T33" fmla="*/ 2147483647 h 920"/>
              <a:gd name="T34" fmla="*/ 2147483647 w 764"/>
              <a:gd name="T35" fmla="*/ 2147483647 h 920"/>
              <a:gd name="T36" fmla="*/ 2147483647 w 764"/>
              <a:gd name="T37" fmla="*/ 2147483647 h 920"/>
              <a:gd name="T38" fmla="*/ 2147483647 w 764"/>
              <a:gd name="T39" fmla="*/ 2147483647 h 920"/>
              <a:gd name="T40" fmla="*/ 2147483647 w 764"/>
              <a:gd name="T41" fmla="*/ 2147483647 h 920"/>
              <a:gd name="T42" fmla="*/ 2147483647 w 764"/>
              <a:gd name="T43" fmla="*/ 2147483647 h 920"/>
              <a:gd name="T44" fmla="*/ 2147483647 w 764"/>
              <a:gd name="T45" fmla="*/ 2147483647 h 920"/>
              <a:gd name="T46" fmla="*/ 2147483647 w 764"/>
              <a:gd name="T47" fmla="*/ 2147483647 h 920"/>
              <a:gd name="T48" fmla="*/ 2147483647 w 764"/>
              <a:gd name="T49" fmla="*/ 2147483647 h 920"/>
              <a:gd name="T50" fmla="*/ 2147483647 w 764"/>
              <a:gd name="T51" fmla="*/ 2147483647 h 920"/>
              <a:gd name="T52" fmla="*/ 2147483647 w 764"/>
              <a:gd name="T53" fmla="*/ 2147483647 h 920"/>
              <a:gd name="T54" fmla="*/ 2147483647 w 764"/>
              <a:gd name="T55" fmla="*/ 2147483647 h 920"/>
              <a:gd name="T56" fmla="*/ 2147483647 w 764"/>
              <a:gd name="T57" fmla="*/ 2147483647 h 920"/>
              <a:gd name="T58" fmla="*/ 2147483647 w 764"/>
              <a:gd name="T59" fmla="*/ 2147483647 h 920"/>
              <a:gd name="T60" fmla="*/ 2147483647 w 764"/>
              <a:gd name="T61" fmla="*/ 2147483647 h 920"/>
              <a:gd name="T62" fmla="*/ 2147483647 w 764"/>
              <a:gd name="T63" fmla="*/ 2147483647 h 920"/>
              <a:gd name="T64" fmla="*/ 2147483647 w 764"/>
              <a:gd name="T65" fmla="*/ 2147483647 h 920"/>
              <a:gd name="T66" fmla="*/ 2147483647 w 764"/>
              <a:gd name="T67" fmla="*/ 2147483647 h 920"/>
              <a:gd name="T68" fmla="*/ 2147483647 w 764"/>
              <a:gd name="T69" fmla="*/ 2147483647 h 920"/>
              <a:gd name="T70" fmla="*/ 2147483647 w 764"/>
              <a:gd name="T71" fmla="*/ 2147483647 h 920"/>
              <a:gd name="T72" fmla="*/ 2147483647 w 764"/>
              <a:gd name="T73" fmla="*/ 2147483647 h 920"/>
              <a:gd name="T74" fmla="*/ 2147483647 w 764"/>
              <a:gd name="T75" fmla="*/ 2147483647 h 920"/>
              <a:gd name="T76" fmla="*/ 2147483647 w 764"/>
              <a:gd name="T77" fmla="*/ 2147483647 h 920"/>
              <a:gd name="T78" fmla="*/ 2147483647 w 764"/>
              <a:gd name="T79" fmla="*/ 2147483647 h 920"/>
              <a:gd name="T80" fmla="*/ 2147483647 w 764"/>
              <a:gd name="T81" fmla="*/ 2147483647 h 920"/>
              <a:gd name="T82" fmla="*/ 2147483647 w 764"/>
              <a:gd name="T83" fmla="*/ 2147483647 h 920"/>
              <a:gd name="T84" fmla="*/ 2147483647 w 764"/>
              <a:gd name="T85" fmla="*/ 2147483647 h 920"/>
              <a:gd name="T86" fmla="*/ 2147483647 w 764"/>
              <a:gd name="T87" fmla="*/ 2147483647 h 920"/>
              <a:gd name="T88" fmla="*/ 2147483647 w 764"/>
              <a:gd name="T89" fmla="*/ 2147483647 h 920"/>
              <a:gd name="T90" fmla="*/ 2147483647 w 764"/>
              <a:gd name="T91" fmla="*/ 2147483647 h 920"/>
              <a:gd name="T92" fmla="*/ 2147483647 w 764"/>
              <a:gd name="T93" fmla="*/ 2147483647 h 920"/>
              <a:gd name="T94" fmla="*/ 2147483647 w 764"/>
              <a:gd name="T95" fmla="*/ 2147483647 h 920"/>
              <a:gd name="T96" fmla="*/ 2147483647 w 764"/>
              <a:gd name="T97" fmla="*/ 2147483647 h 920"/>
              <a:gd name="T98" fmla="*/ 2147483647 w 764"/>
              <a:gd name="T99" fmla="*/ 2147483647 h 920"/>
              <a:gd name="T100" fmla="*/ 2147483647 w 764"/>
              <a:gd name="T101" fmla="*/ 2147483647 h 920"/>
              <a:gd name="T102" fmla="*/ 2147483647 w 764"/>
              <a:gd name="T103" fmla="*/ 2147483647 h 920"/>
              <a:gd name="T104" fmla="*/ 2147483647 w 764"/>
              <a:gd name="T105" fmla="*/ 2147483647 h 92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764"/>
              <a:gd name="T160" fmla="*/ 0 h 920"/>
              <a:gd name="T161" fmla="*/ 764 w 764"/>
              <a:gd name="T162" fmla="*/ 920 h 920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764" h="920">
                <a:moveTo>
                  <a:pt x="98" y="176"/>
                </a:moveTo>
                <a:lnTo>
                  <a:pt x="98" y="221"/>
                </a:lnTo>
                <a:lnTo>
                  <a:pt x="98" y="266"/>
                </a:lnTo>
                <a:lnTo>
                  <a:pt x="98" y="309"/>
                </a:lnTo>
                <a:lnTo>
                  <a:pt x="98" y="355"/>
                </a:lnTo>
                <a:lnTo>
                  <a:pt x="49" y="360"/>
                </a:lnTo>
                <a:lnTo>
                  <a:pt x="42" y="385"/>
                </a:lnTo>
                <a:lnTo>
                  <a:pt x="19" y="414"/>
                </a:lnTo>
                <a:lnTo>
                  <a:pt x="19" y="436"/>
                </a:lnTo>
                <a:lnTo>
                  <a:pt x="10" y="445"/>
                </a:lnTo>
                <a:lnTo>
                  <a:pt x="8" y="465"/>
                </a:lnTo>
                <a:lnTo>
                  <a:pt x="0" y="486"/>
                </a:lnTo>
                <a:lnTo>
                  <a:pt x="0" y="499"/>
                </a:lnTo>
                <a:lnTo>
                  <a:pt x="21" y="496"/>
                </a:lnTo>
                <a:lnTo>
                  <a:pt x="24" y="521"/>
                </a:lnTo>
                <a:lnTo>
                  <a:pt x="46" y="567"/>
                </a:lnTo>
                <a:lnTo>
                  <a:pt x="46" y="574"/>
                </a:lnTo>
                <a:lnTo>
                  <a:pt x="38" y="577"/>
                </a:lnTo>
                <a:lnTo>
                  <a:pt x="75" y="623"/>
                </a:lnTo>
                <a:lnTo>
                  <a:pt x="78" y="637"/>
                </a:lnTo>
                <a:lnTo>
                  <a:pt x="75" y="677"/>
                </a:lnTo>
                <a:lnTo>
                  <a:pt x="83" y="684"/>
                </a:lnTo>
                <a:lnTo>
                  <a:pt x="103" y="688"/>
                </a:lnTo>
                <a:lnTo>
                  <a:pt x="109" y="701"/>
                </a:lnTo>
                <a:lnTo>
                  <a:pt x="135" y="705"/>
                </a:lnTo>
                <a:lnTo>
                  <a:pt x="151" y="716"/>
                </a:lnTo>
                <a:lnTo>
                  <a:pt x="156" y="738"/>
                </a:lnTo>
                <a:lnTo>
                  <a:pt x="202" y="772"/>
                </a:lnTo>
                <a:lnTo>
                  <a:pt x="217" y="806"/>
                </a:lnTo>
                <a:lnTo>
                  <a:pt x="251" y="826"/>
                </a:lnTo>
                <a:lnTo>
                  <a:pt x="261" y="848"/>
                </a:lnTo>
                <a:lnTo>
                  <a:pt x="287" y="880"/>
                </a:lnTo>
                <a:lnTo>
                  <a:pt x="305" y="888"/>
                </a:lnTo>
                <a:lnTo>
                  <a:pt x="316" y="879"/>
                </a:lnTo>
                <a:lnTo>
                  <a:pt x="347" y="882"/>
                </a:lnTo>
                <a:lnTo>
                  <a:pt x="359" y="874"/>
                </a:lnTo>
                <a:lnTo>
                  <a:pt x="414" y="920"/>
                </a:lnTo>
                <a:lnTo>
                  <a:pt x="418" y="919"/>
                </a:lnTo>
                <a:lnTo>
                  <a:pt x="423" y="916"/>
                </a:lnTo>
                <a:lnTo>
                  <a:pt x="465" y="914"/>
                </a:lnTo>
                <a:lnTo>
                  <a:pt x="469" y="920"/>
                </a:lnTo>
                <a:lnTo>
                  <a:pt x="505" y="912"/>
                </a:lnTo>
                <a:lnTo>
                  <a:pt x="536" y="912"/>
                </a:lnTo>
                <a:lnTo>
                  <a:pt x="557" y="899"/>
                </a:lnTo>
                <a:lnTo>
                  <a:pt x="581" y="877"/>
                </a:lnTo>
                <a:lnTo>
                  <a:pt x="644" y="875"/>
                </a:lnTo>
                <a:lnTo>
                  <a:pt x="646" y="843"/>
                </a:lnTo>
                <a:lnTo>
                  <a:pt x="612" y="829"/>
                </a:lnTo>
                <a:lnTo>
                  <a:pt x="591" y="781"/>
                </a:lnTo>
                <a:lnTo>
                  <a:pt x="565" y="764"/>
                </a:lnTo>
                <a:lnTo>
                  <a:pt x="553" y="739"/>
                </a:lnTo>
                <a:lnTo>
                  <a:pt x="513" y="724"/>
                </a:lnTo>
                <a:lnTo>
                  <a:pt x="522" y="714"/>
                </a:lnTo>
                <a:lnTo>
                  <a:pt x="522" y="701"/>
                </a:lnTo>
                <a:lnTo>
                  <a:pt x="548" y="699"/>
                </a:lnTo>
                <a:lnTo>
                  <a:pt x="564" y="691"/>
                </a:lnTo>
                <a:lnTo>
                  <a:pt x="570" y="603"/>
                </a:lnTo>
                <a:lnTo>
                  <a:pt x="573" y="604"/>
                </a:lnTo>
                <a:lnTo>
                  <a:pt x="581" y="589"/>
                </a:lnTo>
                <a:lnTo>
                  <a:pt x="599" y="580"/>
                </a:lnTo>
                <a:lnTo>
                  <a:pt x="608" y="547"/>
                </a:lnTo>
                <a:lnTo>
                  <a:pt x="638" y="504"/>
                </a:lnTo>
                <a:lnTo>
                  <a:pt x="658" y="489"/>
                </a:lnTo>
                <a:lnTo>
                  <a:pt x="674" y="440"/>
                </a:lnTo>
                <a:lnTo>
                  <a:pt x="674" y="427"/>
                </a:lnTo>
                <a:lnTo>
                  <a:pt x="671" y="396"/>
                </a:lnTo>
                <a:lnTo>
                  <a:pt x="698" y="292"/>
                </a:lnTo>
                <a:lnTo>
                  <a:pt x="709" y="291"/>
                </a:lnTo>
                <a:lnTo>
                  <a:pt x="720" y="281"/>
                </a:lnTo>
                <a:lnTo>
                  <a:pt x="756" y="266"/>
                </a:lnTo>
                <a:lnTo>
                  <a:pt x="764" y="244"/>
                </a:lnTo>
                <a:lnTo>
                  <a:pt x="760" y="237"/>
                </a:lnTo>
                <a:lnTo>
                  <a:pt x="751" y="235"/>
                </a:lnTo>
                <a:lnTo>
                  <a:pt x="740" y="221"/>
                </a:lnTo>
                <a:lnTo>
                  <a:pt x="723" y="215"/>
                </a:lnTo>
                <a:lnTo>
                  <a:pt x="714" y="203"/>
                </a:lnTo>
                <a:lnTo>
                  <a:pt x="705" y="159"/>
                </a:lnTo>
                <a:lnTo>
                  <a:pt x="706" y="98"/>
                </a:lnTo>
                <a:lnTo>
                  <a:pt x="691" y="77"/>
                </a:lnTo>
                <a:lnTo>
                  <a:pt x="689" y="54"/>
                </a:lnTo>
                <a:lnTo>
                  <a:pt x="663" y="26"/>
                </a:lnTo>
                <a:lnTo>
                  <a:pt x="640" y="15"/>
                </a:lnTo>
                <a:lnTo>
                  <a:pt x="630" y="0"/>
                </a:lnTo>
                <a:lnTo>
                  <a:pt x="612" y="15"/>
                </a:lnTo>
                <a:lnTo>
                  <a:pt x="601" y="12"/>
                </a:lnTo>
                <a:lnTo>
                  <a:pt x="590" y="37"/>
                </a:lnTo>
                <a:lnTo>
                  <a:pt x="564" y="44"/>
                </a:lnTo>
                <a:lnTo>
                  <a:pt x="559" y="64"/>
                </a:lnTo>
                <a:lnTo>
                  <a:pt x="537" y="66"/>
                </a:lnTo>
                <a:lnTo>
                  <a:pt x="520" y="54"/>
                </a:lnTo>
                <a:lnTo>
                  <a:pt x="479" y="54"/>
                </a:lnTo>
                <a:lnTo>
                  <a:pt x="439" y="54"/>
                </a:lnTo>
                <a:lnTo>
                  <a:pt x="442" y="44"/>
                </a:lnTo>
                <a:lnTo>
                  <a:pt x="437" y="44"/>
                </a:lnTo>
                <a:lnTo>
                  <a:pt x="431" y="54"/>
                </a:lnTo>
                <a:lnTo>
                  <a:pt x="395" y="54"/>
                </a:lnTo>
                <a:lnTo>
                  <a:pt x="359" y="54"/>
                </a:lnTo>
                <a:lnTo>
                  <a:pt x="324" y="54"/>
                </a:lnTo>
                <a:lnTo>
                  <a:pt x="288" y="54"/>
                </a:lnTo>
                <a:lnTo>
                  <a:pt x="251" y="54"/>
                </a:lnTo>
                <a:lnTo>
                  <a:pt x="216" y="54"/>
                </a:lnTo>
                <a:lnTo>
                  <a:pt x="180" y="54"/>
                </a:lnTo>
                <a:lnTo>
                  <a:pt x="144" y="54"/>
                </a:lnTo>
                <a:lnTo>
                  <a:pt x="144" y="100"/>
                </a:lnTo>
                <a:lnTo>
                  <a:pt x="144" y="147"/>
                </a:lnTo>
                <a:lnTo>
                  <a:pt x="98" y="147"/>
                </a:lnTo>
                <a:lnTo>
                  <a:pt x="98" y="176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72" name="Freeform 161"/>
          <p:cNvSpPr>
            <a:spLocks noChangeAspect="1"/>
          </p:cNvSpPr>
          <p:nvPr/>
        </p:nvSpPr>
        <p:spPr bwMode="gray">
          <a:xfrm>
            <a:off x="4681538" y="3711575"/>
            <a:ext cx="428625" cy="417513"/>
          </a:xfrm>
          <a:custGeom>
            <a:avLst/>
            <a:gdLst>
              <a:gd name="T0" fmla="*/ 2147483647 w 878"/>
              <a:gd name="T1" fmla="*/ 2147483647 h 855"/>
              <a:gd name="T2" fmla="*/ 2147483647 w 878"/>
              <a:gd name="T3" fmla="*/ 2147483647 h 855"/>
              <a:gd name="T4" fmla="*/ 2147483647 w 878"/>
              <a:gd name="T5" fmla="*/ 2147483647 h 855"/>
              <a:gd name="T6" fmla="*/ 2147483647 w 878"/>
              <a:gd name="T7" fmla="*/ 2147483647 h 855"/>
              <a:gd name="T8" fmla="*/ 2147483647 w 878"/>
              <a:gd name="T9" fmla="*/ 2147483647 h 855"/>
              <a:gd name="T10" fmla="*/ 2147483647 w 878"/>
              <a:gd name="T11" fmla="*/ 2147483647 h 855"/>
              <a:gd name="T12" fmla="*/ 2147483647 w 878"/>
              <a:gd name="T13" fmla="*/ 2147483647 h 855"/>
              <a:gd name="T14" fmla="*/ 2147483647 w 878"/>
              <a:gd name="T15" fmla="*/ 2147483647 h 855"/>
              <a:gd name="T16" fmla="*/ 2147483647 w 878"/>
              <a:gd name="T17" fmla="*/ 0 h 855"/>
              <a:gd name="T18" fmla="*/ 2147483647 w 878"/>
              <a:gd name="T19" fmla="*/ 2147483647 h 855"/>
              <a:gd name="T20" fmla="*/ 2147483647 w 878"/>
              <a:gd name="T21" fmla="*/ 2147483647 h 855"/>
              <a:gd name="T22" fmla="*/ 2147483647 w 878"/>
              <a:gd name="T23" fmla="*/ 2147483647 h 855"/>
              <a:gd name="T24" fmla="*/ 2147483647 w 878"/>
              <a:gd name="T25" fmla="*/ 2147483647 h 855"/>
              <a:gd name="T26" fmla="*/ 2147483647 w 878"/>
              <a:gd name="T27" fmla="*/ 2147483647 h 855"/>
              <a:gd name="T28" fmla="*/ 2147483647 w 878"/>
              <a:gd name="T29" fmla="*/ 2147483647 h 855"/>
              <a:gd name="T30" fmla="*/ 2147483647 w 878"/>
              <a:gd name="T31" fmla="*/ 2147483647 h 855"/>
              <a:gd name="T32" fmla="*/ 2147483647 w 878"/>
              <a:gd name="T33" fmla="*/ 2147483647 h 855"/>
              <a:gd name="T34" fmla="*/ 2147483647 w 878"/>
              <a:gd name="T35" fmla="*/ 2147483647 h 855"/>
              <a:gd name="T36" fmla="*/ 2147483647 w 878"/>
              <a:gd name="T37" fmla="*/ 2147483647 h 855"/>
              <a:gd name="T38" fmla="*/ 2147483647 w 878"/>
              <a:gd name="T39" fmla="*/ 2147483647 h 855"/>
              <a:gd name="T40" fmla="*/ 2147483647 w 878"/>
              <a:gd name="T41" fmla="*/ 2147483647 h 855"/>
              <a:gd name="T42" fmla="*/ 2147483647 w 878"/>
              <a:gd name="T43" fmla="*/ 2147483647 h 855"/>
              <a:gd name="T44" fmla="*/ 2147483647 w 878"/>
              <a:gd name="T45" fmla="*/ 2147483647 h 855"/>
              <a:gd name="T46" fmla="*/ 2147483647 w 878"/>
              <a:gd name="T47" fmla="*/ 2147483647 h 855"/>
              <a:gd name="T48" fmla="*/ 2147483647 w 878"/>
              <a:gd name="T49" fmla="*/ 2147483647 h 855"/>
              <a:gd name="T50" fmla="*/ 2147483647 w 878"/>
              <a:gd name="T51" fmla="*/ 2147483647 h 855"/>
              <a:gd name="T52" fmla="*/ 2147483647 w 878"/>
              <a:gd name="T53" fmla="*/ 2147483647 h 855"/>
              <a:gd name="T54" fmla="*/ 0 w 878"/>
              <a:gd name="T55" fmla="*/ 2147483647 h 855"/>
              <a:gd name="T56" fmla="*/ 2147483647 w 878"/>
              <a:gd name="T57" fmla="*/ 2147483647 h 855"/>
              <a:gd name="T58" fmla="*/ 2147483647 w 878"/>
              <a:gd name="T59" fmla="*/ 2147483647 h 855"/>
              <a:gd name="T60" fmla="*/ 2147483647 w 878"/>
              <a:gd name="T61" fmla="*/ 2147483647 h 855"/>
              <a:gd name="T62" fmla="*/ 2147483647 w 878"/>
              <a:gd name="T63" fmla="*/ 2147483647 h 855"/>
              <a:gd name="T64" fmla="*/ 2147483647 w 878"/>
              <a:gd name="T65" fmla="*/ 2147483647 h 855"/>
              <a:gd name="T66" fmla="*/ 2147483647 w 878"/>
              <a:gd name="T67" fmla="*/ 2147483647 h 855"/>
              <a:gd name="T68" fmla="*/ 2147483647 w 878"/>
              <a:gd name="T69" fmla="*/ 2147483647 h 855"/>
              <a:gd name="T70" fmla="*/ 2147483647 w 878"/>
              <a:gd name="T71" fmla="*/ 2147483647 h 855"/>
              <a:gd name="T72" fmla="*/ 2147483647 w 878"/>
              <a:gd name="T73" fmla="*/ 2147483647 h 855"/>
              <a:gd name="T74" fmla="*/ 2147483647 w 878"/>
              <a:gd name="T75" fmla="*/ 2147483647 h 855"/>
              <a:gd name="T76" fmla="*/ 2147483647 w 878"/>
              <a:gd name="T77" fmla="*/ 2147483647 h 855"/>
              <a:gd name="T78" fmla="*/ 2147483647 w 878"/>
              <a:gd name="T79" fmla="*/ 2147483647 h 855"/>
              <a:gd name="T80" fmla="*/ 2147483647 w 878"/>
              <a:gd name="T81" fmla="*/ 2147483647 h 855"/>
              <a:gd name="T82" fmla="*/ 2147483647 w 878"/>
              <a:gd name="T83" fmla="*/ 2147483647 h 855"/>
              <a:gd name="T84" fmla="*/ 2147483647 w 878"/>
              <a:gd name="T85" fmla="*/ 2147483647 h 855"/>
              <a:gd name="T86" fmla="*/ 2147483647 w 878"/>
              <a:gd name="T87" fmla="*/ 2147483647 h 855"/>
              <a:gd name="T88" fmla="*/ 2147483647 w 878"/>
              <a:gd name="T89" fmla="*/ 2147483647 h 855"/>
              <a:gd name="T90" fmla="*/ 2147483647 w 878"/>
              <a:gd name="T91" fmla="*/ 2147483647 h 855"/>
              <a:gd name="T92" fmla="*/ 2147483647 w 878"/>
              <a:gd name="T93" fmla="*/ 2147483647 h 855"/>
              <a:gd name="T94" fmla="*/ 2147483647 w 878"/>
              <a:gd name="T95" fmla="*/ 2147483647 h 855"/>
              <a:gd name="T96" fmla="*/ 2147483647 w 878"/>
              <a:gd name="T97" fmla="*/ 2147483647 h 855"/>
              <a:gd name="T98" fmla="*/ 2147483647 w 878"/>
              <a:gd name="T99" fmla="*/ 2147483647 h 855"/>
              <a:gd name="T100" fmla="*/ 2147483647 w 878"/>
              <a:gd name="T101" fmla="*/ 2147483647 h 855"/>
              <a:gd name="T102" fmla="*/ 2147483647 w 878"/>
              <a:gd name="T103" fmla="*/ 2147483647 h 855"/>
              <a:gd name="T104" fmla="*/ 2147483647 w 878"/>
              <a:gd name="T105" fmla="*/ 2147483647 h 855"/>
              <a:gd name="T106" fmla="*/ 2147483647 w 878"/>
              <a:gd name="T107" fmla="*/ 2147483647 h 855"/>
              <a:gd name="T108" fmla="*/ 2147483647 w 878"/>
              <a:gd name="T109" fmla="*/ 2147483647 h 855"/>
              <a:gd name="T110" fmla="*/ 2147483647 w 878"/>
              <a:gd name="T111" fmla="*/ 2147483647 h 855"/>
              <a:gd name="T112" fmla="*/ 2147483647 w 878"/>
              <a:gd name="T113" fmla="*/ 2147483647 h 855"/>
              <a:gd name="T114" fmla="*/ 2147483647 w 878"/>
              <a:gd name="T115" fmla="*/ 2147483647 h 855"/>
              <a:gd name="T116" fmla="*/ 2147483647 w 878"/>
              <a:gd name="T117" fmla="*/ 2147483647 h 855"/>
              <a:gd name="T118" fmla="*/ 2147483647 w 878"/>
              <a:gd name="T119" fmla="*/ 2147483647 h 855"/>
              <a:gd name="T120" fmla="*/ 2147483647 w 878"/>
              <a:gd name="T121" fmla="*/ 2147483647 h 855"/>
              <a:gd name="T122" fmla="*/ 2147483647 w 878"/>
              <a:gd name="T123" fmla="*/ 2147483647 h 855"/>
              <a:gd name="T124" fmla="*/ 2147483647 w 878"/>
              <a:gd name="T125" fmla="*/ 2147483647 h 855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878"/>
              <a:gd name="T190" fmla="*/ 0 h 855"/>
              <a:gd name="T191" fmla="*/ 878 w 878"/>
              <a:gd name="T192" fmla="*/ 855 h 855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878" h="855">
                <a:moveTo>
                  <a:pt x="843" y="184"/>
                </a:moveTo>
                <a:lnTo>
                  <a:pt x="841" y="173"/>
                </a:lnTo>
                <a:lnTo>
                  <a:pt x="878" y="140"/>
                </a:lnTo>
                <a:lnTo>
                  <a:pt x="861" y="130"/>
                </a:lnTo>
                <a:lnTo>
                  <a:pt x="857" y="118"/>
                </a:lnTo>
                <a:lnTo>
                  <a:pt x="861" y="74"/>
                </a:lnTo>
                <a:lnTo>
                  <a:pt x="857" y="75"/>
                </a:lnTo>
                <a:lnTo>
                  <a:pt x="802" y="29"/>
                </a:lnTo>
                <a:lnTo>
                  <a:pt x="790" y="37"/>
                </a:lnTo>
                <a:lnTo>
                  <a:pt x="759" y="34"/>
                </a:lnTo>
                <a:lnTo>
                  <a:pt x="748" y="43"/>
                </a:lnTo>
                <a:lnTo>
                  <a:pt x="730" y="35"/>
                </a:lnTo>
                <a:lnTo>
                  <a:pt x="704" y="3"/>
                </a:lnTo>
                <a:lnTo>
                  <a:pt x="680" y="3"/>
                </a:lnTo>
                <a:lnTo>
                  <a:pt x="674" y="13"/>
                </a:lnTo>
                <a:lnTo>
                  <a:pt x="663" y="6"/>
                </a:lnTo>
                <a:lnTo>
                  <a:pt x="659" y="13"/>
                </a:lnTo>
                <a:lnTo>
                  <a:pt x="646" y="0"/>
                </a:lnTo>
                <a:lnTo>
                  <a:pt x="614" y="6"/>
                </a:lnTo>
                <a:lnTo>
                  <a:pt x="597" y="1"/>
                </a:lnTo>
                <a:lnTo>
                  <a:pt x="595" y="13"/>
                </a:lnTo>
                <a:lnTo>
                  <a:pt x="578" y="15"/>
                </a:lnTo>
                <a:lnTo>
                  <a:pt x="567" y="9"/>
                </a:lnTo>
                <a:lnTo>
                  <a:pt x="510" y="27"/>
                </a:lnTo>
                <a:lnTo>
                  <a:pt x="489" y="18"/>
                </a:lnTo>
                <a:lnTo>
                  <a:pt x="477" y="27"/>
                </a:lnTo>
                <a:lnTo>
                  <a:pt x="475" y="40"/>
                </a:lnTo>
                <a:lnTo>
                  <a:pt x="468" y="43"/>
                </a:lnTo>
                <a:lnTo>
                  <a:pt x="426" y="43"/>
                </a:lnTo>
                <a:lnTo>
                  <a:pt x="396" y="30"/>
                </a:lnTo>
                <a:lnTo>
                  <a:pt x="389" y="37"/>
                </a:lnTo>
                <a:lnTo>
                  <a:pt x="382" y="35"/>
                </a:lnTo>
                <a:lnTo>
                  <a:pt x="357" y="4"/>
                </a:lnTo>
                <a:lnTo>
                  <a:pt x="334" y="3"/>
                </a:lnTo>
                <a:lnTo>
                  <a:pt x="304" y="35"/>
                </a:lnTo>
                <a:lnTo>
                  <a:pt x="303" y="69"/>
                </a:lnTo>
                <a:lnTo>
                  <a:pt x="292" y="71"/>
                </a:lnTo>
                <a:lnTo>
                  <a:pt x="289" y="101"/>
                </a:lnTo>
                <a:lnTo>
                  <a:pt x="264" y="151"/>
                </a:lnTo>
                <a:lnTo>
                  <a:pt x="250" y="272"/>
                </a:lnTo>
                <a:lnTo>
                  <a:pt x="206" y="306"/>
                </a:lnTo>
                <a:lnTo>
                  <a:pt x="185" y="337"/>
                </a:lnTo>
                <a:lnTo>
                  <a:pt x="181" y="355"/>
                </a:lnTo>
                <a:lnTo>
                  <a:pt x="177" y="389"/>
                </a:lnTo>
                <a:lnTo>
                  <a:pt x="164" y="421"/>
                </a:lnTo>
                <a:lnTo>
                  <a:pt x="120" y="456"/>
                </a:lnTo>
                <a:lnTo>
                  <a:pt x="103" y="462"/>
                </a:lnTo>
                <a:lnTo>
                  <a:pt x="93" y="460"/>
                </a:lnTo>
                <a:lnTo>
                  <a:pt x="91" y="442"/>
                </a:lnTo>
                <a:lnTo>
                  <a:pt x="68" y="447"/>
                </a:lnTo>
                <a:lnTo>
                  <a:pt x="55" y="462"/>
                </a:lnTo>
                <a:lnTo>
                  <a:pt x="45" y="464"/>
                </a:lnTo>
                <a:lnTo>
                  <a:pt x="32" y="456"/>
                </a:lnTo>
                <a:lnTo>
                  <a:pt x="13" y="470"/>
                </a:lnTo>
                <a:lnTo>
                  <a:pt x="8" y="506"/>
                </a:lnTo>
                <a:lnTo>
                  <a:pt x="0" y="509"/>
                </a:lnTo>
                <a:lnTo>
                  <a:pt x="0" y="527"/>
                </a:lnTo>
                <a:lnTo>
                  <a:pt x="45" y="509"/>
                </a:lnTo>
                <a:lnTo>
                  <a:pt x="79" y="509"/>
                </a:lnTo>
                <a:lnTo>
                  <a:pt x="113" y="507"/>
                </a:lnTo>
                <a:lnTo>
                  <a:pt x="147" y="507"/>
                </a:lnTo>
                <a:lnTo>
                  <a:pt x="182" y="507"/>
                </a:lnTo>
                <a:lnTo>
                  <a:pt x="198" y="521"/>
                </a:lnTo>
                <a:lnTo>
                  <a:pt x="213" y="577"/>
                </a:lnTo>
                <a:lnTo>
                  <a:pt x="241" y="611"/>
                </a:lnTo>
                <a:lnTo>
                  <a:pt x="252" y="614"/>
                </a:lnTo>
                <a:lnTo>
                  <a:pt x="292" y="606"/>
                </a:lnTo>
                <a:lnTo>
                  <a:pt x="323" y="608"/>
                </a:lnTo>
                <a:lnTo>
                  <a:pt x="334" y="561"/>
                </a:lnTo>
                <a:lnTo>
                  <a:pt x="391" y="557"/>
                </a:lnTo>
                <a:lnTo>
                  <a:pt x="391" y="575"/>
                </a:lnTo>
                <a:lnTo>
                  <a:pt x="431" y="575"/>
                </a:lnTo>
                <a:lnTo>
                  <a:pt x="436" y="586"/>
                </a:lnTo>
                <a:lnTo>
                  <a:pt x="442" y="649"/>
                </a:lnTo>
                <a:lnTo>
                  <a:pt x="438" y="675"/>
                </a:lnTo>
                <a:lnTo>
                  <a:pt x="451" y="727"/>
                </a:lnTo>
                <a:lnTo>
                  <a:pt x="447" y="753"/>
                </a:lnTo>
                <a:lnTo>
                  <a:pt x="460" y="761"/>
                </a:lnTo>
                <a:lnTo>
                  <a:pt x="470" y="748"/>
                </a:lnTo>
                <a:lnTo>
                  <a:pt x="499" y="747"/>
                </a:lnTo>
                <a:lnTo>
                  <a:pt x="532" y="747"/>
                </a:lnTo>
                <a:lnTo>
                  <a:pt x="541" y="741"/>
                </a:lnTo>
                <a:lnTo>
                  <a:pt x="555" y="738"/>
                </a:lnTo>
                <a:lnTo>
                  <a:pt x="563" y="761"/>
                </a:lnTo>
                <a:lnTo>
                  <a:pt x="594" y="751"/>
                </a:lnTo>
                <a:lnTo>
                  <a:pt x="606" y="772"/>
                </a:lnTo>
                <a:lnTo>
                  <a:pt x="643" y="789"/>
                </a:lnTo>
                <a:lnTo>
                  <a:pt x="682" y="781"/>
                </a:lnTo>
                <a:lnTo>
                  <a:pt x="699" y="797"/>
                </a:lnTo>
                <a:lnTo>
                  <a:pt x="730" y="807"/>
                </a:lnTo>
                <a:lnTo>
                  <a:pt x="742" y="827"/>
                </a:lnTo>
                <a:lnTo>
                  <a:pt x="765" y="844"/>
                </a:lnTo>
                <a:lnTo>
                  <a:pt x="782" y="849"/>
                </a:lnTo>
                <a:lnTo>
                  <a:pt x="792" y="846"/>
                </a:lnTo>
                <a:lnTo>
                  <a:pt x="804" y="855"/>
                </a:lnTo>
                <a:lnTo>
                  <a:pt x="802" y="806"/>
                </a:lnTo>
                <a:lnTo>
                  <a:pt x="770" y="806"/>
                </a:lnTo>
                <a:lnTo>
                  <a:pt x="750" y="784"/>
                </a:lnTo>
                <a:lnTo>
                  <a:pt x="767" y="721"/>
                </a:lnTo>
                <a:lnTo>
                  <a:pt x="767" y="700"/>
                </a:lnTo>
                <a:lnTo>
                  <a:pt x="765" y="668"/>
                </a:lnTo>
                <a:lnTo>
                  <a:pt x="765" y="657"/>
                </a:lnTo>
                <a:lnTo>
                  <a:pt x="772" y="648"/>
                </a:lnTo>
                <a:lnTo>
                  <a:pt x="773" y="636"/>
                </a:lnTo>
                <a:lnTo>
                  <a:pt x="781" y="631"/>
                </a:lnTo>
                <a:lnTo>
                  <a:pt x="843" y="616"/>
                </a:lnTo>
                <a:lnTo>
                  <a:pt x="836" y="587"/>
                </a:lnTo>
                <a:lnTo>
                  <a:pt x="806" y="563"/>
                </a:lnTo>
                <a:lnTo>
                  <a:pt x="789" y="536"/>
                </a:lnTo>
                <a:lnTo>
                  <a:pt x="789" y="501"/>
                </a:lnTo>
                <a:lnTo>
                  <a:pt x="784" y="489"/>
                </a:lnTo>
                <a:lnTo>
                  <a:pt x="778" y="475"/>
                </a:lnTo>
                <a:lnTo>
                  <a:pt x="784" y="443"/>
                </a:lnTo>
                <a:lnTo>
                  <a:pt x="782" y="434"/>
                </a:lnTo>
                <a:lnTo>
                  <a:pt x="778" y="436"/>
                </a:lnTo>
                <a:lnTo>
                  <a:pt x="778" y="421"/>
                </a:lnTo>
                <a:lnTo>
                  <a:pt x="787" y="394"/>
                </a:lnTo>
                <a:lnTo>
                  <a:pt x="785" y="374"/>
                </a:lnTo>
                <a:lnTo>
                  <a:pt x="778" y="363"/>
                </a:lnTo>
                <a:lnTo>
                  <a:pt x="773" y="349"/>
                </a:lnTo>
                <a:lnTo>
                  <a:pt x="785" y="329"/>
                </a:lnTo>
                <a:lnTo>
                  <a:pt x="806" y="300"/>
                </a:lnTo>
                <a:lnTo>
                  <a:pt x="807" y="258"/>
                </a:lnTo>
                <a:lnTo>
                  <a:pt x="807" y="247"/>
                </a:lnTo>
                <a:lnTo>
                  <a:pt x="814" y="221"/>
                </a:lnTo>
                <a:lnTo>
                  <a:pt x="843" y="184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73" name="Freeform 162"/>
          <p:cNvSpPr>
            <a:spLocks noChangeAspect="1"/>
          </p:cNvSpPr>
          <p:nvPr/>
        </p:nvSpPr>
        <p:spPr bwMode="gray">
          <a:xfrm>
            <a:off x="4603750" y="3776663"/>
            <a:ext cx="123825" cy="141287"/>
          </a:xfrm>
          <a:custGeom>
            <a:avLst/>
            <a:gdLst>
              <a:gd name="T0" fmla="*/ 2147483647 w 256"/>
              <a:gd name="T1" fmla="*/ 2147483647 h 288"/>
              <a:gd name="T2" fmla="*/ 2147483647 w 256"/>
              <a:gd name="T3" fmla="*/ 2147483647 h 288"/>
              <a:gd name="T4" fmla="*/ 2147483647 w 256"/>
              <a:gd name="T5" fmla="*/ 2147483647 h 288"/>
              <a:gd name="T6" fmla="*/ 2147483647 w 256"/>
              <a:gd name="T7" fmla="*/ 2147483647 h 288"/>
              <a:gd name="T8" fmla="*/ 2147483647 w 256"/>
              <a:gd name="T9" fmla="*/ 2147483647 h 288"/>
              <a:gd name="T10" fmla="*/ 2147483647 w 256"/>
              <a:gd name="T11" fmla="*/ 2147483647 h 288"/>
              <a:gd name="T12" fmla="*/ 2147483647 w 256"/>
              <a:gd name="T13" fmla="*/ 2147483647 h 288"/>
              <a:gd name="T14" fmla="*/ 2147483647 w 256"/>
              <a:gd name="T15" fmla="*/ 2147483647 h 288"/>
              <a:gd name="T16" fmla="*/ 2147483647 w 256"/>
              <a:gd name="T17" fmla="*/ 2147483647 h 288"/>
              <a:gd name="T18" fmla="*/ 2147483647 w 256"/>
              <a:gd name="T19" fmla="*/ 2147483647 h 288"/>
              <a:gd name="T20" fmla="*/ 2147483647 w 256"/>
              <a:gd name="T21" fmla="*/ 2147483647 h 288"/>
              <a:gd name="T22" fmla="*/ 2147483647 w 256"/>
              <a:gd name="T23" fmla="*/ 2147483647 h 288"/>
              <a:gd name="T24" fmla="*/ 0 w 256"/>
              <a:gd name="T25" fmla="*/ 2147483647 h 288"/>
              <a:gd name="T26" fmla="*/ 2147483647 w 256"/>
              <a:gd name="T27" fmla="*/ 2147483647 h 288"/>
              <a:gd name="T28" fmla="*/ 2147483647 w 256"/>
              <a:gd name="T29" fmla="*/ 2147483647 h 288"/>
              <a:gd name="T30" fmla="*/ 2147483647 w 256"/>
              <a:gd name="T31" fmla="*/ 2147483647 h 288"/>
              <a:gd name="T32" fmla="*/ 2147483647 w 256"/>
              <a:gd name="T33" fmla="*/ 2147483647 h 288"/>
              <a:gd name="T34" fmla="*/ 2147483647 w 256"/>
              <a:gd name="T35" fmla="*/ 2147483647 h 288"/>
              <a:gd name="T36" fmla="*/ 2147483647 w 256"/>
              <a:gd name="T37" fmla="*/ 2147483647 h 288"/>
              <a:gd name="T38" fmla="*/ 2147483647 w 256"/>
              <a:gd name="T39" fmla="*/ 2147483647 h 288"/>
              <a:gd name="T40" fmla="*/ 2147483647 w 256"/>
              <a:gd name="T41" fmla="*/ 2147483647 h 288"/>
              <a:gd name="T42" fmla="*/ 2147483647 w 256"/>
              <a:gd name="T43" fmla="*/ 2147483647 h 288"/>
              <a:gd name="T44" fmla="*/ 2147483647 w 256"/>
              <a:gd name="T45" fmla="*/ 2147483647 h 288"/>
              <a:gd name="T46" fmla="*/ 2147483647 w 256"/>
              <a:gd name="T47" fmla="*/ 2147483647 h 288"/>
              <a:gd name="T48" fmla="*/ 2147483647 w 256"/>
              <a:gd name="T49" fmla="*/ 2147483647 h 288"/>
              <a:gd name="T50" fmla="*/ 2147483647 w 256"/>
              <a:gd name="T51" fmla="*/ 2147483647 h 288"/>
              <a:gd name="T52" fmla="*/ 2147483647 w 256"/>
              <a:gd name="T53" fmla="*/ 2147483647 h 288"/>
              <a:gd name="T54" fmla="*/ 2147483647 w 256"/>
              <a:gd name="T55" fmla="*/ 2147483647 h 288"/>
              <a:gd name="T56" fmla="*/ 2147483647 w 256"/>
              <a:gd name="T57" fmla="*/ 2147483647 h 288"/>
              <a:gd name="T58" fmla="*/ 2147483647 w 256"/>
              <a:gd name="T59" fmla="*/ 2147483647 h 288"/>
              <a:gd name="T60" fmla="*/ 2147483647 w 256"/>
              <a:gd name="T61" fmla="*/ 2147483647 h 288"/>
              <a:gd name="T62" fmla="*/ 2147483647 w 256"/>
              <a:gd name="T63" fmla="*/ 2147483647 h 288"/>
              <a:gd name="T64" fmla="*/ 2147483647 w 256"/>
              <a:gd name="T65" fmla="*/ 2147483647 h 288"/>
              <a:gd name="T66" fmla="*/ 2147483647 w 256"/>
              <a:gd name="T67" fmla="*/ 2147483647 h 288"/>
              <a:gd name="T68" fmla="*/ 2147483647 w 256"/>
              <a:gd name="T69" fmla="*/ 2147483647 h 288"/>
              <a:gd name="T70" fmla="*/ 2147483647 w 256"/>
              <a:gd name="T71" fmla="*/ 2147483647 h 288"/>
              <a:gd name="T72" fmla="*/ 2147483647 w 256"/>
              <a:gd name="T73" fmla="*/ 2147483647 h 288"/>
              <a:gd name="T74" fmla="*/ 2147483647 w 256"/>
              <a:gd name="T75" fmla="*/ 2147483647 h 288"/>
              <a:gd name="T76" fmla="*/ 2147483647 w 256"/>
              <a:gd name="T77" fmla="*/ 2147483647 h 288"/>
              <a:gd name="T78" fmla="*/ 2147483647 w 256"/>
              <a:gd name="T79" fmla="*/ 2147483647 h 288"/>
              <a:gd name="T80" fmla="*/ 2147483647 w 256"/>
              <a:gd name="T81" fmla="*/ 0 h 288"/>
              <a:gd name="T82" fmla="*/ 2147483647 w 256"/>
              <a:gd name="T83" fmla="*/ 2147483647 h 288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56"/>
              <a:gd name="T127" fmla="*/ 0 h 288"/>
              <a:gd name="T128" fmla="*/ 256 w 256"/>
              <a:gd name="T129" fmla="*/ 288 h 288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56" h="288">
                <a:moveTo>
                  <a:pt x="115" y="5"/>
                </a:moveTo>
                <a:lnTo>
                  <a:pt x="110" y="16"/>
                </a:lnTo>
                <a:lnTo>
                  <a:pt x="115" y="56"/>
                </a:lnTo>
                <a:lnTo>
                  <a:pt x="56" y="56"/>
                </a:lnTo>
                <a:lnTo>
                  <a:pt x="36" y="61"/>
                </a:lnTo>
                <a:lnTo>
                  <a:pt x="36" y="75"/>
                </a:lnTo>
                <a:lnTo>
                  <a:pt x="25" y="83"/>
                </a:lnTo>
                <a:lnTo>
                  <a:pt x="48" y="100"/>
                </a:lnTo>
                <a:lnTo>
                  <a:pt x="37" y="101"/>
                </a:lnTo>
                <a:lnTo>
                  <a:pt x="23" y="95"/>
                </a:lnTo>
                <a:lnTo>
                  <a:pt x="20" y="126"/>
                </a:lnTo>
                <a:lnTo>
                  <a:pt x="8" y="139"/>
                </a:lnTo>
                <a:lnTo>
                  <a:pt x="0" y="142"/>
                </a:lnTo>
                <a:lnTo>
                  <a:pt x="5" y="149"/>
                </a:lnTo>
                <a:lnTo>
                  <a:pt x="22" y="194"/>
                </a:lnTo>
                <a:lnTo>
                  <a:pt x="51" y="230"/>
                </a:lnTo>
                <a:lnTo>
                  <a:pt x="101" y="276"/>
                </a:lnTo>
                <a:lnTo>
                  <a:pt x="107" y="288"/>
                </a:lnTo>
                <a:lnTo>
                  <a:pt x="113" y="270"/>
                </a:lnTo>
                <a:lnTo>
                  <a:pt x="132" y="267"/>
                </a:lnTo>
                <a:lnTo>
                  <a:pt x="135" y="262"/>
                </a:lnTo>
                <a:lnTo>
                  <a:pt x="129" y="240"/>
                </a:lnTo>
                <a:lnTo>
                  <a:pt x="133" y="223"/>
                </a:lnTo>
                <a:lnTo>
                  <a:pt x="163" y="208"/>
                </a:lnTo>
                <a:lnTo>
                  <a:pt x="178" y="193"/>
                </a:lnTo>
                <a:lnTo>
                  <a:pt x="193" y="205"/>
                </a:lnTo>
                <a:lnTo>
                  <a:pt x="214" y="203"/>
                </a:lnTo>
                <a:lnTo>
                  <a:pt x="229" y="217"/>
                </a:lnTo>
                <a:lnTo>
                  <a:pt x="242" y="211"/>
                </a:lnTo>
                <a:lnTo>
                  <a:pt x="252" y="142"/>
                </a:lnTo>
                <a:lnTo>
                  <a:pt x="240" y="106"/>
                </a:lnTo>
                <a:lnTo>
                  <a:pt x="240" y="93"/>
                </a:lnTo>
                <a:lnTo>
                  <a:pt x="256" y="69"/>
                </a:lnTo>
                <a:lnTo>
                  <a:pt x="254" y="50"/>
                </a:lnTo>
                <a:lnTo>
                  <a:pt x="245" y="41"/>
                </a:lnTo>
                <a:lnTo>
                  <a:pt x="222" y="33"/>
                </a:lnTo>
                <a:lnTo>
                  <a:pt x="208" y="55"/>
                </a:lnTo>
                <a:lnTo>
                  <a:pt x="201" y="50"/>
                </a:lnTo>
                <a:lnTo>
                  <a:pt x="201" y="19"/>
                </a:lnTo>
                <a:lnTo>
                  <a:pt x="206" y="7"/>
                </a:lnTo>
                <a:lnTo>
                  <a:pt x="155" y="0"/>
                </a:lnTo>
                <a:lnTo>
                  <a:pt x="115" y="5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74" name="Freeform 163"/>
          <p:cNvSpPr>
            <a:spLocks noChangeAspect="1"/>
          </p:cNvSpPr>
          <p:nvPr/>
        </p:nvSpPr>
        <p:spPr bwMode="gray">
          <a:xfrm>
            <a:off x="4654550" y="3746500"/>
            <a:ext cx="171450" cy="196850"/>
          </a:xfrm>
          <a:custGeom>
            <a:avLst/>
            <a:gdLst>
              <a:gd name="T0" fmla="*/ 2147483647 w 348"/>
              <a:gd name="T1" fmla="*/ 0 h 402"/>
              <a:gd name="T2" fmla="*/ 2147483647 w 348"/>
              <a:gd name="T3" fmla="*/ 2147483647 h 402"/>
              <a:gd name="T4" fmla="*/ 2147483647 w 348"/>
              <a:gd name="T5" fmla="*/ 0 h 402"/>
              <a:gd name="T6" fmla="*/ 2147483647 w 348"/>
              <a:gd name="T7" fmla="*/ 2147483647 h 402"/>
              <a:gd name="T8" fmla="*/ 2147483647 w 348"/>
              <a:gd name="T9" fmla="*/ 2147483647 h 402"/>
              <a:gd name="T10" fmla="*/ 2147483647 w 348"/>
              <a:gd name="T11" fmla="*/ 2147483647 h 402"/>
              <a:gd name="T12" fmla="*/ 2147483647 w 348"/>
              <a:gd name="T13" fmla="*/ 2147483647 h 402"/>
              <a:gd name="T14" fmla="*/ 2147483647 w 348"/>
              <a:gd name="T15" fmla="*/ 2147483647 h 402"/>
              <a:gd name="T16" fmla="*/ 2147483647 w 348"/>
              <a:gd name="T17" fmla="*/ 2147483647 h 402"/>
              <a:gd name="T18" fmla="*/ 2147483647 w 348"/>
              <a:gd name="T19" fmla="*/ 2147483647 h 402"/>
              <a:gd name="T20" fmla="*/ 2147483647 w 348"/>
              <a:gd name="T21" fmla="*/ 2147483647 h 402"/>
              <a:gd name="T22" fmla="*/ 2147483647 w 348"/>
              <a:gd name="T23" fmla="*/ 2147483647 h 402"/>
              <a:gd name="T24" fmla="*/ 2147483647 w 348"/>
              <a:gd name="T25" fmla="*/ 2147483647 h 402"/>
              <a:gd name="T26" fmla="*/ 2147483647 w 348"/>
              <a:gd name="T27" fmla="*/ 2147483647 h 402"/>
              <a:gd name="T28" fmla="*/ 2147483647 w 348"/>
              <a:gd name="T29" fmla="*/ 2147483647 h 402"/>
              <a:gd name="T30" fmla="*/ 2147483647 w 348"/>
              <a:gd name="T31" fmla="*/ 2147483647 h 402"/>
              <a:gd name="T32" fmla="*/ 2147483647 w 348"/>
              <a:gd name="T33" fmla="*/ 2147483647 h 402"/>
              <a:gd name="T34" fmla="*/ 2147483647 w 348"/>
              <a:gd name="T35" fmla="*/ 2147483647 h 402"/>
              <a:gd name="T36" fmla="*/ 2147483647 w 348"/>
              <a:gd name="T37" fmla="*/ 2147483647 h 402"/>
              <a:gd name="T38" fmla="*/ 2147483647 w 348"/>
              <a:gd name="T39" fmla="*/ 2147483647 h 402"/>
              <a:gd name="T40" fmla="*/ 2147483647 w 348"/>
              <a:gd name="T41" fmla="*/ 2147483647 h 402"/>
              <a:gd name="T42" fmla="*/ 2147483647 w 348"/>
              <a:gd name="T43" fmla="*/ 2147483647 h 402"/>
              <a:gd name="T44" fmla="*/ 2147483647 w 348"/>
              <a:gd name="T45" fmla="*/ 2147483647 h 402"/>
              <a:gd name="T46" fmla="*/ 2147483647 w 348"/>
              <a:gd name="T47" fmla="*/ 2147483647 h 402"/>
              <a:gd name="T48" fmla="*/ 2147483647 w 348"/>
              <a:gd name="T49" fmla="*/ 2147483647 h 402"/>
              <a:gd name="T50" fmla="*/ 2147483647 w 348"/>
              <a:gd name="T51" fmla="*/ 2147483647 h 402"/>
              <a:gd name="T52" fmla="*/ 2147483647 w 348"/>
              <a:gd name="T53" fmla="*/ 2147483647 h 402"/>
              <a:gd name="T54" fmla="*/ 2147483647 w 348"/>
              <a:gd name="T55" fmla="*/ 2147483647 h 402"/>
              <a:gd name="T56" fmla="*/ 2147483647 w 348"/>
              <a:gd name="T57" fmla="*/ 2147483647 h 402"/>
              <a:gd name="T58" fmla="*/ 2147483647 w 348"/>
              <a:gd name="T59" fmla="*/ 2147483647 h 402"/>
              <a:gd name="T60" fmla="*/ 2147483647 w 348"/>
              <a:gd name="T61" fmla="*/ 2147483647 h 402"/>
              <a:gd name="T62" fmla="*/ 2147483647 w 348"/>
              <a:gd name="T63" fmla="*/ 2147483647 h 402"/>
              <a:gd name="T64" fmla="*/ 0 w 348"/>
              <a:gd name="T65" fmla="*/ 2147483647 h 402"/>
              <a:gd name="T66" fmla="*/ 2147483647 w 348"/>
              <a:gd name="T67" fmla="*/ 2147483647 h 402"/>
              <a:gd name="T68" fmla="*/ 2147483647 w 348"/>
              <a:gd name="T69" fmla="*/ 2147483647 h 402"/>
              <a:gd name="T70" fmla="*/ 2147483647 w 348"/>
              <a:gd name="T71" fmla="*/ 2147483647 h 402"/>
              <a:gd name="T72" fmla="*/ 2147483647 w 348"/>
              <a:gd name="T73" fmla="*/ 2147483647 h 402"/>
              <a:gd name="T74" fmla="*/ 2147483647 w 348"/>
              <a:gd name="T75" fmla="*/ 2147483647 h 402"/>
              <a:gd name="T76" fmla="*/ 2147483647 w 348"/>
              <a:gd name="T77" fmla="*/ 2147483647 h 402"/>
              <a:gd name="T78" fmla="*/ 2147483647 w 348"/>
              <a:gd name="T79" fmla="*/ 2147483647 h 402"/>
              <a:gd name="T80" fmla="*/ 2147483647 w 348"/>
              <a:gd name="T81" fmla="*/ 2147483647 h 402"/>
              <a:gd name="T82" fmla="*/ 2147483647 w 348"/>
              <a:gd name="T83" fmla="*/ 2147483647 h 402"/>
              <a:gd name="T84" fmla="*/ 2147483647 w 348"/>
              <a:gd name="T85" fmla="*/ 2147483647 h 402"/>
              <a:gd name="T86" fmla="*/ 2147483647 w 348"/>
              <a:gd name="T87" fmla="*/ 2147483647 h 402"/>
              <a:gd name="T88" fmla="*/ 2147483647 w 348"/>
              <a:gd name="T89" fmla="*/ 2147483647 h 402"/>
              <a:gd name="T90" fmla="*/ 2147483647 w 348"/>
              <a:gd name="T91" fmla="*/ 2147483647 h 402"/>
              <a:gd name="T92" fmla="*/ 2147483647 w 348"/>
              <a:gd name="T93" fmla="*/ 2147483647 h 402"/>
              <a:gd name="T94" fmla="*/ 2147483647 w 348"/>
              <a:gd name="T95" fmla="*/ 2147483647 h 402"/>
              <a:gd name="T96" fmla="*/ 2147483647 w 348"/>
              <a:gd name="T97" fmla="*/ 2147483647 h 402"/>
              <a:gd name="T98" fmla="*/ 2147483647 w 348"/>
              <a:gd name="T99" fmla="*/ 2147483647 h 402"/>
              <a:gd name="T100" fmla="*/ 2147483647 w 348"/>
              <a:gd name="T101" fmla="*/ 2147483647 h 402"/>
              <a:gd name="T102" fmla="*/ 2147483647 w 348"/>
              <a:gd name="T103" fmla="*/ 2147483647 h 402"/>
              <a:gd name="T104" fmla="*/ 2147483647 w 348"/>
              <a:gd name="T105" fmla="*/ 2147483647 h 402"/>
              <a:gd name="T106" fmla="*/ 2147483647 w 348"/>
              <a:gd name="T107" fmla="*/ 2147483647 h 402"/>
              <a:gd name="T108" fmla="*/ 2147483647 w 348"/>
              <a:gd name="T109" fmla="*/ 2147483647 h 402"/>
              <a:gd name="T110" fmla="*/ 2147483647 w 348"/>
              <a:gd name="T111" fmla="*/ 2147483647 h 402"/>
              <a:gd name="T112" fmla="*/ 2147483647 w 348"/>
              <a:gd name="T113" fmla="*/ 0 h 402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348"/>
              <a:gd name="T172" fmla="*/ 0 h 402"/>
              <a:gd name="T173" fmla="*/ 348 w 348"/>
              <a:gd name="T174" fmla="*/ 402 h 402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348" h="402">
                <a:moveTo>
                  <a:pt x="348" y="0"/>
                </a:moveTo>
                <a:lnTo>
                  <a:pt x="316" y="13"/>
                </a:lnTo>
                <a:lnTo>
                  <a:pt x="288" y="0"/>
                </a:lnTo>
                <a:lnTo>
                  <a:pt x="272" y="3"/>
                </a:lnTo>
                <a:lnTo>
                  <a:pt x="252" y="15"/>
                </a:lnTo>
                <a:lnTo>
                  <a:pt x="230" y="38"/>
                </a:lnTo>
                <a:lnTo>
                  <a:pt x="230" y="85"/>
                </a:lnTo>
                <a:lnTo>
                  <a:pt x="224" y="96"/>
                </a:lnTo>
                <a:lnTo>
                  <a:pt x="204" y="80"/>
                </a:lnTo>
                <a:lnTo>
                  <a:pt x="164" y="71"/>
                </a:lnTo>
                <a:lnTo>
                  <a:pt x="99" y="71"/>
                </a:lnTo>
                <a:lnTo>
                  <a:pt x="94" y="83"/>
                </a:lnTo>
                <a:lnTo>
                  <a:pt x="94" y="114"/>
                </a:lnTo>
                <a:lnTo>
                  <a:pt x="101" y="119"/>
                </a:lnTo>
                <a:lnTo>
                  <a:pt x="115" y="97"/>
                </a:lnTo>
                <a:lnTo>
                  <a:pt x="138" y="105"/>
                </a:lnTo>
                <a:lnTo>
                  <a:pt x="147" y="114"/>
                </a:lnTo>
                <a:lnTo>
                  <a:pt x="149" y="133"/>
                </a:lnTo>
                <a:lnTo>
                  <a:pt x="133" y="157"/>
                </a:lnTo>
                <a:lnTo>
                  <a:pt x="133" y="170"/>
                </a:lnTo>
                <a:lnTo>
                  <a:pt x="145" y="206"/>
                </a:lnTo>
                <a:lnTo>
                  <a:pt x="135" y="275"/>
                </a:lnTo>
                <a:lnTo>
                  <a:pt x="122" y="281"/>
                </a:lnTo>
                <a:lnTo>
                  <a:pt x="107" y="267"/>
                </a:lnTo>
                <a:lnTo>
                  <a:pt x="86" y="269"/>
                </a:lnTo>
                <a:lnTo>
                  <a:pt x="71" y="257"/>
                </a:lnTo>
                <a:lnTo>
                  <a:pt x="56" y="272"/>
                </a:lnTo>
                <a:lnTo>
                  <a:pt x="26" y="287"/>
                </a:lnTo>
                <a:lnTo>
                  <a:pt x="22" y="304"/>
                </a:lnTo>
                <a:lnTo>
                  <a:pt x="28" y="326"/>
                </a:lnTo>
                <a:lnTo>
                  <a:pt x="25" y="331"/>
                </a:lnTo>
                <a:lnTo>
                  <a:pt x="6" y="334"/>
                </a:lnTo>
                <a:lnTo>
                  <a:pt x="0" y="352"/>
                </a:lnTo>
                <a:lnTo>
                  <a:pt x="9" y="357"/>
                </a:lnTo>
                <a:lnTo>
                  <a:pt x="28" y="377"/>
                </a:lnTo>
                <a:lnTo>
                  <a:pt x="40" y="402"/>
                </a:lnTo>
                <a:lnTo>
                  <a:pt x="60" y="389"/>
                </a:lnTo>
                <a:lnTo>
                  <a:pt x="68" y="377"/>
                </a:lnTo>
                <a:lnTo>
                  <a:pt x="76" y="372"/>
                </a:lnTo>
                <a:lnTo>
                  <a:pt x="82" y="376"/>
                </a:lnTo>
                <a:lnTo>
                  <a:pt x="88" y="385"/>
                </a:lnTo>
                <a:lnTo>
                  <a:pt x="101" y="393"/>
                </a:lnTo>
                <a:lnTo>
                  <a:pt x="111" y="391"/>
                </a:lnTo>
                <a:lnTo>
                  <a:pt x="124" y="376"/>
                </a:lnTo>
                <a:lnTo>
                  <a:pt x="147" y="371"/>
                </a:lnTo>
                <a:lnTo>
                  <a:pt x="149" y="389"/>
                </a:lnTo>
                <a:lnTo>
                  <a:pt x="159" y="391"/>
                </a:lnTo>
                <a:lnTo>
                  <a:pt x="176" y="385"/>
                </a:lnTo>
                <a:lnTo>
                  <a:pt x="220" y="350"/>
                </a:lnTo>
                <a:lnTo>
                  <a:pt x="233" y="318"/>
                </a:lnTo>
                <a:lnTo>
                  <a:pt x="237" y="284"/>
                </a:lnTo>
                <a:lnTo>
                  <a:pt x="241" y="266"/>
                </a:lnTo>
                <a:lnTo>
                  <a:pt x="262" y="235"/>
                </a:lnTo>
                <a:lnTo>
                  <a:pt x="306" y="201"/>
                </a:lnTo>
                <a:lnTo>
                  <a:pt x="320" y="80"/>
                </a:lnTo>
                <a:lnTo>
                  <a:pt x="345" y="30"/>
                </a:lnTo>
                <a:lnTo>
                  <a:pt x="348" y="0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75" name="Freeform 164"/>
          <p:cNvSpPr>
            <a:spLocks noChangeAspect="1"/>
          </p:cNvSpPr>
          <p:nvPr/>
        </p:nvSpPr>
        <p:spPr bwMode="gray">
          <a:xfrm>
            <a:off x="4614863" y="3778250"/>
            <a:ext cx="46037" cy="30163"/>
          </a:xfrm>
          <a:custGeom>
            <a:avLst/>
            <a:gdLst>
              <a:gd name="T0" fmla="*/ 2147483647 w 90"/>
              <a:gd name="T1" fmla="*/ 0 h 56"/>
              <a:gd name="T2" fmla="*/ 2147483647 w 90"/>
              <a:gd name="T3" fmla="*/ 2147483647 h 56"/>
              <a:gd name="T4" fmla="*/ 2147483647 w 90"/>
              <a:gd name="T5" fmla="*/ 2147483647 h 56"/>
              <a:gd name="T6" fmla="*/ 0 w 90"/>
              <a:gd name="T7" fmla="*/ 2147483647 h 56"/>
              <a:gd name="T8" fmla="*/ 2147483647 w 90"/>
              <a:gd name="T9" fmla="*/ 2147483647 h 56"/>
              <a:gd name="T10" fmla="*/ 2147483647 w 90"/>
              <a:gd name="T11" fmla="*/ 2147483647 h 56"/>
              <a:gd name="T12" fmla="*/ 2147483647 w 90"/>
              <a:gd name="T13" fmla="*/ 2147483647 h 56"/>
              <a:gd name="T14" fmla="*/ 2147483647 w 90"/>
              <a:gd name="T15" fmla="*/ 2147483647 h 56"/>
              <a:gd name="T16" fmla="*/ 2147483647 w 90"/>
              <a:gd name="T17" fmla="*/ 2147483647 h 56"/>
              <a:gd name="T18" fmla="*/ 2147483647 w 90"/>
              <a:gd name="T19" fmla="*/ 0 h 5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90"/>
              <a:gd name="T31" fmla="*/ 0 h 56"/>
              <a:gd name="T32" fmla="*/ 90 w 90"/>
              <a:gd name="T33" fmla="*/ 56 h 5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90" h="56">
                <a:moveTo>
                  <a:pt x="90" y="0"/>
                </a:moveTo>
                <a:lnTo>
                  <a:pt x="17" y="2"/>
                </a:lnTo>
                <a:lnTo>
                  <a:pt x="11" y="31"/>
                </a:lnTo>
                <a:lnTo>
                  <a:pt x="0" y="45"/>
                </a:lnTo>
                <a:lnTo>
                  <a:pt x="12" y="53"/>
                </a:lnTo>
                <a:lnTo>
                  <a:pt x="11" y="56"/>
                </a:lnTo>
                <a:lnTo>
                  <a:pt x="31" y="51"/>
                </a:lnTo>
                <a:lnTo>
                  <a:pt x="90" y="51"/>
                </a:lnTo>
                <a:lnTo>
                  <a:pt x="85" y="11"/>
                </a:lnTo>
                <a:lnTo>
                  <a:pt x="90" y="0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76" name="Freeform 165"/>
          <p:cNvSpPr>
            <a:spLocks noChangeAspect="1"/>
          </p:cNvSpPr>
          <p:nvPr/>
        </p:nvSpPr>
        <p:spPr bwMode="gray">
          <a:xfrm>
            <a:off x="4595813" y="3743325"/>
            <a:ext cx="11112" cy="12700"/>
          </a:xfrm>
          <a:custGeom>
            <a:avLst/>
            <a:gdLst>
              <a:gd name="T0" fmla="*/ 2147483647 w 21"/>
              <a:gd name="T1" fmla="*/ 2147483647 h 23"/>
              <a:gd name="T2" fmla="*/ 2147483647 w 21"/>
              <a:gd name="T3" fmla="*/ 2147483647 h 23"/>
              <a:gd name="T4" fmla="*/ 0 w 21"/>
              <a:gd name="T5" fmla="*/ 2147483647 h 23"/>
              <a:gd name="T6" fmla="*/ 2147483647 w 21"/>
              <a:gd name="T7" fmla="*/ 0 h 23"/>
              <a:gd name="T8" fmla="*/ 2147483647 w 21"/>
              <a:gd name="T9" fmla="*/ 2147483647 h 2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1"/>
              <a:gd name="T16" fmla="*/ 0 h 23"/>
              <a:gd name="T17" fmla="*/ 21 w 21"/>
              <a:gd name="T18" fmla="*/ 23 h 2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1" h="23">
                <a:moveTo>
                  <a:pt x="21" y="6"/>
                </a:moveTo>
                <a:lnTo>
                  <a:pt x="14" y="23"/>
                </a:lnTo>
                <a:lnTo>
                  <a:pt x="0" y="23"/>
                </a:lnTo>
                <a:lnTo>
                  <a:pt x="7" y="0"/>
                </a:lnTo>
                <a:lnTo>
                  <a:pt x="21" y="6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77" name="Freeform 166"/>
          <p:cNvSpPr>
            <a:spLocks noChangeAspect="1"/>
          </p:cNvSpPr>
          <p:nvPr/>
        </p:nvSpPr>
        <p:spPr bwMode="gray">
          <a:xfrm>
            <a:off x="4568825" y="3789363"/>
            <a:ext cx="3175" cy="6350"/>
          </a:xfrm>
          <a:custGeom>
            <a:avLst/>
            <a:gdLst>
              <a:gd name="T0" fmla="*/ 2147483647 w 4"/>
              <a:gd name="T1" fmla="*/ 0 h 11"/>
              <a:gd name="T2" fmla="*/ 2147483647 w 4"/>
              <a:gd name="T3" fmla="*/ 2147483647 h 11"/>
              <a:gd name="T4" fmla="*/ 0 w 4"/>
              <a:gd name="T5" fmla="*/ 2147483647 h 11"/>
              <a:gd name="T6" fmla="*/ 2147483647 w 4"/>
              <a:gd name="T7" fmla="*/ 0 h 11"/>
              <a:gd name="T8" fmla="*/ 0 60000 65536"/>
              <a:gd name="T9" fmla="*/ 0 60000 65536"/>
              <a:gd name="T10" fmla="*/ 0 60000 65536"/>
              <a:gd name="T11" fmla="*/ 0 60000 65536"/>
              <a:gd name="T12" fmla="*/ 0 w 4"/>
              <a:gd name="T13" fmla="*/ 0 h 11"/>
              <a:gd name="T14" fmla="*/ 4 w 4"/>
              <a:gd name="T15" fmla="*/ 11 h 1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" h="11">
                <a:moveTo>
                  <a:pt x="3" y="0"/>
                </a:moveTo>
                <a:lnTo>
                  <a:pt x="4" y="5"/>
                </a:lnTo>
                <a:lnTo>
                  <a:pt x="0" y="11"/>
                </a:lnTo>
                <a:lnTo>
                  <a:pt x="3" y="0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78" name="Freeform 167"/>
          <p:cNvSpPr>
            <a:spLocks noChangeAspect="1"/>
          </p:cNvSpPr>
          <p:nvPr/>
        </p:nvSpPr>
        <p:spPr bwMode="gray">
          <a:xfrm>
            <a:off x="5346700" y="3541713"/>
            <a:ext cx="33338" cy="42862"/>
          </a:xfrm>
          <a:custGeom>
            <a:avLst/>
            <a:gdLst>
              <a:gd name="T0" fmla="*/ 2147483647 w 69"/>
              <a:gd name="T1" fmla="*/ 0 h 88"/>
              <a:gd name="T2" fmla="*/ 2147483647 w 69"/>
              <a:gd name="T3" fmla="*/ 2147483647 h 88"/>
              <a:gd name="T4" fmla="*/ 2147483647 w 69"/>
              <a:gd name="T5" fmla="*/ 2147483647 h 88"/>
              <a:gd name="T6" fmla="*/ 2147483647 w 69"/>
              <a:gd name="T7" fmla="*/ 2147483647 h 88"/>
              <a:gd name="T8" fmla="*/ 0 w 69"/>
              <a:gd name="T9" fmla="*/ 2147483647 h 88"/>
              <a:gd name="T10" fmla="*/ 2147483647 w 69"/>
              <a:gd name="T11" fmla="*/ 2147483647 h 88"/>
              <a:gd name="T12" fmla="*/ 2147483647 w 69"/>
              <a:gd name="T13" fmla="*/ 2147483647 h 88"/>
              <a:gd name="T14" fmla="*/ 2147483647 w 69"/>
              <a:gd name="T15" fmla="*/ 2147483647 h 88"/>
              <a:gd name="T16" fmla="*/ 2147483647 w 69"/>
              <a:gd name="T17" fmla="*/ 2147483647 h 88"/>
              <a:gd name="T18" fmla="*/ 2147483647 w 69"/>
              <a:gd name="T19" fmla="*/ 2147483647 h 88"/>
              <a:gd name="T20" fmla="*/ 2147483647 w 69"/>
              <a:gd name="T21" fmla="*/ 2147483647 h 88"/>
              <a:gd name="T22" fmla="*/ 2147483647 w 69"/>
              <a:gd name="T23" fmla="*/ 2147483647 h 88"/>
              <a:gd name="T24" fmla="*/ 2147483647 w 69"/>
              <a:gd name="T25" fmla="*/ 2147483647 h 88"/>
              <a:gd name="T26" fmla="*/ 2147483647 w 69"/>
              <a:gd name="T27" fmla="*/ 2147483647 h 88"/>
              <a:gd name="T28" fmla="*/ 2147483647 w 69"/>
              <a:gd name="T29" fmla="*/ 2147483647 h 88"/>
              <a:gd name="T30" fmla="*/ 2147483647 w 69"/>
              <a:gd name="T31" fmla="*/ 2147483647 h 88"/>
              <a:gd name="T32" fmla="*/ 2147483647 w 69"/>
              <a:gd name="T33" fmla="*/ 2147483647 h 88"/>
              <a:gd name="T34" fmla="*/ 2147483647 w 69"/>
              <a:gd name="T35" fmla="*/ 0 h 88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69"/>
              <a:gd name="T55" fmla="*/ 0 h 88"/>
              <a:gd name="T56" fmla="*/ 69 w 69"/>
              <a:gd name="T57" fmla="*/ 88 h 88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69" h="88">
                <a:moveTo>
                  <a:pt x="55" y="0"/>
                </a:moveTo>
                <a:lnTo>
                  <a:pt x="23" y="20"/>
                </a:lnTo>
                <a:lnTo>
                  <a:pt x="18" y="25"/>
                </a:lnTo>
                <a:lnTo>
                  <a:pt x="12" y="53"/>
                </a:lnTo>
                <a:lnTo>
                  <a:pt x="0" y="73"/>
                </a:lnTo>
                <a:lnTo>
                  <a:pt x="6" y="87"/>
                </a:lnTo>
                <a:lnTo>
                  <a:pt x="26" y="88"/>
                </a:lnTo>
                <a:lnTo>
                  <a:pt x="38" y="81"/>
                </a:lnTo>
                <a:lnTo>
                  <a:pt x="49" y="88"/>
                </a:lnTo>
                <a:lnTo>
                  <a:pt x="66" y="62"/>
                </a:lnTo>
                <a:lnTo>
                  <a:pt x="60" y="58"/>
                </a:lnTo>
                <a:lnTo>
                  <a:pt x="37" y="64"/>
                </a:lnTo>
                <a:lnTo>
                  <a:pt x="32" y="59"/>
                </a:lnTo>
                <a:lnTo>
                  <a:pt x="38" y="59"/>
                </a:lnTo>
                <a:lnTo>
                  <a:pt x="44" y="49"/>
                </a:lnTo>
                <a:lnTo>
                  <a:pt x="69" y="37"/>
                </a:lnTo>
                <a:lnTo>
                  <a:pt x="68" y="20"/>
                </a:lnTo>
                <a:lnTo>
                  <a:pt x="55" y="0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79" name="Freeform 168"/>
          <p:cNvSpPr>
            <a:spLocks noChangeAspect="1"/>
          </p:cNvSpPr>
          <p:nvPr/>
        </p:nvSpPr>
        <p:spPr bwMode="gray">
          <a:xfrm>
            <a:off x="5329238" y="3562350"/>
            <a:ext cx="228600" cy="303213"/>
          </a:xfrm>
          <a:custGeom>
            <a:avLst/>
            <a:gdLst>
              <a:gd name="T0" fmla="*/ 2147483647 w 472"/>
              <a:gd name="T1" fmla="*/ 2147483647 h 624"/>
              <a:gd name="T2" fmla="*/ 2147483647 w 472"/>
              <a:gd name="T3" fmla="*/ 2147483647 h 624"/>
              <a:gd name="T4" fmla="*/ 2147483647 w 472"/>
              <a:gd name="T5" fmla="*/ 2147483647 h 624"/>
              <a:gd name="T6" fmla="*/ 2147483647 w 472"/>
              <a:gd name="T7" fmla="*/ 2147483647 h 624"/>
              <a:gd name="T8" fmla="*/ 2147483647 w 472"/>
              <a:gd name="T9" fmla="*/ 2147483647 h 624"/>
              <a:gd name="T10" fmla="*/ 2147483647 w 472"/>
              <a:gd name="T11" fmla="*/ 2147483647 h 624"/>
              <a:gd name="T12" fmla="*/ 0 w 472"/>
              <a:gd name="T13" fmla="*/ 2147483647 h 624"/>
              <a:gd name="T14" fmla="*/ 0 w 472"/>
              <a:gd name="T15" fmla="*/ 2147483647 h 624"/>
              <a:gd name="T16" fmla="*/ 2147483647 w 472"/>
              <a:gd name="T17" fmla="*/ 2147483647 h 624"/>
              <a:gd name="T18" fmla="*/ 2147483647 w 472"/>
              <a:gd name="T19" fmla="*/ 2147483647 h 624"/>
              <a:gd name="T20" fmla="*/ 2147483647 w 472"/>
              <a:gd name="T21" fmla="*/ 2147483647 h 624"/>
              <a:gd name="T22" fmla="*/ 2147483647 w 472"/>
              <a:gd name="T23" fmla="*/ 2147483647 h 624"/>
              <a:gd name="T24" fmla="*/ 2147483647 w 472"/>
              <a:gd name="T25" fmla="*/ 2147483647 h 624"/>
              <a:gd name="T26" fmla="*/ 2147483647 w 472"/>
              <a:gd name="T27" fmla="*/ 2147483647 h 624"/>
              <a:gd name="T28" fmla="*/ 2147483647 w 472"/>
              <a:gd name="T29" fmla="*/ 2147483647 h 624"/>
              <a:gd name="T30" fmla="*/ 2147483647 w 472"/>
              <a:gd name="T31" fmla="*/ 2147483647 h 624"/>
              <a:gd name="T32" fmla="*/ 2147483647 w 472"/>
              <a:gd name="T33" fmla="*/ 2147483647 h 624"/>
              <a:gd name="T34" fmla="*/ 2147483647 w 472"/>
              <a:gd name="T35" fmla="*/ 2147483647 h 624"/>
              <a:gd name="T36" fmla="*/ 2147483647 w 472"/>
              <a:gd name="T37" fmla="*/ 2147483647 h 624"/>
              <a:gd name="T38" fmla="*/ 2147483647 w 472"/>
              <a:gd name="T39" fmla="*/ 2147483647 h 624"/>
              <a:gd name="T40" fmla="*/ 2147483647 w 472"/>
              <a:gd name="T41" fmla="*/ 0 h 624"/>
              <a:gd name="T42" fmla="*/ 2147483647 w 472"/>
              <a:gd name="T43" fmla="*/ 2147483647 h 624"/>
              <a:gd name="T44" fmla="*/ 2147483647 w 472"/>
              <a:gd name="T45" fmla="*/ 2147483647 h 624"/>
              <a:gd name="T46" fmla="*/ 2147483647 w 472"/>
              <a:gd name="T47" fmla="*/ 2147483647 h 624"/>
              <a:gd name="T48" fmla="*/ 2147483647 w 472"/>
              <a:gd name="T49" fmla="*/ 2147483647 h 624"/>
              <a:gd name="T50" fmla="*/ 2147483647 w 472"/>
              <a:gd name="T51" fmla="*/ 2147483647 h 624"/>
              <a:gd name="T52" fmla="*/ 2147483647 w 472"/>
              <a:gd name="T53" fmla="*/ 2147483647 h 624"/>
              <a:gd name="T54" fmla="*/ 2147483647 w 472"/>
              <a:gd name="T55" fmla="*/ 2147483647 h 624"/>
              <a:gd name="T56" fmla="*/ 2147483647 w 472"/>
              <a:gd name="T57" fmla="*/ 2147483647 h 624"/>
              <a:gd name="T58" fmla="*/ 2147483647 w 472"/>
              <a:gd name="T59" fmla="*/ 2147483647 h 624"/>
              <a:gd name="T60" fmla="*/ 2147483647 w 472"/>
              <a:gd name="T61" fmla="*/ 2147483647 h 624"/>
              <a:gd name="T62" fmla="*/ 2147483647 w 472"/>
              <a:gd name="T63" fmla="*/ 2147483647 h 62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472"/>
              <a:gd name="T97" fmla="*/ 0 h 624"/>
              <a:gd name="T98" fmla="*/ 472 w 472"/>
              <a:gd name="T99" fmla="*/ 624 h 624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472" h="624">
                <a:moveTo>
                  <a:pt x="316" y="192"/>
                </a:moveTo>
                <a:lnTo>
                  <a:pt x="283" y="223"/>
                </a:lnTo>
                <a:lnTo>
                  <a:pt x="251" y="256"/>
                </a:lnTo>
                <a:lnTo>
                  <a:pt x="219" y="288"/>
                </a:lnTo>
                <a:lnTo>
                  <a:pt x="186" y="320"/>
                </a:lnTo>
                <a:lnTo>
                  <a:pt x="132" y="320"/>
                </a:lnTo>
                <a:lnTo>
                  <a:pt x="107" y="333"/>
                </a:lnTo>
                <a:lnTo>
                  <a:pt x="85" y="349"/>
                </a:lnTo>
                <a:lnTo>
                  <a:pt x="58" y="357"/>
                </a:lnTo>
                <a:lnTo>
                  <a:pt x="55" y="359"/>
                </a:lnTo>
                <a:lnTo>
                  <a:pt x="41" y="370"/>
                </a:lnTo>
                <a:lnTo>
                  <a:pt x="22" y="399"/>
                </a:lnTo>
                <a:lnTo>
                  <a:pt x="0" y="420"/>
                </a:lnTo>
                <a:lnTo>
                  <a:pt x="0" y="463"/>
                </a:lnTo>
                <a:lnTo>
                  <a:pt x="0" y="505"/>
                </a:lnTo>
                <a:lnTo>
                  <a:pt x="0" y="547"/>
                </a:lnTo>
                <a:lnTo>
                  <a:pt x="0" y="590"/>
                </a:lnTo>
                <a:lnTo>
                  <a:pt x="25" y="624"/>
                </a:lnTo>
                <a:lnTo>
                  <a:pt x="68" y="574"/>
                </a:lnTo>
                <a:lnTo>
                  <a:pt x="73" y="556"/>
                </a:lnTo>
                <a:lnTo>
                  <a:pt x="87" y="556"/>
                </a:lnTo>
                <a:lnTo>
                  <a:pt x="118" y="522"/>
                </a:lnTo>
                <a:lnTo>
                  <a:pt x="181" y="466"/>
                </a:lnTo>
                <a:lnTo>
                  <a:pt x="222" y="447"/>
                </a:lnTo>
                <a:lnTo>
                  <a:pt x="249" y="415"/>
                </a:lnTo>
                <a:lnTo>
                  <a:pt x="305" y="364"/>
                </a:lnTo>
                <a:lnTo>
                  <a:pt x="333" y="319"/>
                </a:lnTo>
                <a:lnTo>
                  <a:pt x="363" y="290"/>
                </a:lnTo>
                <a:lnTo>
                  <a:pt x="376" y="249"/>
                </a:lnTo>
                <a:lnTo>
                  <a:pt x="404" y="200"/>
                </a:lnTo>
                <a:lnTo>
                  <a:pt x="407" y="184"/>
                </a:lnTo>
                <a:lnTo>
                  <a:pt x="418" y="173"/>
                </a:lnTo>
                <a:lnTo>
                  <a:pt x="446" y="132"/>
                </a:lnTo>
                <a:lnTo>
                  <a:pt x="454" y="78"/>
                </a:lnTo>
                <a:lnTo>
                  <a:pt x="472" y="76"/>
                </a:lnTo>
                <a:lnTo>
                  <a:pt x="466" y="70"/>
                </a:lnTo>
                <a:lnTo>
                  <a:pt x="460" y="71"/>
                </a:lnTo>
                <a:lnTo>
                  <a:pt x="464" y="65"/>
                </a:lnTo>
                <a:lnTo>
                  <a:pt x="466" y="41"/>
                </a:lnTo>
                <a:lnTo>
                  <a:pt x="461" y="29"/>
                </a:lnTo>
                <a:lnTo>
                  <a:pt x="469" y="7"/>
                </a:lnTo>
                <a:lnTo>
                  <a:pt x="444" y="0"/>
                </a:lnTo>
                <a:lnTo>
                  <a:pt x="417" y="17"/>
                </a:lnTo>
                <a:lnTo>
                  <a:pt x="376" y="25"/>
                </a:lnTo>
                <a:lnTo>
                  <a:pt x="363" y="31"/>
                </a:lnTo>
                <a:lnTo>
                  <a:pt x="346" y="29"/>
                </a:lnTo>
                <a:lnTo>
                  <a:pt x="330" y="37"/>
                </a:lnTo>
                <a:lnTo>
                  <a:pt x="288" y="39"/>
                </a:lnTo>
                <a:lnTo>
                  <a:pt x="254" y="58"/>
                </a:lnTo>
                <a:lnTo>
                  <a:pt x="217" y="50"/>
                </a:lnTo>
                <a:lnTo>
                  <a:pt x="181" y="71"/>
                </a:lnTo>
                <a:lnTo>
                  <a:pt x="158" y="71"/>
                </a:lnTo>
                <a:lnTo>
                  <a:pt x="141" y="63"/>
                </a:lnTo>
                <a:lnTo>
                  <a:pt x="104" y="20"/>
                </a:lnTo>
                <a:lnTo>
                  <a:pt x="87" y="46"/>
                </a:lnTo>
                <a:lnTo>
                  <a:pt x="84" y="56"/>
                </a:lnTo>
                <a:lnTo>
                  <a:pt x="87" y="74"/>
                </a:lnTo>
                <a:lnTo>
                  <a:pt x="118" y="112"/>
                </a:lnTo>
                <a:lnTo>
                  <a:pt x="140" y="130"/>
                </a:lnTo>
                <a:lnTo>
                  <a:pt x="175" y="144"/>
                </a:lnTo>
                <a:lnTo>
                  <a:pt x="211" y="156"/>
                </a:lnTo>
                <a:lnTo>
                  <a:pt x="245" y="167"/>
                </a:lnTo>
                <a:lnTo>
                  <a:pt x="280" y="180"/>
                </a:lnTo>
                <a:lnTo>
                  <a:pt x="324" y="180"/>
                </a:lnTo>
                <a:lnTo>
                  <a:pt x="316" y="192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80" name="Freeform 169"/>
          <p:cNvSpPr>
            <a:spLocks noChangeAspect="1"/>
          </p:cNvSpPr>
          <p:nvPr/>
        </p:nvSpPr>
        <p:spPr bwMode="gray">
          <a:xfrm>
            <a:off x="5149850" y="3495675"/>
            <a:ext cx="336550" cy="254000"/>
          </a:xfrm>
          <a:custGeom>
            <a:avLst/>
            <a:gdLst>
              <a:gd name="T0" fmla="*/ 2147483647 w 693"/>
              <a:gd name="T1" fmla="*/ 2147483647 h 527"/>
              <a:gd name="T2" fmla="*/ 2147483647 w 693"/>
              <a:gd name="T3" fmla="*/ 2147483647 h 527"/>
              <a:gd name="T4" fmla="*/ 2147483647 w 693"/>
              <a:gd name="T5" fmla="*/ 2147483647 h 527"/>
              <a:gd name="T6" fmla="*/ 2147483647 w 693"/>
              <a:gd name="T7" fmla="*/ 2147483647 h 527"/>
              <a:gd name="T8" fmla="*/ 2147483647 w 693"/>
              <a:gd name="T9" fmla="*/ 2147483647 h 527"/>
              <a:gd name="T10" fmla="*/ 2147483647 w 693"/>
              <a:gd name="T11" fmla="*/ 2147483647 h 527"/>
              <a:gd name="T12" fmla="*/ 2147483647 w 693"/>
              <a:gd name="T13" fmla="*/ 2147483647 h 527"/>
              <a:gd name="T14" fmla="*/ 2147483647 w 693"/>
              <a:gd name="T15" fmla="*/ 2147483647 h 527"/>
              <a:gd name="T16" fmla="*/ 2147483647 w 693"/>
              <a:gd name="T17" fmla="*/ 2147483647 h 527"/>
              <a:gd name="T18" fmla="*/ 2147483647 w 693"/>
              <a:gd name="T19" fmla="*/ 2147483647 h 527"/>
              <a:gd name="T20" fmla="*/ 2147483647 w 693"/>
              <a:gd name="T21" fmla="*/ 2147483647 h 527"/>
              <a:gd name="T22" fmla="*/ 2147483647 w 693"/>
              <a:gd name="T23" fmla="*/ 2147483647 h 527"/>
              <a:gd name="T24" fmla="*/ 0 w 693"/>
              <a:gd name="T25" fmla="*/ 2147483647 h 527"/>
              <a:gd name="T26" fmla="*/ 2147483647 w 693"/>
              <a:gd name="T27" fmla="*/ 2147483647 h 527"/>
              <a:gd name="T28" fmla="*/ 2147483647 w 693"/>
              <a:gd name="T29" fmla="*/ 2147483647 h 527"/>
              <a:gd name="T30" fmla="*/ 2147483647 w 693"/>
              <a:gd name="T31" fmla="*/ 2147483647 h 527"/>
              <a:gd name="T32" fmla="*/ 2147483647 w 693"/>
              <a:gd name="T33" fmla="*/ 2147483647 h 527"/>
              <a:gd name="T34" fmla="*/ 2147483647 w 693"/>
              <a:gd name="T35" fmla="*/ 2147483647 h 527"/>
              <a:gd name="T36" fmla="*/ 2147483647 w 693"/>
              <a:gd name="T37" fmla="*/ 2147483647 h 527"/>
              <a:gd name="T38" fmla="*/ 2147483647 w 693"/>
              <a:gd name="T39" fmla="*/ 2147483647 h 527"/>
              <a:gd name="T40" fmla="*/ 2147483647 w 693"/>
              <a:gd name="T41" fmla="*/ 2147483647 h 527"/>
              <a:gd name="T42" fmla="*/ 2147483647 w 693"/>
              <a:gd name="T43" fmla="*/ 0 h 527"/>
              <a:gd name="T44" fmla="*/ 2147483647 w 693"/>
              <a:gd name="T45" fmla="*/ 2147483647 h 527"/>
              <a:gd name="T46" fmla="*/ 2147483647 w 693"/>
              <a:gd name="T47" fmla="*/ 2147483647 h 527"/>
              <a:gd name="T48" fmla="*/ 2147483647 w 693"/>
              <a:gd name="T49" fmla="*/ 2147483647 h 527"/>
              <a:gd name="T50" fmla="*/ 2147483647 w 693"/>
              <a:gd name="T51" fmla="*/ 2147483647 h 527"/>
              <a:gd name="T52" fmla="*/ 2147483647 w 693"/>
              <a:gd name="T53" fmla="*/ 2147483647 h 527"/>
              <a:gd name="T54" fmla="*/ 2147483647 w 693"/>
              <a:gd name="T55" fmla="*/ 2147483647 h 527"/>
              <a:gd name="T56" fmla="*/ 2147483647 w 693"/>
              <a:gd name="T57" fmla="*/ 2147483647 h 527"/>
              <a:gd name="T58" fmla="*/ 2147483647 w 693"/>
              <a:gd name="T59" fmla="*/ 2147483647 h 527"/>
              <a:gd name="T60" fmla="*/ 2147483647 w 693"/>
              <a:gd name="T61" fmla="*/ 2147483647 h 527"/>
              <a:gd name="T62" fmla="*/ 2147483647 w 693"/>
              <a:gd name="T63" fmla="*/ 2147483647 h 527"/>
              <a:gd name="T64" fmla="*/ 2147483647 w 693"/>
              <a:gd name="T65" fmla="*/ 2147483647 h 527"/>
              <a:gd name="T66" fmla="*/ 2147483647 w 693"/>
              <a:gd name="T67" fmla="*/ 2147483647 h 527"/>
              <a:gd name="T68" fmla="*/ 2147483647 w 693"/>
              <a:gd name="T69" fmla="*/ 2147483647 h 527"/>
              <a:gd name="T70" fmla="*/ 2147483647 w 693"/>
              <a:gd name="T71" fmla="*/ 2147483647 h 527"/>
              <a:gd name="T72" fmla="*/ 2147483647 w 693"/>
              <a:gd name="T73" fmla="*/ 2147483647 h 527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693"/>
              <a:gd name="T112" fmla="*/ 0 h 527"/>
              <a:gd name="T113" fmla="*/ 693 w 693"/>
              <a:gd name="T114" fmla="*/ 527 h 527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693" h="527">
                <a:moveTo>
                  <a:pt x="685" y="331"/>
                </a:moveTo>
                <a:lnTo>
                  <a:pt x="652" y="362"/>
                </a:lnTo>
                <a:lnTo>
                  <a:pt x="620" y="395"/>
                </a:lnTo>
                <a:lnTo>
                  <a:pt x="588" y="427"/>
                </a:lnTo>
                <a:lnTo>
                  <a:pt x="555" y="459"/>
                </a:lnTo>
                <a:lnTo>
                  <a:pt x="501" y="459"/>
                </a:lnTo>
                <a:lnTo>
                  <a:pt x="476" y="472"/>
                </a:lnTo>
                <a:lnTo>
                  <a:pt x="454" y="488"/>
                </a:lnTo>
                <a:lnTo>
                  <a:pt x="427" y="496"/>
                </a:lnTo>
                <a:lnTo>
                  <a:pt x="424" y="498"/>
                </a:lnTo>
                <a:lnTo>
                  <a:pt x="410" y="509"/>
                </a:lnTo>
                <a:lnTo>
                  <a:pt x="386" y="509"/>
                </a:lnTo>
                <a:lnTo>
                  <a:pt x="359" y="495"/>
                </a:lnTo>
                <a:lnTo>
                  <a:pt x="327" y="503"/>
                </a:lnTo>
                <a:lnTo>
                  <a:pt x="314" y="517"/>
                </a:lnTo>
                <a:lnTo>
                  <a:pt x="293" y="527"/>
                </a:lnTo>
                <a:lnTo>
                  <a:pt x="273" y="527"/>
                </a:lnTo>
                <a:lnTo>
                  <a:pt x="224" y="515"/>
                </a:lnTo>
                <a:lnTo>
                  <a:pt x="168" y="480"/>
                </a:lnTo>
                <a:lnTo>
                  <a:pt x="131" y="476"/>
                </a:lnTo>
                <a:lnTo>
                  <a:pt x="133" y="444"/>
                </a:lnTo>
                <a:lnTo>
                  <a:pt x="99" y="430"/>
                </a:lnTo>
                <a:lnTo>
                  <a:pt x="78" y="382"/>
                </a:lnTo>
                <a:lnTo>
                  <a:pt x="52" y="365"/>
                </a:lnTo>
                <a:lnTo>
                  <a:pt x="40" y="340"/>
                </a:lnTo>
                <a:lnTo>
                  <a:pt x="0" y="325"/>
                </a:lnTo>
                <a:lnTo>
                  <a:pt x="9" y="315"/>
                </a:lnTo>
                <a:lnTo>
                  <a:pt x="9" y="302"/>
                </a:lnTo>
                <a:lnTo>
                  <a:pt x="35" y="300"/>
                </a:lnTo>
                <a:lnTo>
                  <a:pt x="51" y="292"/>
                </a:lnTo>
                <a:lnTo>
                  <a:pt x="57" y="204"/>
                </a:lnTo>
                <a:lnTo>
                  <a:pt x="60" y="205"/>
                </a:lnTo>
                <a:lnTo>
                  <a:pt x="68" y="190"/>
                </a:lnTo>
                <a:lnTo>
                  <a:pt x="86" y="181"/>
                </a:lnTo>
                <a:lnTo>
                  <a:pt x="95" y="148"/>
                </a:lnTo>
                <a:lnTo>
                  <a:pt x="125" y="105"/>
                </a:lnTo>
                <a:lnTo>
                  <a:pt x="145" y="90"/>
                </a:lnTo>
                <a:lnTo>
                  <a:pt x="161" y="41"/>
                </a:lnTo>
                <a:lnTo>
                  <a:pt x="161" y="28"/>
                </a:lnTo>
                <a:lnTo>
                  <a:pt x="181" y="29"/>
                </a:lnTo>
                <a:lnTo>
                  <a:pt x="187" y="20"/>
                </a:lnTo>
                <a:lnTo>
                  <a:pt x="193" y="20"/>
                </a:lnTo>
                <a:lnTo>
                  <a:pt x="205" y="37"/>
                </a:lnTo>
                <a:lnTo>
                  <a:pt x="221" y="0"/>
                </a:lnTo>
                <a:lnTo>
                  <a:pt x="238" y="11"/>
                </a:lnTo>
                <a:lnTo>
                  <a:pt x="246" y="23"/>
                </a:lnTo>
                <a:lnTo>
                  <a:pt x="267" y="19"/>
                </a:lnTo>
                <a:lnTo>
                  <a:pt x="272" y="12"/>
                </a:lnTo>
                <a:lnTo>
                  <a:pt x="283" y="20"/>
                </a:lnTo>
                <a:lnTo>
                  <a:pt x="297" y="15"/>
                </a:lnTo>
                <a:lnTo>
                  <a:pt x="314" y="23"/>
                </a:lnTo>
                <a:lnTo>
                  <a:pt x="327" y="20"/>
                </a:lnTo>
                <a:lnTo>
                  <a:pt x="352" y="34"/>
                </a:lnTo>
                <a:lnTo>
                  <a:pt x="374" y="60"/>
                </a:lnTo>
                <a:lnTo>
                  <a:pt x="399" y="79"/>
                </a:lnTo>
                <a:lnTo>
                  <a:pt x="408" y="97"/>
                </a:lnTo>
                <a:lnTo>
                  <a:pt x="430" y="117"/>
                </a:lnTo>
                <a:lnTo>
                  <a:pt x="425" y="122"/>
                </a:lnTo>
                <a:lnTo>
                  <a:pt x="419" y="150"/>
                </a:lnTo>
                <a:lnTo>
                  <a:pt x="407" y="170"/>
                </a:lnTo>
                <a:lnTo>
                  <a:pt x="413" y="184"/>
                </a:lnTo>
                <a:lnTo>
                  <a:pt x="433" y="185"/>
                </a:lnTo>
                <a:lnTo>
                  <a:pt x="445" y="178"/>
                </a:lnTo>
                <a:lnTo>
                  <a:pt x="456" y="185"/>
                </a:lnTo>
                <a:lnTo>
                  <a:pt x="453" y="195"/>
                </a:lnTo>
                <a:lnTo>
                  <a:pt x="456" y="213"/>
                </a:lnTo>
                <a:lnTo>
                  <a:pt x="487" y="251"/>
                </a:lnTo>
                <a:lnTo>
                  <a:pt x="509" y="269"/>
                </a:lnTo>
                <a:lnTo>
                  <a:pt x="544" y="283"/>
                </a:lnTo>
                <a:lnTo>
                  <a:pt x="580" y="295"/>
                </a:lnTo>
                <a:lnTo>
                  <a:pt x="614" y="306"/>
                </a:lnTo>
                <a:lnTo>
                  <a:pt x="649" y="319"/>
                </a:lnTo>
                <a:lnTo>
                  <a:pt x="693" y="319"/>
                </a:lnTo>
                <a:lnTo>
                  <a:pt x="685" y="331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81" name="Freeform 170"/>
          <p:cNvSpPr>
            <a:spLocks noChangeAspect="1" noEditPoints="1"/>
          </p:cNvSpPr>
          <p:nvPr/>
        </p:nvSpPr>
        <p:spPr bwMode="gray">
          <a:xfrm>
            <a:off x="5226050" y="3419475"/>
            <a:ext cx="147638" cy="131763"/>
          </a:xfrm>
          <a:custGeom>
            <a:avLst/>
            <a:gdLst>
              <a:gd name="T0" fmla="*/ 2147483647 w 304"/>
              <a:gd name="T1" fmla="*/ 0 h 272"/>
              <a:gd name="T2" fmla="*/ 2147483647 w 304"/>
              <a:gd name="T3" fmla="*/ 2147483647 h 272"/>
              <a:gd name="T4" fmla="*/ 2147483647 w 304"/>
              <a:gd name="T5" fmla="*/ 2147483647 h 272"/>
              <a:gd name="T6" fmla="*/ 2147483647 w 304"/>
              <a:gd name="T7" fmla="*/ 2147483647 h 272"/>
              <a:gd name="T8" fmla="*/ 2147483647 w 304"/>
              <a:gd name="T9" fmla="*/ 2147483647 h 272"/>
              <a:gd name="T10" fmla="*/ 0 w 304"/>
              <a:gd name="T11" fmla="*/ 2147483647 h 272"/>
              <a:gd name="T12" fmla="*/ 2147483647 w 304"/>
              <a:gd name="T13" fmla="*/ 2147483647 h 272"/>
              <a:gd name="T14" fmla="*/ 2147483647 w 304"/>
              <a:gd name="T15" fmla="*/ 2147483647 h 272"/>
              <a:gd name="T16" fmla="*/ 2147483647 w 304"/>
              <a:gd name="T17" fmla="*/ 2147483647 h 272"/>
              <a:gd name="T18" fmla="*/ 2147483647 w 304"/>
              <a:gd name="T19" fmla="*/ 2147483647 h 272"/>
              <a:gd name="T20" fmla="*/ 2147483647 w 304"/>
              <a:gd name="T21" fmla="*/ 2147483647 h 272"/>
              <a:gd name="T22" fmla="*/ 2147483647 w 304"/>
              <a:gd name="T23" fmla="*/ 2147483647 h 272"/>
              <a:gd name="T24" fmla="*/ 2147483647 w 304"/>
              <a:gd name="T25" fmla="*/ 2147483647 h 272"/>
              <a:gd name="T26" fmla="*/ 2147483647 w 304"/>
              <a:gd name="T27" fmla="*/ 2147483647 h 272"/>
              <a:gd name="T28" fmla="*/ 2147483647 w 304"/>
              <a:gd name="T29" fmla="*/ 2147483647 h 272"/>
              <a:gd name="T30" fmla="*/ 2147483647 w 304"/>
              <a:gd name="T31" fmla="*/ 2147483647 h 272"/>
              <a:gd name="T32" fmla="*/ 2147483647 w 304"/>
              <a:gd name="T33" fmla="*/ 2147483647 h 272"/>
              <a:gd name="T34" fmla="*/ 2147483647 w 304"/>
              <a:gd name="T35" fmla="*/ 2147483647 h 272"/>
              <a:gd name="T36" fmla="*/ 2147483647 w 304"/>
              <a:gd name="T37" fmla="*/ 2147483647 h 272"/>
              <a:gd name="T38" fmla="*/ 2147483647 w 304"/>
              <a:gd name="T39" fmla="*/ 2147483647 h 272"/>
              <a:gd name="T40" fmla="*/ 2147483647 w 304"/>
              <a:gd name="T41" fmla="*/ 2147483647 h 272"/>
              <a:gd name="T42" fmla="*/ 2147483647 w 304"/>
              <a:gd name="T43" fmla="*/ 2147483647 h 272"/>
              <a:gd name="T44" fmla="*/ 2147483647 w 304"/>
              <a:gd name="T45" fmla="*/ 2147483647 h 272"/>
              <a:gd name="T46" fmla="*/ 2147483647 w 304"/>
              <a:gd name="T47" fmla="*/ 2147483647 h 272"/>
              <a:gd name="T48" fmla="*/ 2147483647 w 304"/>
              <a:gd name="T49" fmla="*/ 2147483647 h 272"/>
              <a:gd name="T50" fmla="*/ 2147483647 w 304"/>
              <a:gd name="T51" fmla="*/ 2147483647 h 272"/>
              <a:gd name="T52" fmla="*/ 2147483647 w 304"/>
              <a:gd name="T53" fmla="*/ 2147483647 h 272"/>
              <a:gd name="T54" fmla="*/ 2147483647 w 304"/>
              <a:gd name="T55" fmla="*/ 2147483647 h 272"/>
              <a:gd name="T56" fmla="*/ 2147483647 w 304"/>
              <a:gd name="T57" fmla="*/ 2147483647 h 272"/>
              <a:gd name="T58" fmla="*/ 2147483647 w 304"/>
              <a:gd name="T59" fmla="*/ 2147483647 h 272"/>
              <a:gd name="T60" fmla="*/ 2147483647 w 304"/>
              <a:gd name="T61" fmla="*/ 2147483647 h 272"/>
              <a:gd name="T62" fmla="*/ 2147483647 w 304"/>
              <a:gd name="T63" fmla="*/ 2147483647 h 272"/>
              <a:gd name="T64" fmla="*/ 2147483647 w 304"/>
              <a:gd name="T65" fmla="*/ 2147483647 h 272"/>
              <a:gd name="T66" fmla="*/ 2147483647 w 304"/>
              <a:gd name="T67" fmla="*/ 2147483647 h 272"/>
              <a:gd name="T68" fmla="*/ 2147483647 w 304"/>
              <a:gd name="T69" fmla="*/ 2147483647 h 272"/>
              <a:gd name="T70" fmla="*/ 2147483647 w 304"/>
              <a:gd name="T71" fmla="*/ 2147483647 h 272"/>
              <a:gd name="T72" fmla="*/ 2147483647 w 304"/>
              <a:gd name="T73" fmla="*/ 2147483647 h 272"/>
              <a:gd name="T74" fmla="*/ 2147483647 w 304"/>
              <a:gd name="T75" fmla="*/ 2147483647 h 272"/>
              <a:gd name="T76" fmla="*/ 2147483647 w 304"/>
              <a:gd name="T77" fmla="*/ 2147483647 h 272"/>
              <a:gd name="T78" fmla="*/ 2147483647 w 304"/>
              <a:gd name="T79" fmla="*/ 2147483647 h 272"/>
              <a:gd name="T80" fmla="*/ 2147483647 w 304"/>
              <a:gd name="T81" fmla="*/ 2147483647 h 272"/>
              <a:gd name="T82" fmla="*/ 2147483647 w 304"/>
              <a:gd name="T83" fmla="*/ 2147483647 h 272"/>
              <a:gd name="T84" fmla="*/ 2147483647 w 304"/>
              <a:gd name="T85" fmla="*/ 2147483647 h 272"/>
              <a:gd name="T86" fmla="*/ 2147483647 w 304"/>
              <a:gd name="T87" fmla="*/ 2147483647 h 272"/>
              <a:gd name="T88" fmla="*/ 2147483647 w 304"/>
              <a:gd name="T89" fmla="*/ 2147483647 h 272"/>
              <a:gd name="T90" fmla="*/ 2147483647 w 304"/>
              <a:gd name="T91" fmla="*/ 0 h 272"/>
              <a:gd name="T92" fmla="*/ 2147483647 w 304"/>
              <a:gd name="T93" fmla="*/ 2147483647 h 272"/>
              <a:gd name="T94" fmla="*/ 2147483647 w 304"/>
              <a:gd name="T95" fmla="*/ 2147483647 h 272"/>
              <a:gd name="T96" fmla="*/ 2147483647 w 304"/>
              <a:gd name="T97" fmla="*/ 2147483647 h 272"/>
              <a:gd name="T98" fmla="*/ 2147483647 w 304"/>
              <a:gd name="T99" fmla="*/ 2147483647 h 272"/>
              <a:gd name="T100" fmla="*/ 2147483647 w 304"/>
              <a:gd name="T101" fmla="*/ 2147483647 h 272"/>
              <a:gd name="T102" fmla="*/ 2147483647 w 304"/>
              <a:gd name="T103" fmla="*/ 2147483647 h 272"/>
              <a:gd name="T104" fmla="*/ 2147483647 w 304"/>
              <a:gd name="T105" fmla="*/ 2147483647 h 272"/>
              <a:gd name="T106" fmla="*/ 2147483647 w 304"/>
              <a:gd name="T107" fmla="*/ 2147483647 h 272"/>
              <a:gd name="T108" fmla="*/ 2147483647 w 304"/>
              <a:gd name="T109" fmla="*/ 2147483647 h 272"/>
              <a:gd name="T110" fmla="*/ 2147483647 w 304"/>
              <a:gd name="T111" fmla="*/ 2147483647 h 272"/>
              <a:gd name="T112" fmla="*/ 2147483647 w 304"/>
              <a:gd name="T113" fmla="*/ 2147483647 h 272"/>
              <a:gd name="T114" fmla="*/ 2147483647 w 304"/>
              <a:gd name="T115" fmla="*/ 2147483647 h 272"/>
              <a:gd name="T116" fmla="*/ 2147483647 w 304"/>
              <a:gd name="T117" fmla="*/ 2147483647 h 272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304"/>
              <a:gd name="T178" fmla="*/ 0 h 272"/>
              <a:gd name="T179" fmla="*/ 304 w 304"/>
              <a:gd name="T180" fmla="*/ 272 h 272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304" h="272">
                <a:moveTo>
                  <a:pt x="93" y="0"/>
                </a:moveTo>
                <a:lnTo>
                  <a:pt x="85" y="22"/>
                </a:lnTo>
                <a:lnTo>
                  <a:pt x="49" y="37"/>
                </a:lnTo>
                <a:lnTo>
                  <a:pt x="38" y="47"/>
                </a:lnTo>
                <a:lnTo>
                  <a:pt x="27" y="48"/>
                </a:lnTo>
                <a:lnTo>
                  <a:pt x="0" y="152"/>
                </a:lnTo>
                <a:lnTo>
                  <a:pt x="3" y="183"/>
                </a:lnTo>
                <a:lnTo>
                  <a:pt x="23" y="184"/>
                </a:lnTo>
                <a:lnTo>
                  <a:pt x="29" y="175"/>
                </a:lnTo>
                <a:lnTo>
                  <a:pt x="35" y="175"/>
                </a:lnTo>
                <a:lnTo>
                  <a:pt x="47" y="192"/>
                </a:lnTo>
                <a:lnTo>
                  <a:pt x="63" y="155"/>
                </a:lnTo>
                <a:lnTo>
                  <a:pt x="80" y="166"/>
                </a:lnTo>
                <a:lnTo>
                  <a:pt x="88" y="178"/>
                </a:lnTo>
                <a:lnTo>
                  <a:pt x="109" y="174"/>
                </a:lnTo>
                <a:lnTo>
                  <a:pt x="114" y="167"/>
                </a:lnTo>
                <a:lnTo>
                  <a:pt x="125" y="175"/>
                </a:lnTo>
                <a:lnTo>
                  <a:pt x="139" y="170"/>
                </a:lnTo>
                <a:lnTo>
                  <a:pt x="156" y="178"/>
                </a:lnTo>
                <a:lnTo>
                  <a:pt x="169" y="175"/>
                </a:lnTo>
                <a:lnTo>
                  <a:pt x="194" y="189"/>
                </a:lnTo>
                <a:lnTo>
                  <a:pt x="216" y="215"/>
                </a:lnTo>
                <a:lnTo>
                  <a:pt x="241" y="234"/>
                </a:lnTo>
                <a:lnTo>
                  <a:pt x="250" y="252"/>
                </a:lnTo>
                <a:lnTo>
                  <a:pt x="272" y="272"/>
                </a:lnTo>
                <a:lnTo>
                  <a:pt x="304" y="252"/>
                </a:lnTo>
                <a:lnTo>
                  <a:pt x="276" y="234"/>
                </a:lnTo>
                <a:lnTo>
                  <a:pt x="267" y="217"/>
                </a:lnTo>
                <a:lnTo>
                  <a:pt x="259" y="213"/>
                </a:lnTo>
                <a:lnTo>
                  <a:pt x="253" y="203"/>
                </a:lnTo>
                <a:lnTo>
                  <a:pt x="242" y="200"/>
                </a:lnTo>
                <a:lnTo>
                  <a:pt x="222" y="169"/>
                </a:lnTo>
                <a:lnTo>
                  <a:pt x="199" y="162"/>
                </a:lnTo>
                <a:lnTo>
                  <a:pt x="186" y="150"/>
                </a:lnTo>
                <a:lnTo>
                  <a:pt x="173" y="152"/>
                </a:lnTo>
                <a:lnTo>
                  <a:pt x="164" y="141"/>
                </a:lnTo>
                <a:lnTo>
                  <a:pt x="165" y="130"/>
                </a:lnTo>
                <a:lnTo>
                  <a:pt x="159" y="127"/>
                </a:lnTo>
                <a:lnTo>
                  <a:pt x="154" y="130"/>
                </a:lnTo>
                <a:lnTo>
                  <a:pt x="156" y="142"/>
                </a:lnTo>
                <a:lnTo>
                  <a:pt x="148" y="141"/>
                </a:lnTo>
                <a:lnTo>
                  <a:pt x="143" y="124"/>
                </a:lnTo>
                <a:lnTo>
                  <a:pt x="137" y="119"/>
                </a:lnTo>
                <a:lnTo>
                  <a:pt x="126" y="101"/>
                </a:lnTo>
                <a:lnTo>
                  <a:pt x="109" y="27"/>
                </a:lnTo>
                <a:lnTo>
                  <a:pt x="93" y="0"/>
                </a:lnTo>
                <a:close/>
                <a:moveTo>
                  <a:pt x="173" y="115"/>
                </a:moveTo>
                <a:lnTo>
                  <a:pt x="164" y="108"/>
                </a:lnTo>
                <a:lnTo>
                  <a:pt x="157" y="111"/>
                </a:lnTo>
                <a:lnTo>
                  <a:pt x="162" y="113"/>
                </a:lnTo>
                <a:lnTo>
                  <a:pt x="164" y="116"/>
                </a:lnTo>
                <a:lnTo>
                  <a:pt x="159" y="116"/>
                </a:lnTo>
                <a:lnTo>
                  <a:pt x="162" y="119"/>
                </a:lnTo>
                <a:lnTo>
                  <a:pt x="179" y="121"/>
                </a:lnTo>
                <a:lnTo>
                  <a:pt x="173" y="115"/>
                </a:lnTo>
                <a:close/>
                <a:moveTo>
                  <a:pt x="164" y="96"/>
                </a:moveTo>
                <a:lnTo>
                  <a:pt x="160" y="99"/>
                </a:lnTo>
                <a:lnTo>
                  <a:pt x="165" y="102"/>
                </a:lnTo>
                <a:lnTo>
                  <a:pt x="164" y="96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82" name="Freeform 171"/>
          <p:cNvSpPr>
            <a:spLocks noChangeAspect="1" noEditPoints="1"/>
          </p:cNvSpPr>
          <p:nvPr/>
        </p:nvSpPr>
        <p:spPr bwMode="gray">
          <a:xfrm>
            <a:off x="3840163" y="3440113"/>
            <a:ext cx="58737" cy="57150"/>
          </a:xfrm>
          <a:custGeom>
            <a:avLst/>
            <a:gdLst>
              <a:gd name="T0" fmla="*/ 2147483647 w 122"/>
              <a:gd name="T1" fmla="*/ 0 h 114"/>
              <a:gd name="T2" fmla="*/ 0 w 122"/>
              <a:gd name="T3" fmla="*/ 2147483647 h 114"/>
              <a:gd name="T4" fmla="*/ 2147483647 w 122"/>
              <a:gd name="T5" fmla="*/ 2147483647 h 114"/>
              <a:gd name="T6" fmla="*/ 2147483647 w 122"/>
              <a:gd name="T7" fmla="*/ 2147483647 h 114"/>
              <a:gd name="T8" fmla="*/ 2147483647 w 122"/>
              <a:gd name="T9" fmla="*/ 0 h 114"/>
              <a:gd name="T10" fmla="*/ 2147483647 w 122"/>
              <a:gd name="T11" fmla="*/ 2147483647 h 114"/>
              <a:gd name="T12" fmla="*/ 2147483647 w 122"/>
              <a:gd name="T13" fmla="*/ 2147483647 h 114"/>
              <a:gd name="T14" fmla="*/ 2147483647 w 122"/>
              <a:gd name="T15" fmla="*/ 2147483647 h 114"/>
              <a:gd name="T16" fmla="*/ 2147483647 w 122"/>
              <a:gd name="T17" fmla="*/ 2147483647 h 114"/>
              <a:gd name="T18" fmla="*/ 2147483647 w 122"/>
              <a:gd name="T19" fmla="*/ 2147483647 h 114"/>
              <a:gd name="T20" fmla="*/ 2147483647 w 122"/>
              <a:gd name="T21" fmla="*/ 2147483647 h 114"/>
              <a:gd name="T22" fmla="*/ 2147483647 w 122"/>
              <a:gd name="T23" fmla="*/ 2147483647 h 114"/>
              <a:gd name="T24" fmla="*/ 2147483647 w 122"/>
              <a:gd name="T25" fmla="*/ 2147483647 h 114"/>
              <a:gd name="T26" fmla="*/ 2147483647 w 122"/>
              <a:gd name="T27" fmla="*/ 2147483647 h 114"/>
              <a:gd name="T28" fmla="*/ 2147483647 w 122"/>
              <a:gd name="T29" fmla="*/ 2147483647 h 114"/>
              <a:gd name="T30" fmla="*/ 2147483647 w 122"/>
              <a:gd name="T31" fmla="*/ 2147483647 h 114"/>
              <a:gd name="T32" fmla="*/ 2147483647 w 122"/>
              <a:gd name="T33" fmla="*/ 2147483647 h 114"/>
              <a:gd name="T34" fmla="*/ 2147483647 w 122"/>
              <a:gd name="T35" fmla="*/ 2147483647 h 114"/>
              <a:gd name="T36" fmla="*/ 2147483647 w 122"/>
              <a:gd name="T37" fmla="*/ 2147483647 h 114"/>
              <a:gd name="T38" fmla="*/ 2147483647 w 122"/>
              <a:gd name="T39" fmla="*/ 2147483647 h 114"/>
              <a:gd name="T40" fmla="*/ 2147483647 w 122"/>
              <a:gd name="T41" fmla="*/ 2147483647 h 114"/>
              <a:gd name="T42" fmla="*/ 2147483647 w 122"/>
              <a:gd name="T43" fmla="*/ 2147483647 h 114"/>
              <a:gd name="T44" fmla="*/ 2147483647 w 122"/>
              <a:gd name="T45" fmla="*/ 2147483647 h 114"/>
              <a:gd name="T46" fmla="*/ 2147483647 w 122"/>
              <a:gd name="T47" fmla="*/ 2147483647 h 114"/>
              <a:gd name="T48" fmla="*/ 2147483647 w 122"/>
              <a:gd name="T49" fmla="*/ 2147483647 h 114"/>
              <a:gd name="T50" fmla="*/ 2147483647 w 122"/>
              <a:gd name="T51" fmla="*/ 2147483647 h 114"/>
              <a:gd name="T52" fmla="*/ 2147483647 w 122"/>
              <a:gd name="T53" fmla="*/ 2147483647 h 114"/>
              <a:gd name="T54" fmla="*/ 2147483647 w 122"/>
              <a:gd name="T55" fmla="*/ 2147483647 h 11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122"/>
              <a:gd name="T85" fmla="*/ 0 h 114"/>
              <a:gd name="T86" fmla="*/ 122 w 122"/>
              <a:gd name="T87" fmla="*/ 114 h 114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122" h="114">
                <a:moveTo>
                  <a:pt x="13" y="0"/>
                </a:moveTo>
                <a:lnTo>
                  <a:pt x="0" y="2"/>
                </a:lnTo>
                <a:lnTo>
                  <a:pt x="1" y="12"/>
                </a:lnTo>
                <a:lnTo>
                  <a:pt x="15" y="6"/>
                </a:lnTo>
                <a:lnTo>
                  <a:pt x="13" y="0"/>
                </a:lnTo>
                <a:close/>
                <a:moveTo>
                  <a:pt x="43" y="107"/>
                </a:moveTo>
                <a:lnTo>
                  <a:pt x="38" y="107"/>
                </a:lnTo>
                <a:lnTo>
                  <a:pt x="38" y="114"/>
                </a:lnTo>
                <a:lnTo>
                  <a:pt x="46" y="110"/>
                </a:lnTo>
                <a:lnTo>
                  <a:pt x="43" y="107"/>
                </a:lnTo>
                <a:close/>
                <a:moveTo>
                  <a:pt x="72" y="91"/>
                </a:moveTo>
                <a:lnTo>
                  <a:pt x="72" y="108"/>
                </a:lnTo>
                <a:lnTo>
                  <a:pt x="85" y="107"/>
                </a:lnTo>
                <a:lnTo>
                  <a:pt x="85" y="100"/>
                </a:lnTo>
                <a:lnTo>
                  <a:pt x="72" y="91"/>
                </a:lnTo>
                <a:close/>
                <a:moveTo>
                  <a:pt x="111" y="49"/>
                </a:moveTo>
                <a:lnTo>
                  <a:pt x="120" y="51"/>
                </a:lnTo>
                <a:lnTo>
                  <a:pt x="122" y="56"/>
                </a:lnTo>
                <a:lnTo>
                  <a:pt x="113" y="60"/>
                </a:lnTo>
                <a:lnTo>
                  <a:pt x="111" y="49"/>
                </a:lnTo>
                <a:close/>
                <a:moveTo>
                  <a:pt x="110" y="14"/>
                </a:moveTo>
                <a:lnTo>
                  <a:pt x="108" y="26"/>
                </a:lnTo>
                <a:lnTo>
                  <a:pt x="111" y="26"/>
                </a:lnTo>
                <a:lnTo>
                  <a:pt x="110" y="14"/>
                </a:lnTo>
                <a:close/>
                <a:moveTo>
                  <a:pt x="63" y="29"/>
                </a:moveTo>
                <a:lnTo>
                  <a:pt x="43" y="26"/>
                </a:lnTo>
                <a:lnTo>
                  <a:pt x="43" y="31"/>
                </a:lnTo>
                <a:lnTo>
                  <a:pt x="63" y="29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83" name="Freeform 172"/>
          <p:cNvSpPr>
            <a:spLocks noChangeAspect="1" noEditPoints="1"/>
          </p:cNvSpPr>
          <p:nvPr/>
        </p:nvSpPr>
        <p:spPr bwMode="gray">
          <a:xfrm>
            <a:off x="4024313" y="3055938"/>
            <a:ext cx="82550" cy="130175"/>
          </a:xfrm>
          <a:custGeom>
            <a:avLst/>
            <a:gdLst>
              <a:gd name="T0" fmla="*/ 2147483647 w 170"/>
              <a:gd name="T1" fmla="*/ 2147483647 h 269"/>
              <a:gd name="T2" fmla="*/ 2147483647 w 170"/>
              <a:gd name="T3" fmla="*/ 2147483647 h 269"/>
              <a:gd name="T4" fmla="*/ 2147483647 w 170"/>
              <a:gd name="T5" fmla="*/ 2147483647 h 269"/>
              <a:gd name="T6" fmla="*/ 2147483647 w 170"/>
              <a:gd name="T7" fmla="*/ 2147483647 h 269"/>
              <a:gd name="T8" fmla="*/ 2147483647 w 170"/>
              <a:gd name="T9" fmla="*/ 2147483647 h 269"/>
              <a:gd name="T10" fmla="*/ 2147483647 w 170"/>
              <a:gd name="T11" fmla="*/ 2147483647 h 269"/>
              <a:gd name="T12" fmla="*/ 2147483647 w 170"/>
              <a:gd name="T13" fmla="*/ 2147483647 h 269"/>
              <a:gd name="T14" fmla="*/ 2147483647 w 170"/>
              <a:gd name="T15" fmla="*/ 2147483647 h 269"/>
              <a:gd name="T16" fmla="*/ 2147483647 w 170"/>
              <a:gd name="T17" fmla="*/ 0 h 269"/>
              <a:gd name="T18" fmla="*/ 0 w 170"/>
              <a:gd name="T19" fmla="*/ 2147483647 h 269"/>
              <a:gd name="T20" fmla="*/ 2147483647 w 170"/>
              <a:gd name="T21" fmla="*/ 2147483647 h 269"/>
              <a:gd name="T22" fmla="*/ 2147483647 w 170"/>
              <a:gd name="T23" fmla="*/ 2147483647 h 269"/>
              <a:gd name="T24" fmla="*/ 2147483647 w 170"/>
              <a:gd name="T25" fmla="*/ 2147483647 h 269"/>
              <a:gd name="T26" fmla="*/ 2147483647 w 170"/>
              <a:gd name="T27" fmla="*/ 0 h 269"/>
              <a:gd name="T28" fmla="*/ 2147483647 w 170"/>
              <a:gd name="T29" fmla="*/ 2147483647 h 269"/>
              <a:gd name="T30" fmla="*/ 2147483647 w 170"/>
              <a:gd name="T31" fmla="*/ 2147483647 h 269"/>
              <a:gd name="T32" fmla="*/ 2147483647 w 170"/>
              <a:gd name="T33" fmla="*/ 2147483647 h 269"/>
              <a:gd name="T34" fmla="*/ 2147483647 w 170"/>
              <a:gd name="T35" fmla="*/ 2147483647 h 269"/>
              <a:gd name="T36" fmla="*/ 2147483647 w 170"/>
              <a:gd name="T37" fmla="*/ 2147483647 h 269"/>
              <a:gd name="T38" fmla="*/ 2147483647 w 170"/>
              <a:gd name="T39" fmla="*/ 2147483647 h 269"/>
              <a:gd name="T40" fmla="*/ 2147483647 w 170"/>
              <a:gd name="T41" fmla="*/ 2147483647 h 269"/>
              <a:gd name="T42" fmla="*/ 2147483647 w 170"/>
              <a:gd name="T43" fmla="*/ 2147483647 h 269"/>
              <a:gd name="T44" fmla="*/ 2147483647 w 170"/>
              <a:gd name="T45" fmla="*/ 2147483647 h 269"/>
              <a:gd name="T46" fmla="*/ 2147483647 w 170"/>
              <a:gd name="T47" fmla="*/ 2147483647 h 269"/>
              <a:gd name="T48" fmla="*/ 2147483647 w 170"/>
              <a:gd name="T49" fmla="*/ 2147483647 h 269"/>
              <a:gd name="T50" fmla="*/ 2147483647 w 170"/>
              <a:gd name="T51" fmla="*/ 2147483647 h 269"/>
              <a:gd name="T52" fmla="*/ 2147483647 w 170"/>
              <a:gd name="T53" fmla="*/ 2147483647 h 269"/>
              <a:gd name="T54" fmla="*/ 2147483647 w 170"/>
              <a:gd name="T55" fmla="*/ 2147483647 h 269"/>
              <a:gd name="T56" fmla="*/ 2147483647 w 170"/>
              <a:gd name="T57" fmla="*/ 2147483647 h 269"/>
              <a:gd name="T58" fmla="*/ 2147483647 w 170"/>
              <a:gd name="T59" fmla="*/ 2147483647 h 269"/>
              <a:gd name="T60" fmla="*/ 2147483647 w 170"/>
              <a:gd name="T61" fmla="*/ 2147483647 h 269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170"/>
              <a:gd name="T94" fmla="*/ 0 h 269"/>
              <a:gd name="T95" fmla="*/ 170 w 170"/>
              <a:gd name="T96" fmla="*/ 269 h 269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170" h="269">
                <a:moveTo>
                  <a:pt x="41" y="228"/>
                </a:moveTo>
                <a:lnTo>
                  <a:pt x="12" y="239"/>
                </a:lnTo>
                <a:lnTo>
                  <a:pt x="14" y="248"/>
                </a:lnTo>
                <a:lnTo>
                  <a:pt x="20" y="254"/>
                </a:lnTo>
                <a:lnTo>
                  <a:pt x="31" y="251"/>
                </a:lnTo>
                <a:lnTo>
                  <a:pt x="32" y="239"/>
                </a:lnTo>
                <a:lnTo>
                  <a:pt x="44" y="229"/>
                </a:lnTo>
                <a:lnTo>
                  <a:pt x="41" y="228"/>
                </a:lnTo>
                <a:close/>
                <a:moveTo>
                  <a:pt x="14" y="0"/>
                </a:moveTo>
                <a:lnTo>
                  <a:pt x="0" y="2"/>
                </a:lnTo>
                <a:lnTo>
                  <a:pt x="14" y="11"/>
                </a:lnTo>
                <a:lnTo>
                  <a:pt x="20" y="9"/>
                </a:lnTo>
                <a:lnTo>
                  <a:pt x="20" y="2"/>
                </a:lnTo>
                <a:lnTo>
                  <a:pt x="14" y="0"/>
                </a:lnTo>
                <a:close/>
                <a:moveTo>
                  <a:pt x="170" y="194"/>
                </a:moveTo>
                <a:lnTo>
                  <a:pt x="156" y="202"/>
                </a:lnTo>
                <a:lnTo>
                  <a:pt x="151" y="211"/>
                </a:lnTo>
                <a:lnTo>
                  <a:pt x="164" y="206"/>
                </a:lnTo>
                <a:lnTo>
                  <a:pt x="170" y="194"/>
                </a:lnTo>
                <a:close/>
                <a:moveTo>
                  <a:pt x="149" y="219"/>
                </a:moveTo>
                <a:lnTo>
                  <a:pt x="145" y="219"/>
                </a:lnTo>
                <a:lnTo>
                  <a:pt x="132" y="248"/>
                </a:lnTo>
                <a:lnTo>
                  <a:pt x="127" y="251"/>
                </a:lnTo>
                <a:lnTo>
                  <a:pt x="147" y="239"/>
                </a:lnTo>
                <a:lnTo>
                  <a:pt x="149" y="219"/>
                </a:lnTo>
                <a:close/>
                <a:moveTo>
                  <a:pt x="66" y="248"/>
                </a:moveTo>
                <a:lnTo>
                  <a:pt x="61" y="268"/>
                </a:lnTo>
                <a:lnTo>
                  <a:pt x="71" y="269"/>
                </a:lnTo>
                <a:lnTo>
                  <a:pt x="80" y="265"/>
                </a:lnTo>
                <a:lnTo>
                  <a:pt x="80" y="252"/>
                </a:lnTo>
                <a:lnTo>
                  <a:pt x="66" y="248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84" name="Freeform 173"/>
          <p:cNvSpPr>
            <a:spLocks noChangeAspect="1" noEditPoints="1"/>
          </p:cNvSpPr>
          <p:nvPr/>
        </p:nvSpPr>
        <p:spPr bwMode="gray">
          <a:xfrm>
            <a:off x="5376863" y="4083050"/>
            <a:ext cx="46037" cy="39688"/>
          </a:xfrm>
          <a:custGeom>
            <a:avLst/>
            <a:gdLst>
              <a:gd name="T0" fmla="*/ 2147483647 w 93"/>
              <a:gd name="T1" fmla="*/ 0 h 80"/>
              <a:gd name="T2" fmla="*/ 2147483647 w 93"/>
              <a:gd name="T3" fmla="*/ 2147483647 h 80"/>
              <a:gd name="T4" fmla="*/ 0 w 93"/>
              <a:gd name="T5" fmla="*/ 2147483647 h 80"/>
              <a:gd name="T6" fmla="*/ 0 w 93"/>
              <a:gd name="T7" fmla="*/ 2147483647 h 80"/>
              <a:gd name="T8" fmla="*/ 2147483647 w 93"/>
              <a:gd name="T9" fmla="*/ 0 h 80"/>
              <a:gd name="T10" fmla="*/ 2147483647 w 93"/>
              <a:gd name="T11" fmla="*/ 2147483647 h 80"/>
              <a:gd name="T12" fmla="*/ 2147483647 w 93"/>
              <a:gd name="T13" fmla="*/ 2147483647 h 80"/>
              <a:gd name="T14" fmla="*/ 2147483647 w 93"/>
              <a:gd name="T15" fmla="*/ 2147483647 h 80"/>
              <a:gd name="T16" fmla="*/ 2147483647 w 93"/>
              <a:gd name="T17" fmla="*/ 2147483647 h 80"/>
              <a:gd name="T18" fmla="*/ 2147483647 w 93"/>
              <a:gd name="T19" fmla="*/ 2147483647 h 80"/>
              <a:gd name="T20" fmla="*/ 2147483647 w 93"/>
              <a:gd name="T21" fmla="*/ 2147483647 h 80"/>
              <a:gd name="T22" fmla="*/ 2147483647 w 93"/>
              <a:gd name="T23" fmla="*/ 2147483647 h 80"/>
              <a:gd name="T24" fmla="*/ 2147483647 w 93"/>
              <a:gd name="T25" fmla="*/ 2147483647 h 80"/>
              <a:gd name="T26" fmla="*/ 2147483647 w 93"/>
              <a:gd name="T27" fmla="*/ 2147483647 h 80"/>
              <a:gd name="T28" fmla="*/ 2147483647 w 93"/>
              <a:gd name="T29" fmla="*/ 2147483647 h 80"/>
              <a:gd name="T30" fmla="*/ 2147483647 w 93"/>
              <a:gd name="T31" fmla="*/ 2147483647 h 80"/>
              <a:gd name="T32" fmla="*/ 2147483647 w 93"/>
              <a:gd name="T33" fmla="*/ 2147483647 h 80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93"/>
              <a:gd name="T52" fmla="*/ 0 h 80"/>
              <a:gd name="T53" fmla="*/ 93 w 93"/>
              <a:gd name="T54" fmla="*/ 80 h 80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93" h="80">
                <a:moveTo>
                  <a:pt x="5" y="0"/>
                </a:moveTo>
                <a:lnTo>
                  <a:pt x="8" y="27"/>
                </a:lnTo>
                <a:lnTo>
                  <a:pt x="0" y="17"/>
                </a:lnTo>
                <a:lnTo>
                  <a:pt x="0" y="4"/>
                </a:lnTo>
                <a:lnTo>
                  <a:pt x="5" y="0"/>
                </a:lnTo>
                <a:close/>
                <a:moveTo>
                  <a:pt x="93" y="69"/>
                </a:moveTo>
                <a:lnTo>
                  <a:pt x="92" y="80"/>
                </a:lnTo>
                <a:lnTo>
                  <a:pt x="87" y="78"/>
                </a:lnTo>
                <a:lnTo>
                  <a:pt x="84" y="66"/>
                </a:lnTo>
                <a:lnTo>
                  <a:pt x="93" y="69"/>
                </a:lnTo>
                <a:close/>
                <a:moveTo>
                  <a:pt x="58" y="38"/>
                </a:moveTo>
                <a:lnTo>
                  <a:pt x="58" y="51"/>
                </a:lnTo>
                <a:lnTo>
                  <a:pt x="47" y="41"/>
                </a:lnTo>
                <a:lnTo>
                  <a:pt x="58" y="38"/>
                </a:lnTo>
                <a:close/>
                <a:moveTo>
                  <a:pt x="30" y="49"/>
                </a:moveTo>
                <a:lnTo>
                  <a:pt x="19" y="44"/>
                </a:lnTo>
                <a:lnTo>
                  <a:pt x="30" y="49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85" name="Freeform 174"/>
          <p:cNvSpPr>
            <a:spLocks noChangeAspect="1" noEditPoints="1"/>
          </p:cNvSpPr>
          <p:nvPr/>
        </p:nvSpPr>
        <p:spPr bwMode="gray">
          <a:xfrm>
            <a:off x="5072063" y="3852863"/>
            <a:ext cx="242887" cy="241300"/>
          </a:xfrm>
          <a:custGeom>
            <a:avLst/>
            <a:gdLst>
              <a:gd name="T0" fmla="*/ 2147483647 w 498"/>
              <a:gd name="T1" fmla="*/ 2147483647 h 495"/>
              <a:gd name="T2" fmla="*/ 2147483647 w 498"/>
              <a:gd name="T3" fmla="*/ 2147483647 h 495"/>
              <a:gd name="T4" fmla="*/ 2147483647 w 498"/>
              <a:gd name="T5" fmla="*/ 2147483647 h 495"/>
              <a:gd name="T6" fmla="*/ 2147483647 w 498"/>
              <a:gd name="T7" fmla="*/ 2147483647 h 495"/>
              <a:gd name="T8" fmla="*/ 0 w 498"/>
              <a:gd name="T9" fmla="*/ 2147483647 h 495"/>
              <a:gd name="T10" fmla="*/ 2147483647 w 498"/>
              <a:gd name="T11" fmla="*/ 2147483647 h 495"/>
              <a:gd name="T12" fmla="*/ 2147483647 w 498"/>
              <a:gd name="T13" fmla="*/ 2147483647 h 495"/>
              <a:gd name="T14" fmla="*/ 2147483647 w 498"/>
              <a:gd name="T15" fmla="*/ 2147483647 h 495"/>
              <a:gd name="T16" fmla="*/ 2147483647 w 498"/>
              <a:gd name="T17" fmla="*/ 0 h 495"/>
              <a:gd name="T18" fmla="*/ 2147483647 w 498"/>
              <a:gd name="T19" fmla="*/ 2147483647 h 495"/>
              <a:gd name="T20" fmla="*/ 2147483647 w 498"/>
              <a:gd name="T21" fmla="*/ 2147483647 h 495"/>
              <a:gd name="T22" fmla="*/ 2147483647 w 498"/>
              <a:gd name="T23" fmla="*/ 2147483647 h 495"/>
              <a:gd name="T24" fmla="*/ 2147483647 w 498"/>
              <a:gd name="T25" fmla="*/ 2147483647 h 495"/>
              <a:gd name="T26" fmla="*/ 2147483647 w 498"/>
              <a:gd name="T27" fmla="*/ 2147483647 h 495"/>
              <a:gd name="T28" fmla="*/ 2147483647 w 498"/>
              <a:gd name="T29" fmla="*/ 2147483647 h 495"/>
              <a:gd name="T30" fmla="*/ 2147483647 w 498"/>
              <a:gd name="T31" fmla="*/ 2147483647 h 495"/>
              <a:gd name="T32" fmla="*/ 2147483647 w 498"/>
              <a:gd name="T33" fmla="*/ 2147483647 h 495"/>
              <a:gd name="T34" fmla="*/ 2147483647 w 498"/>
              <a:gd name="T35" fmla="*/ 2147483647 h 495"/>
              <a:gd name="T36" fmla="*/ 2147483647 w 498"/>
              <a:gd name="T37" fmla="*/ 2147483647 h 495"/>
              <a:gd name="T38" fmla="*/ 2147483647 w 498"/>
              <a:gd name="T39" fmla="*/ 2147483647 h 495"/>
              <a:gd name="T40" fmla="*/ 2147483647 w 498"/>
              <a:gd name="T41" fmla="*/ 2147483647 h 495"/>
              <a:gd name="T42" fmla="*/ 2147483647 w 498"/>
              <a:gd name="T43" fmla="*/ 2147483647 h 495"/>
              <a:gd name="T44" fmla="*/ 2147483647 w 498"/>
              <a:gd name="T45" fmla="*/ 2147483647 h 495"/>
              <a:gd name="T46" fmla="*/ 2147483647 w 498"/>
              <a:gd name="T47" fmla="*/ 2147483647 h 495"/>
              <a:gd name="T48" fmla="*/ 2147483647 w 498"/>
              <a:gd name="T49" fmla="*/ 2147483647 h 495"/>
              <a:gd name="T50" fmla="*/ 2147483647 w 498"/>
              <a:gd name="T51" fmla="*/ 2147483647 h 495"/>
              <a:gd name="T52" fmla="*/ 2147483647 w 498"/>
              <a:gd name="T53" fmla="*/ 2147483647 h 495"/>
              <a:gd name="T54" fmla="*/ 2147483647 w 498"/>
              <a:gd name="T55" fmla="*/ 2147483647 h 495"/>
              <a:gd name="T56" fmla="*/ 2147483647 w 498"/>
              <a:gd name="T57" fmla="*/ 2147483647 h 495"/>
              <a:gd name="T58" fmla="*/ 2147483647 w 498"/>
              <a:gd name="T59" fmla="*/ 2147483647 h 495"/>
              <a:gd name="T60" fmla="*/ 2147483647 w 498"/>
              <a:gd name="T61" fmla="*/ 2147483647 h 495"/>
              <a:gd name="T62" fmla="*/ 2147483647 w 498"/>
              <a:gd name="T63" fmla="*/ 2147483647 h 495"/>
              <a:gd name="T64" fmla="*/ 2147483647 w 498"/>
              <a:gd name="T65" fmla="*/ 2147483647 h 495"/>
              <a:gd name="T66" fmla="*/ 2147483647 w 498"/>
              <a:gd name="T67" fmla="*/ 2147483647 h 495"/>
              <a:gd name="T68" fmla="*/ 2147483647 w 498"/>
              <a:gd name="T69" fmla="*/ 2147483647 h 495"/>
              <a:gd name="T70" fmla="*/ 2147483647 w 498"/>
              <a:gd name="T71" fmla="*/ 2147483647 h 495"/>
              <a:gd name="T72" fmla="*/ 2147483647 w 498"/>
              <a:gd name="T73" fmla="*/ 2147483647 h 495"/>
              <a:gd name="T74" fmla="*/ 2147483647 w 498"/>
              <a:gd name="T75" fmla="*/ 2147483647 h 495"/>
              <a:gd name="T76" fmla="*/ 2147483647 w 498"/>
              <a:gd name="T77" fmla="*/ 2147483647 h 495"/>
              <a:gd name="T78" fmla="*/ 2147483647 w 498"/>
              <a:gd name="T79" fmla="*/ 2147483647 h 495"/>
              <a:gd name="T80" fmla="*/ 2147483647 w 498"/>
              <a:gd name="T81" fmla="*/ 2147483647 h 495"/>
              <a:gd name="T82" fmla="*/ 2147483647 w 498"/>
              <a:gd name="T83" fmla="*/ 2147483647 h 495"/>
              <a:gd name="T84" fmla="*/ 2147483647 w 498"/>
              <a:gd name="T85" fmla="*/ 2147483647 h 495"/>
              <a:gd name="T86" fmla="*/ 2147483647 w 498"/>
              <a:gd name="T87" fmla="*/ 2147483647 h 495"/>
              <a:gd name="T88" fmla="*/ 2147483647 w 498"/>
              <a:gd name="T89" fmla="*/ 2147483647 h 495"/>
              <a:gd name="T90" fmla="*/ 2147483647 w 498"/>
              <a:gd name="T91" fmla="*/ 2147483647 h 495"/>
              <a:gd name="T92" fmla="*/ 2147483647 w 498"/>
              <a:gd name="T93" fmla="*/ 2147483647 h 495"/>
              <a:gd name="T94" fmla="*/ 2147483647 w 498"/>
              <a:gd name="T95" fmla="*/ 2147483647 h 495"/>
              <a:gd name="T96" fmla="*/ 2147483647 w 498"/>
              <a:gd name="T97" fmla="*/ 2147483647 h 495"/>
              <a:gd name="T98" fmla="*/ 2147483647 w 498"/>
              <a:gd name="T99" fmla="*/ 2147483647 h 495"/>
              <a:gd name="T100" fmla="*/ 2147483647 w 498"/>
              <a:gd name="T101" fmla="*/ 2147483647 h 495"/>
              <a:gd name="T102" fmla="*/ 2147483647 w 498"/>
              <a:gd name="T103" fmla="*/ 2147483647 h 495"/>
              <a:gd name="T104" fmla="*/ 2147483647 w 498"/>
              <a:gd name="T105" fmla="*/ 2147483647 h 495"/>
              <a:gd name="T106" fmla="*/ 2147483647 w 498"/>
              <a:gd name="T107" fmla="*/ 2147483647 h 495"/>
              <a:gd name="T108" fmla="*/ 2147483647 w 498"/>
              <a:gd name="T109" fmla="*/ 2147483647 h 495"/>
              <a:gd name="T110" fmla="*/ 2147483647 w 498"/>
              <a:gd name="T111" fmla="*/ 2147483647 h 495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498"/>
              <a:gd name="T169" fmla="*/ 0 h 495"/>
              <a:gd name="T170" fmla="*/ 498 w 498"/>
              <a:gd name="T171" fmla="*/ 495 h 495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498" h="495">
                <a:moveTo>
                  <a:pt x="68" y="348"/>
                </a:moveTo>
                <a:lnTo>
                  <a:pt x="42" y="294"/>
                </a:lnTo>
                <a:lnTo>
                  <a:pt x="42" y="275"/>
                </a:lnTo>
                <a:lnTo>
                  <a:pt x="27" y="258"/>
                </a:lnTo>
                <a:lnTo>
                  <a:pt x="8" y="249"/>
                </a:lnTo>
                <a:lnTo>
                  <a:pt x="5" y="237"/>
                </a:lnTo>
                <a:lnTo>
                  <a:pt x="13" y="227"/>
                </a:lnTo>
                <a:lnTo>
                  <a:pt x="8" y="193"/>
                </a:lnTo>
                <a:lnTo>
                  <a:pt x="2" y="186"/>
                </a:lnTo>
                <a:lnTo>
                  <a:pt x="0" y="156"/>
                </a:lnTo>
                <a:lnTo>
                  <a:pt x="24" y="148"/>
                </a:lnTo>
                <a:lnTo>
                  <a:pt x="55" y="99"/>
                </a:lnTo>
                <a:lnTo>
                  <a:pt x="53" y="88"/>
                </a:lnTo>
                <a:lnTo>
                  <a:pt x="41" y="79"/>
                </a:lnTo>
                <a:lnTo>
                  <a:pt x="46" y="63"/>
                </a:lnTo>
                <a:lnTo>
                  <a:pt x="58" y="43"/>
                </a:lnTo>
                <a:lnTo>
                  <a:pt x="38" y="1"/>
                </a:lnTo>
                <a:lnTo>
                  <a:pt x="100" y="0"/>
                </a:lnTo>
                <a:lnTo>
                  <a:pt x="100" y="3"/>
                </a:lnTo>
                <a:lnTo>
                  <a:pt x="100" y="20"/>
                </a:lnTo>
                <a:lnTo>
                  <a:pt x="97" y="32"/>
                </a:lnTo>
                <a:lnTo>
                  <a:pt x="95" y="49"/>
                </a:lnTo>
                <a:lnTo>
                  <a:pt x="98" y="68"/>
                </a:lnTo>
                <a:lnTo>
                  <a:pt x="98" y="74"/>
                </a:lnTo>
                <a:lnTo>
                  <a:pt x="104" y="80"/>
                </a:lnTo>
                <a:lnTo>
                  <a:pt x="109" y="77"/>
                </a:lnTo>
                <a:lnTo>
                  <a:pt x="112" y="72"/>
                </a:lnTo>
                <a:lnTo>
                  <a:pt x="117" y="71"/>
                </a:lnTo>
                <a:lnTo>
                  <a:pt x="115" y="63"/>
                </a:lnTo>
                <a:lnTo>
                  <a:pt x="120" y="59"/>
                </a:lnTo>
                <a:lnTo>
                  <a:pt x="124" y="60"/>
                </a:lnTo>
                <a:lnTo>
                  <a:pt x="132" y="71"/>
                </a:lnTo>
                <a:lnTo>
                  <a:pt x="137" y="74"/>
                </a:lnTo>
                <a:lnTo>
                  <a:pt x="143" y="71"/>
                </a:lnTo>
                <a:lnTo>
                  <a:pt x="146" y="71"/>
                </a:lnTo>
                <a:lnTo>
                  <a:pt x="149" y="88"/>
                </a:lnTo>
                <a:lnTo>
                  <a:pt x="154" y="85"/>
                </a:lnTo>
                <a:lnTo>
                  <a:pt x="154" y="77"/>
                </a:lnTo>
                <a:lnTo>
                  <a:pt x="155" y="69"/>
                </a:lnTo>
                <a:lnTo>
                  <a:pt x="160" y="69"/>
                </a:lnTo>
                <a:lnTo>
                  <a:pt x="169" y="69"/>
                </a:lnTo>
                <a:lnTo>
                  <a:pt x="172" y="68"/>
                </a:lnTo>
                <a:lnTo>
                  <a:pt x="181" y="66"/>
                </a:lnTo>
                <a:lnTo>
                  <a:pt x="189" y="59"/>
                </a:lnTo>
                <a:lnTo>
                  <a:pt x="189" y="55"/>
                </a:lnTo>
                <a:lnTo>
                  <a:pt x="188" y="52"/>
                </a:lnTo>
                <a:lnTo>
                  <a:pt x="177" y="54"/>
                </a:lnTo>
                <a:lnTo>
                  <a:pt x="169" y="51"/>
                </a:lnTo>
                <a:lnTo>
                  <a:pt x="169" y="48"/>
                </a:lnTo>
                <a:lnTo>
                  <a:pt x="178" y="42"/>
                </a:lnTo>
                <a:lnTo>
                  <a:pt x="177" y="40"/>
                </a:lnTo>
                <a:lnTo>
                  <a:pt x="178" y="37"/>
                </a:lnTo>
                <a:lnTo>
                  <a:pt x="185" y="37"/>
                </a:lnTo>
                <a:lnTo>
                  <a:pt x="185" y="34"/>
                </a:lnTo>
                <a:lnTo>
                  <a:pt x="189" y="29"/>
                </a:lnTo>
                <a:lnTo>
                  <a:pt x="189" y="23"/>
                </a:lnTo>
                <a:lnTo>
                  <a:pt x="195" y="23"/>
                </a:lnTo>
                <a:lnTo>
                  <a:pt x="197" y="15"/>
                </a:lnTo>
                <a:lnTo>
                  <a:pt x="202" y="17"/>
                </a:lnTo>
                <a:lnTo>
                  <a:pt x="202" y="14"/>
                </a:lnTo>
                <a:lnTo>
                  <a:pt x="200" y="8"/>
                </a:lnTo>
                <a:lnTo>
                  <a:pt x="202" y="3"/>
                </a:lnTo>
                <a:lnTo>
                  <a:pt x="211" y="0"/>
                </a:lnTo>
                <a:lnTo>
                  <a:pt x="373" y="93"/>
                </a:lnTo>
                <a:lnTo>
                  <a:pt x="383" y="128"/>
                </a:lnTo>
                <a:lnTo>
                  <a:pt x="447" y="167"/>
                </a:lnTo>
                <a:lnTo>
                  <a:pt x="426" y="235"/>
                </a:lnTo>
                <a:lnTo>
                  <a:pt x="426" y="243"/>
                </a:lnTo>
                <a:lnTo>
                  <a:pt x="457" y="281"/>
                </a:lnTo>
                <a:lnTo>
                  <a:pt x="449" y="308"/>
                </a:lnTo>
                <a:lnTo>
                  <a:pt x="452" y="318"/>
                </a:lnTo>
                <a:lnTo>
                  <a:pt x="452" y="330"/>
                </a:lnTo>
                <a:lnTo>
                  <a:pt x="447" y="330"/>
                </a:lnTo>
                <a:lnTo>
                  <a:pt x="446" y="337"/>
                </a:lnTo>
                <a:lnTo>
                  <a:pt x="455" y="359"/>
                </a:lnTo>
                <a:lnTo>
                  <a:pt x="452" y="363"/>
                </a:lnTo>
                <a:lnTo>
                  <a:pt x="464" y="380"/>
                </a:lnTo>
                <a:lnTo>
                  <a:pt x="472" y="416"/>
                </a:lnTo>
                <a:lnTo>
                  <a:pt x="498" y="433"/>
                </a:lnTo>
                <a:lnTo>
                  <a:pt x="497" y="441"/>
                </a:lnTo>
                <a:lnTo>
                  <a:pt x="476" y="461"/>
                </a:lnTo>
                <a:lnTo>
                  <a:pt x="429" y="477"/>
                </a:lnTo>
                <a:lnTo>
                  <a:pt x="414" y="479"/>
                </a:lnTo>
                <a:lnTo>
                  <a:pt x="401" y="472"/>
                </a:lnTo>
                <a:lnTo>
                  <a:pt x="381" y="475"/>
                </a:lnTo>
                <a:lnTo>
                  <a:pt x="367" y="487"/>
                </a:lnTo>
                <a:lnTo>
                  <a:pt x="335" y="487"/>
                </a:lnTo>
                <a:lnTo>
                  <a:pt x="312" y="495"/>
                </a:lnTo>
                <a:lnTo>
                  <a:pt x="293" y="484"/>
                </a:lnTo>
                <a:lnTo>
                  <a:pt x="279" y="489"/>
                </a:lnTo>
                <a:lnTo>
                  <a:pt x="244" y="487"/>
                </a:lnTo>
                <a:lnTo>
                  <a:pt x="232" y="469"/>
                </a:lnTo>
                <a:lnTo>
                  <a:pt x="223" y="414"/>
                </a:lnTo>
                <a:lnTo>
                  <a:pt x="211" y="397"/>
                </a:lnTo>
                <a:lnTo>
                  <a:pt x="200" y="396"/>
                </a:lnTo>
                <a:lnTo>
                  <a:pt x="198" y="399"/>
                </a:lnTo>
                <a:lnTo>
                  <a:pt x="189" y="394"/>
                </a:lnTo>
                <a:lnTo>
                  <a:pt x="177" y="397"/>
                </a:lnTo>
                <a:lnTo>
                  <a:pt x="154" y="387"/>
                </a:lnTo>
                <a:lnTo>
                  <a:pt x="98" y="367"/>
                </a:lnTo>
                <a:lnTo>
                  <a:pt x="80" y="350"/>
                </a:lnTo>
                <a:lnTo>
                  <a:pt x="68" y="348"/>
                </a:lnTo>
                <a:close/>
                <a:moveTo>
                  <a:pt x="472" y="189"/>
                </a:moveTo>
                <a:lnTo>
                  <a:pt x="469" y="204"/>
                </a:lnTo>
                <a:lnTo>
                  <a:pt x="466" y="199"/>
                </a:lnTo>
                <a:lnTo>
                  <a:pt x="466" y="179"/>
                </a:lnTo>
                <a:lnTo>
                  <a:pt x="471" y="179"/>
                </a:lnTo>
                <a:lnTo>
                  <a:pt x="472" y="189"/>
                </a:lnTo>
                <a:close/>
                <a:moveTo>
                  <a:pt x="447" y="220"/>
                </a:moveTo>
                <a:lnTo>
                  <a:pt x="459" y="250"/>
                </a:lnTo>
                <a:lnTo>
                  <a:pt x="447" y="241"/>
                </a:lnTo>
                <a:lnTo>
                  <a:pt x="447" y="220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86" name="Freeform 175"/>
          <p:cNvSpPr>
            <a:spLocks noChangeAspect="1" noEditPoints="1"/>
          </p:cNvSpPr>
          <p:nvPr/>
        </p:nvSpPr>
        <p:spPr bwMode="gray">
          <a:xfrm>
            <a:off x="4572000" y="2930525"/>
            <a:ext cx="88900" cy="188913"/>
          </a:xfrm>
          <a:custGeom>
            <a:avLst/>
            <a:gdLst>
              <a:gd name="T0" fmla="*/ 2147483647 w 183"/>
              <a:gd name="T1" fmla="*/ 2147483647 h 387"/>
              <a:gd name="T2" fmla="*/ 2147483647 w 183"/>
              <a:gd name="T3" fmla="*/ 2147483647 h 387"/>
              <a:gd name="T4" fmla="*/ 2147483647 w 183"/>
              <a:gd name="T5" fmla="*/ 2147483647 h 387"/>
              <a:gd name="T6" fmla="*/ 2147483647 w 183"/>
              <a:gd name="T7" fmla="*/ 2147483647 h 387"/>
              <a:gd name="T8" fmla="*/ 2147483647 w 183"/>
              <a:gd name="T9" fmla="*/ 2147483647 h 387"/>
              <a:gd name="T10" fmla="*/ 2147483647 w 183"/>
              <a:gd name="T11" fmla="*/ 2147483647 h 387"/>
              <a:gd name="T12" fmla="*/ 0 w 183"/>
              <a:gd name="T13" fmla="*/ 2147483647 h 387"/>
              <a:gd name="T14" fmla="*/ 2147483647 w 183"/>
              <a:gd name="T15" fmla="*/ 2147483647 h 387"/>
              <a:gd name="T16" fmla="*/ 2147483647 w 183"/>
              <a:gd name="T17" fmla="*/ 2147483647 h 387"/>
              <a:gd name="T18" fmla="*/ 2147483647 w 183"/>
              <a:gd name="T19" fmla="*/ 2147483647 h 387"/>
              <a:gd name="T20" fmla="*/ 2147483647 w 183"/>
              <a:gd name="T21" fmla="*/ 2147483647 h 387"/>
              <a:gd name="T22" fmla="*/ 2147483647 w 183"/>
              <a:gd name="T23" fmla="*/ 2147483647 h 387"/>
              <a:gd name="T24" fmla="*/ 2147483647 w 183"/>
              <a:gd name="T25" fmla="*/ 2147483647 h 387"/>
              <a:gd name="T26" fmla="*/ 2147483647 w 183"/>
              <a:gd name="T27" fmla="*/ 2147483647 h 387"/>
              <a:gd name="T28" fmla="*/ 2147483647 w 183"/>
              <a:gd name="T29" fmla="*/ 2147483647 h 387"/>
              <a:gd name="T30" fmla="*/ 2147483647 w 183"/>
              <a:gd name="T31" fmla="*/ 2147483647 h 387"/>
              <a:gd name="T32" fmla="*/ 2147483647 w 183"/>
              <a:gd name="T33" fmla="*/ 2147483647 h 387"/>
              <a:gd name="T34" fmla="*/ 2147483647 w 183"/>
              <a:gd name="T35" fmla="*/ 2147483647 h 387"/>
              <a:gd name="T36" fmla="*/ 2147483647 w 183"/>
              <a:gd name="T37" fmla="*/ 2147483647 h 387"/>
              <a:gd name="T38" fmla="*/ 2147483647 w 183"/>
              <a:gd name="T39" fmla="*/ 2147483647 h 387"/>
              <a:gd name="T40" fmla="*/ 2147483647 w 183"/>
              <a:gd name="T41" fmla="*/ 2147483647 h 387"/>
              <a:gd name="T42" fmla="*/ 2147483647 w 183"/>
              <a:gd name="T43" fmla="*/ 2147483647 h 387"/>
              <a:gd name="T44" fmla="*/ 2147483647 w 183"/>
              <a:gd name="T45" fmla="*/ 2147483647 h 387"/>
              <a:gd name="T46" fmla="*/ 2147483647 w 183"/>
              <a:gd name="T47" fmla="*/ 2147483647 h 387"/>
              <a:gd name="T48" fmla="*/ 2147483647 w 183"/>
              <a:gd name="T49" fmla="*/ 2147483647 h 387"/>
              <a:gd name="T50" fmla="*/ 2147483647 w 183"/>
              <a:gd name="T51" fmla="*/ 2147483647 h 387"/>
              <a:gd name="T52" fmla="*/ 2147483647 w 183"/>
              <a:gd name="T53" fmla="*/ 2147483647 h 387"/>
              <a:gd name="T54" fmla="*/ 2147483647 w 183"/>
              <a:gd name="T55" fmla="*/ 2147483647 h 387"/>
              <a:gd name="T56" fmla="*/ 2147483647 w 183"/>
              <a:gd name="T57" fmla="*/ 2147483647 h 387"/>
              <a:gd name="T58" fmla="*/ 2147483647 w 183"/>
              <a:gd name="T59" fmla="*/ 2147483647 h 387"/>
              <a:gd name="T60" fmla="*/ 2147483647 w 183"/>
              <a:gd name="T61" fmla="*/ 2147483647 h 387"/>
              <a:gd name="T62" fmla="*/ 2147483647 w 183"/>
              <a:gd name="T63" fmla="*/ 2147483647 h 387"/>
              <a:gd name="T64" fmla="*/ 2147483647 w 183"/>
              <a:gd name="T65" fmla="*/ 2147483647 h 387"/>
              <a:gd name="T66" fmla="*/ 2147483647 w 183"/>
              <a:gd name="T67" fmla="*/ 2147483647 h 387"/>
              <a:gd name="T68" fmla="*/ 2147483647 w 183"/>
              <a:gd name="T69" fmla="*/ 2147483647 h 387"/>
              <a:gd name="T70" fmla="*/ 2147483647 w 183"/>
              <a:gd name="T71" fmla="*/ 2147483647 h 387"/>
              <a:gd name="T72" fmla="*/ 2147483647 w 183"/>
              <a:gd name="T73" fmla="*/ 2147483647 h 387"/>
              <a:gd name="T74" fmla="*/ 2147483647 w 183"/>
              <a:gd name="T75" fmla="*/ 2147483647 h 387"/>
              <a:gd name="T76" fmla="*/ 2147483647 w 183"/>
              <a:gd name="T77" fmla="*/ 2147483647 h 387"/>
              <a:gd name="T78" fmla="*/ 2147483647 w 183"/>
              <a:gd name="T79" fmla="*/ 2147483647 h 387"/>
              <a:gd name="T80" fmla="*/ 2147483647 w 183"/>
              <a:gd name="T81" fmla="*/ 2147483647 h 387"/>
              <a:gd name="T82" fmla="*/ 2147483647 w 183"/>
              <a:gd name="T83" fmla="*/ 2147483647 h 387"/>
              <a:gd name="T84" fmla="*/ 2147483647 w 183"/>
              <a:gd name="T85" fmla="*/ 2147483647 h 387"/>
              <a:gd name="T86" fmla="*/ 2147483647 w 183"/>
              <a:gd name="T87" fmla="*/ 0 h 387"/>
              <a:gd name="T88" fmla="*/ 2147483647 w 183"/>
              <a:gd name="T89" fmla="*/ 2147483647 h 387"/>
              <a:gd name="T90" fmla="*/ 2147483647 w 183"/>
              <a:gd name="T91" fmla="*/ 2147483647 h 387"/>
              <a:gd name="T92" fmla="*/ 2147483647 w 183"/>
              <a:gd name="T93" fmla="*/ 2147483647 h 387"/>
              <a:gd name="T94" fmla="*/ 2147483647 w 183"/>
              <a:gd name="T95" fmla="*/ 2147483647 h 387"/>
              <a:gd name="T96" fmla="*/ 2147483647 w 183"/>
              <a:gd name="T97" fmla="*/ 2147483647 h 387"/>
              <a:gd name="T98" fmla="*/ 2147483647 w 183"/>
              <a:gd name="T99" fmla="*/ 2147483647 h 387"/>
              <a:gd name="T100" fmla="*/ 2147483647 w 183"/>
              <a:gd name="T101" fmla="*/ 2147483647 h 387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183"/>
              <a:gd name="T154" fmla="*/ 0 h 387"/>
              <a:gd name="T155" fmla="*/ 183 w 183"/>
              <a:gd name="T156" fmla="*/ 387 h 387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183" h="387">
                <a:moveTo>
                  <a:pt x="64" y="22"/>
                </a:moveTo>
                <a:lnTo>
                  <a:pt x="41" y="46"/>
                </a:lnTo>
                <a:lnTo>
                  <a:pt x="50" y="51"/>
                </a:lnTo>
                <a:lnTo>
                  <a:pt x="45" y="86"/>
                </a:lnTo>
                <a:lnTo>
                  <a:pt x="50" y="124"/>
                </a:lnTo>
                <a:lnTo>
                  <a:pt x="41" y="156"/>
                </a:lnTo>
                <a:lnTo>
                  <a:pt x="0" y="192"/>
                </a:lnTo>
                <a:lnTo>
                  <a:pt x="11" y="229"/>
                </a:lnTo>
                <a:lnTo>
                  <a:pt x="31" y="240"/>
                </a:lnTo>
                <a:lnTo>
                  <a:pt x="38" y="257"/>
                </a:lnTo>
                <a:lnTo>
                  <a:pt x="38" y="272"/>
                </a:lnTo>
                <a:lnTo>
                  <a:pt x="76" y="294"/>
                </a:lnTo>
                <a:lnTo>
                  <a:pt x="93" y="387"/>
                </a:lnTo>
                <a:lnTo>
                  <a:pt x="113" y="381"/>
                </a:lnTo>
                <a:lnTo>
                  <a:pt x="127" y="365"/>
                </a:lnTo>
                <a:lnTo>
                  <a:pt x="122" y="333"/>
                </a:lnTo>
                <a:lnTo>
                  <a:pt x="127" y="318"/>
                </a:lnTo>
                <a:lnTo>
                  <a:pt x="180" y="277"/>
                </a:lnTo>
                <a:lnTo>
                  <a:pt x="183" y="269"/>
                </a:lnTo>
                <a:lnTo>
                  <a:pt x="183" y="235"/>
                </a:lnTo>
                <a:lnTo>
                  <a:pt x="170" y="233"/>
                </a:lnTo>
                <a:lnTo>
                  <a:pt x="160" y="212"/>
                </a:lnTo>
                <a:lnTo>
                  <a:pt x="149" y="217"/>
                </a:lnTo>
                <a:lnTo>
                  <a:pt x="143" y="206"/>
                </a:lnTo>
                <a:lnTo>
                  <a:pt x="127" y="206"/>
                </a:lnTo>
                <a:lnTo>
                  <a:pt x="119" y="201"/>
                </a:lnTo>
                <a:lnTo>
                  <a:pt x="116" y="192"/>
                </a:lnTo>
                <a:lnTo>
                  <a:pt x="116" y="181"/>
                </a:lnTo>
                <a:lnTo>
                  <a:pt x="126" y="184"/>
                </a:lnTo>
                <a:lnTo>
                  <a:pt x="127" y="170"/>
                </a:lnTo>
                <a:lnTo>
                  <a:pt x="161" y="145"/>
                </a:lnTo>
                <a:lnTo>
                  <a:pt x="175" y="119"/>
                </a:lnTo>
                <a:lnTo>
                  <a:pt x="170" y="98"/>
                </a:lnTo>
                <a:lnTo>
                  <a:pt x="152" y="86"/>
                </a:lnTo>
                <a:lnTo>
                  <a:pt x="144" y="68"/>
                </a:lnTo>
                <a:lnTo>
                  <a:pt x="147" y="56"/>
                </a:lnTo>
                <a:lnTo>
                  <a:pt x="164" y="46"/>
                </a:lnTo>
                <a:lnTo>
                  <a:pt x="173" y="26"/>
                </a:lnTo>
                <a:lnTo>
                  <a:pt x="170" y="17"/>
                </a:lnTo>
                <a:lnTo>
                  <a:pt x="144" y="34"/>
                </a:lnTo>
                <a:lnTo>
                  <a:pt x="135" y="31"/>
                </a:lnTo>
                <a:lnTo>
                  <a:pt x="133" y="14"/>
                </a:lnTo>
                <a:lnTo>
                  <a:pt x="130" y="6"/>
                </a:lnTo>
                <a:lnTo>
                  <a:pt x="107" y="0"/>
                </a:lnTo>
                <a:lnTo>
                  <a:pt x="87" y="5"/>
                </a:lnTo>
                <a:lnTo>
                  <a:pt x="64" y="22"/>
                </a:lnTo>
                <a:close/>
                <a:moveTo>
                  <a:pt x="158" y="196"/>
                </a:moveTo>
                <a:lnTo>
                  <a:pt x="160" y="206"/>
                </a:lnTo>
                <a:lnTo>
                  <a:pt x="152" y="206"/>
                </a:lnTo>
                <a:lnTo>
                  <a:pt x="149" y="198"/>
                </a:lnTo>
                <a:lnTo>
                  <a:pt x="158" y="196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87" name="Freeform 176"/>
          <p:cNvSpPr>
            <a:spLocks noChangeAspect="1"/>
          </p:cNvSpPr>
          <p:nvPr/>
        </p:nvSpPr>
        <p:spPr bwMode="gray">
          <a:xfrm>
            <a:off x="4868863" y="2784475"/>
            <a:ext cx="53975" cy="46038"/>
          </a:xfrm>
          <a:custGeom>
            <a:avLst/>
            <a:gdLst>
              <a:gd name="T0" fmla="*/ 2147483647 w 112"/>
              <a:gd name="T1" fmla="*/ 2147483647 h 90"/>
              <a:gd name="T2" fmla="*/ 2147483647 w 112"/>
              <a:gd name="T3" fmla="*/ 2147483647 h 90"/>
              <a:gd name="T4" fmla="*/ 2147483647 w 112"/>
              <a:gd name="T5" fmla="*/ 2147483647 h 90"/>
              <a:gd name="T6" fmla="*/ 2147483647 w 112"/>
              <a:gd name="T7" fmla="*/ 2147483647 h 90"/>
              <a:gd name="T8" fmla="*/ 2147483647 w 112"/>
              <a:gd name="T9" fmla="*/ 0 h 90"/>
              <a:gd name="T10" fmla="*/ 2147483647 w 112"/>
              <a:gd name="T11" fmla="*/ 2147483647 h 90"/>
              <a:gd name="T12" fmla="*/ 2147483647 w 112"/>
              <a:gd name="T13" fmla="*/ 2147483647 h 90"/>
              <a:gd name="T14" fmla="*/ 2147483647 w 112"/>
              <a:gd name="T15" fmla="*/ 2147483647 h 90"/>
              <a:gd name="T16" fmla="*/ 2147483647 w 112"/>
              <a:gd name="T17" fmla="*/ 2147483647 h 90"/>
              <a:gd name="T18" fmla="*/ 2147483647 w 112"/>
              <a:gd name="T19" fmla="*/ 2147483647 h 90"/>
              <a:gd name="T20" fmla="*/ 2147483647 w 112"/>
              <a:gd name="T21" fmla="*/ 2147483647 h 90"/>
              <a:gd name="T22" fmla="*/ 2147483647 w 112"/>
              <a:gd name="T23" fmla="*/ 2147483647 h 90"/>
              <a:gd name="T24" fmla="*/ 2147483647 w 112"/>
              <a:gd name="T25" fmla="*/ 2147483647 h 90"/>
              <a:gd name="T26" fmla="*/ 0 w 112"/>
              <a:gd name="T27" fmla="*/ 2147483647 h 90"/>
              <a:gd name="T28" fmla="*/ 2147483647 w 112"/>
              <a:gd name="T29" fmla="*/ 2147483647 h 90"/>
              <a:gd name="T30" fmla="*/ 2147483647 w 112"/>
              <a:gd name="T31" fmla="*/ 2147483647 h 9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12"/>
              <a:gd name="T49" fmla="*/ 0 h 90"/>
              <a:gd name="T50" fmla="*/ 112 w 112"/>
              <a:gd name="T51" fmla="*/ 90 h 90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12" h="90">
                <a:moveTo>
                  <a:pt x="9" y="16"/>
                </a:moveTo>
                <a:lnTo>
                  <a:pt x="13" y="6"/>
                </a:lnTo>
                <a:lnTo>
                  <a:pt x="26" y="3"/>
                </a:lnTo>
                <a:lnTo>
                  <a:pt x="34" y="8"/>
                </a:lnTo>
                <a:lnTo>
                  <a:pt x="43" y="0"/>
                </a:lnTo>
                <a:lnTo>
                  <a:pt x="87" y="3"/>
                </a:lnTo>
                <a:lnTo>
                  <a:pt x="105" y="19"/>
                </a:lnTo>
                <a:lnTo>
                  <a:pt x="112" y="59"/>
                </a:lnTo>
                <a:lnTo>
                  <a:pt x="93" y="72"/>
                </a:lnTo>
                <a:lnTo>
                  <a:pt x="76" y="72"/>
                </a:lnTo>
                <a:lnTo>
                  <a:pt x="51" y="85"/>
                </a:lnTo>
                <a:lnTo>
                  <a:pt x="22" y="90"/>
                </a:lnTo>
                <a:lnTo>
                  <a:pt x="8" y="76"/>
                </a:lnTo>
                <a:lnTo>
                  <a:pt x="0" y="59"/>
                </a:lnTo>
                <a:lnTo>
                  <a:pt x="4" y="14"/>
                </a:lnTo>
                <a:lnTo>
                  <a:pt x="9" y="16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88" name="Freeform 177"/>
          <p:cNvSpPr>
            <a:spLocks noChangeAspect="1"/>
          </p:cNvSpPr>
          <p:nvPr/>
        </p:nvSpPr>
        <p:spPr bwMode="gray">
          <a:xfrm>
            <a:off x="4838700" y="2774950"/>
            <a:ext cx="41275" cy="90488"/>
          </a:xfrm>
          <a:custGeom>
            <a:avLst/>
            <a:gdLst>
              <a:gd name="T0" fmla="*/ 2147483647 w 83"/>
              <a:gd name="T1" fmla="*/ 2147483647 h 181"/>
              <a:gd name="T2" fmla="*/ 2147483647 w 83"/>
              <a:gd name="T3" fmla="*/ 2147483647 h 181"/>
              <a:gd name="T4" fmla="*/ 2147483647 w 83"/>
              <a:gd name="T5" fmla="*/ 2147483647 h 181"/>
              <a:gd name="T6" fmla="*/ 2147483647 w 83"/>
              <a:gd name="T7" fmla="*/ 2147483647 h 181"/>
              <a:gd name="T8" fmla="*/ 2147483647 w 83"/>
              <a:gd name="T9" fmla="*/ 2147483647 h 181"/>
              <a:gd name="T10" fmla="*/ 2147483647 w 83"/>
              <a:gd name="T11" fmla="*/ 2147483647 h 181"/>
              <a:gd name="T12" fmla="*/ 2147483647 w 83"/>
              <a:gd name="T13" fmla="*/ 2147483647 h 181"/>
              <a:gd name="T14" fmla="*/ 2147483647 w 83"/>
              <a:gd name="T15" fmla="*/ 0 h 181"/>
              <a:gd name="T16" fmla="*/ 2147483647 w 83"/>
              <a:gd name="T17" fmla="*/ 2147483647 h 181"/>
              <a:gd name="T18" fmla="*/ 2147483647 w 83"/>
              <a:gd name="T19" fmla="*/ 2147483647 h 181"/>
              <a:gd name="T20" fmla="*/ 2147483647 w 83"/>
              <a:gd name="T21" fmla="*/ 2147483647 h 181"/>
              <a:gd name="T22" fmla="*/ 2147483647 w 83"/>
              <a:gd name="T23" fmla="*/ 2147483647 h 181"/>
              <a:gd name="T24" fmla="*/ 2147483647 w 83"/>
              <a:gd name="T25" fmla="*/ 2147483647 h 181"/>
              <a:gd name="T26" fmla="*/ 2147483647 w 83"/>
              <a:gd name="T27" fmla="*/ 2147483647 h 181"/>
              <a:gd name="T28" fmla="*/ 2147483647 w 83"/>
              <a:gd name="T29" fmla="*/ 2147483647 h 181"/>
              <a:gd name="T30" fmla="*/ 0 w 83"/>
              <a:gd name="T31" fmla="*/ 2147483647 h 181"/>
              <a:gd name="T32" fmla="*/ 2147483647 w 83"/>
              <a:gd name="T33" fmla="*/ 2147483647 h 181"/>
              <a:gd name="T34" fmla="*/ 2147483647 w 83"/>
              <a:gd name="T35" fmla="*/ 2147483647 h 181"/>
              <a:gd name="T36" fmla="*/ 2147483647 w 83"/>
              <a:gd name="T37" fmla="*/ 2147483647 h 181"/>
              <a:gd name="T38" fmla="*/ 2147483647 w 83"/>
              <a:gd name="T39" fmla="*/ 2147483647 h 181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83"/>
              <a:gd name="T61" fmla="*/ 0 h 181"/>
              <a:gd name="T62" fmla="*/ 83 w 83"/>
              <a:gd name="T63" fmla="*/ 181 h 181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83" h="181">
                <a:moveTo>
                  <a:pt x="42" y="181"/>
                </a:moveTo>
                <a:lnTo>
                  <a:pt x="83" y="131"/>
                </a:lnTo>
                <a:lnTo>
                  <a:pt x="81" y="110"/>
                </a:lnTo>
                <a:lnTo>
                  <a:pt x="67" y="96"/>
                </a:lnTo>
                <a:lnTo>
                  <a:pt x="59" y="79"/>
                </a:lnTo>
                <a:lnTo>
                  <a:pt x="63" y="34"/>
                </a:lnTo>
                <a:lnTo>
                  <a:pt x="39" y="8"/>
                </a:lnTo>
                <a:lnTo>
                  <a:pt x="21" y="0"/>
                </a:lnTo>
                <a:lnTo>
                  <a:pt x="8" y="14"/>
                </a:lnTo>
                <a:lnTo>
                  <a:pt x="2" y="48"/>
                </a:lnTo>
                <a:lnTo>
                  <a:pt x="14" y="54"/>
                </a:lnTo>
                <a:lnTo>
                  <a:pt x="7" y="80"/>
                </a:lnTo>
                <a:lnTo>
                  <a:pt x="10" y="88"/>
                </a:lnTo>
                <a:lnTo>
                  <a:pt x="4" y="118"/>
                </a:lnTo>
                <a:lnTo>
                  <a:pt x="7" y="136"/>
                </a:lnTo>
                <a:lnTo>
                  <a:pt x="0" y="135"/>
                </a:lnTo>
                <a:lnTo>
                  <a:pt x="13" y="155"/>
                </a:lnTo>
                <a:lnTo>
                  <a:pt x="27" y="160"/>
                </a:lnTo>
                <a:lnTo>
                  <a:pt x="34" y="178"/>
                </a:lnTo>
                <a:lnTo>
                  <a:pt x="42" y="181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89" name="Freeform 178"/>
          <p:cNvSpPr>
            <a:spLocks noChangeAspect="1"/>
          </p:cNvSpPr>
          <p:nvPr/>
        </p:nvSpPr>
        <p:spPr bwMode="gray">
          <a:xfrm>
            <a:off x="4926013" y="2306638"/>
            <a:ext cx="215900" cy="184150"/>
          </a:xfrm>
          <a:custGeom>
            <a:avLst/>
            <a:gdLst>
              <a:gd name="T0" fmla="*/ 2147483647 w 444"/>
              <a:gd name="T1" fmla="*/ 2147483647 h 381"/>
              <a:gd name="T2" fmla="*/ 2147483647 w 444"/>
              <a:gd name="T3" fmla="*/ 2147483647 h 381"/>
              <a:gd name="T4" fmla="*/ 0 w 444"/>
              <a:gd name="T5" fmla="*/ 2147483647 h 381"/>
              <a:gd name="T6" fmla="*/ 2147483647 w 444"/>
              <a:gd name="T7" fmla="*/ 2147483647 h 381"/>
              <a:gd name="T8" fmla="*/ 2147483647 w 444"/>
              <a:gd name="T9" fmla="*/ 2147483647 h 381"/>
              <a:gd name="T10" fmla="*/ 2147483647 w 444"/>
              <a:gd name="T11" fmla="*/ 2147483647 h 381"/>
              <a:gd name="T12" fmla="*/ 2147483647 w 444"/>
              <a:gd name="T13" fmla="*/ 2147483647 h 381"/>
              <a:gd name="T14" fmla="*/ 2147483647 w 444"/>
              <a:gd name="T15" fmla="*/ 2147483647 h 381"/>
              <a:gd name="T16" fmla="*/ 2147483647 w 444"/>
              <a:gd name="T17" fmla="*/ 2147483647 h 381"/>
              <a:gd name="T18" fmla="*/ 2147483647 w 444"/>
              <a:gd name="T19" fmla="*/ 2147483647 h 381"/>
              <a:gd name="T20" fmla="*/ 2147483647 w 444"/>
              <a:gd name="T21" fmla="*/ 2147483647 h 381"/>
              <a:gd name="T22" fmla="*/ 2147483647 w 444"/>
              <a:gd name="T23" fmla="*/ 2147483647 h 381"/>
              <a:gd name="T24" fmla="*/ 2147483647 w 444"/>
              <a:gd name="T25" fmla="*/ 2147483647 h 381"/>
              <a:gd name="T26" fmla="*/ 2147483647 w 444"/>
              <a:gd name="T27" fmla="*/ 2147483647 h 381"/>
              <a:gd name="T28" fmla="*/ 2147483647 w 444"/>
              <a:gd name="T29" fmla="*/ 2147483647 h 381"/>
              <a:gd name="T30" fmla="*/ 2147483647 w 444"/>
              <a:gd name="T31" fmla="*/ 2147483647 h 381"/>
              <a:gd name="T32" fmla="*/ 2147483647 w 444"/>
              <a:gd name="T33" fmla="*/ 2147483647 h 381"/>
              <a:gd name="T34" fmla="*/ 2147483647 w 444"/>
              <a:gd name="T35" fmla="*/ 2147483647 h 381"/>
              <a:gd name="T36" fmla="*/ 2147483647 w 444"/>
              <a:gd name="T37" fmla="*/ 2147483647 h 381"/>
              <a:gd name="T38" fmla="*/ 2147483647 w 444"/>
              <a:gd name="T39" fmla="*/ 2147483647 h 381"/>
              <a:gd name="T40" fmla="*/ 2147483647 w 444"/>
              <a:gd name="T41" fmla="*/ 2147483647 h 381"/>
              <a:gd name="T42" fmla="*/ 2147483647 w 444"/>
              <a:gd name="T43" fmla="*/ 2147483647 h 381"/>
              <a:gd name="T44" fmla="*/ 2147483647 w 444"/>
              <a:gd name="T45" fmla="*/ 0 h 381"/>
              <a:gd name="T46" fmla="*/ 2147483647 w 444"/>
              <a:gd name="T47" fmla="*/ 2147483647 h 381"/>
              <a:gd name="T48" fmla="*/ 2147483647 w 444"/>
              <a:gd name="T49" fmla="*/ 2147483647 h 381"/>
              <a:gd name="T50" fmla="*/ 2147483647 w 444"/>
              <a:gd name="T51" fmla="*/ 2147483647 h 381"/>
              <a:gd name="T52" fmla="*/ 2147483647 w 444"/>
              <a:gd name="T53" fmla="*/ 2147483647 h 381"/>
              <a:gd name="T54" fmla="*/ 2147483647 w 444"/>
              <a:gd name="T55" fmla="*/ 2147483647 h 381"/>
              <a:gd name="T56" fmla="*/ 2147483647 w 444"/>
              <a:gd name="T57" fmla="*/ 2147483647 h 381"/>
              <a:gd name="T58" fmla="*/ 2147483647 w 444"/>
              <a:gd name="T59" fmla="*/ 2147483647 h 381"/>
              <a:gd name="T60" fmla="*/ 2147483647 w 444"/>
              <a:gd name="T61" fmla="*/ 2147483647 h 381"/>
              <a:gd name="T62" fmla="*/ 2147483647 w 444"/>
              <a:gd name="T63" fmla="*/ 2147483647 h 381"/>
              <a:gd name="T64" fmla="*/ 2147483647 w 444"/>
              <a:gd name="T65" fmla="*/ 2147483647 h 381"/>
              <a:gd name="T66" fmla="*/ 2147483647 w 444"/>
              <a:gd name="T67" fmla="*/ 2147483647 h 381"/>
              <a:gd name="T68" fmla="*/ 2147483647 w 444"/>
              <a:gd name="T69" fmla="*/ 2147483647 h 381"/>
              <a:gd name="T70" fmla="*/ 2147483647 w 444"/>
              <a:gd name="T71" fmla="*/ 2147483647 h 381"/>
              <a:gd name="T72" fmla="*/ 2147483647 w 444"/>
              <a:gd name="T73" fmla="*/ 2147483647 h 381"/>
              <a:gd name="T74" fmla="*/ 2147483647 w 444"/>
              <a:gd name="T75" fmla="*/ 2147483647 h 381"/>
              <a:gd name="T76" fmla="*/ 2147483647 w 444"/>
              <a:gd name="T77" fmla="*/ 2147483647 h 381"/>
              <a:gd name="T78" fmla="*/ 2147483647 w 444"/>
              <a:gd name="T79" fmla="*/ 2147483647 h 381"/>
              <a:gd name="T80" fmla="*/ 2147483647 w 444"/>
              <a:gd name="T81" fmla="*/ 2147483647 h 381"/>
              <a:gd name="T82" fmla="*/ 2147483647 w 444"/>
              <a:gd name="T83" fmla="*/ 2147483647 h 381"/>
              <a:gd name="T84" fmla="*/ 2147483647 w 444"/>
              <a:gd name="T85" fmla="*/ 2147483647 h 381"/>
              <a:gd name="T86" fmla="*/ 2147483647 w 444"/>
              <a:gd name="T87" fmla="*/ 2147483647 h 381"/>
              <a:gd name="T88" fmla="*/ 2147483647 w 444"/>
              <a:gd name="T89" fmla="*/ 2147483647 h 381"/>
              <a:gd name="T90" fmla="*/ 2147483647 w 444"/>
              <a:gd name="T91" fmla="*/ 2147483647 h 381"/>
              <a:gd name="T92" fmla="*/ 2147483647 w 444"/>
              <a:gd name="T93" fmla="*/ 2147483647 h 381"/>
              <a:gd name="T94" fmla="*/ 2147483647 w 444"/>
              <a:gd name="T95" fmla="*/ 2147483647 h 381"/>
              <a:gd name="T96" fmla="*/ 2147483647 w 444"/>
              <a:gd name="T97" fmla="*/ 2147483647 h 381"/>
              <a:gd name="T98" fmla="*/ 2147483647 w 444"/>
              <a:gd name="T99" fmla="*/ 2147483647 h 381"/>
              <a:gd name="T100" fmla="*/ 2147483647 w 444"/>
              <a:gd name="T101" fmla="*/ 2147483647 h 381"/>
              <a:gd name="T102" fmla="*/ 2147483647 w 444"/>
              <a:gd name="T103" fmla="*/ 2147483647 h 381"/>
              <a:gd name="T104" fmla="*/ 2147483647 w 444"/>
              <a:gd name="T105" fmla="*/ 2147483647 h 381"/>
              <a:gd name="T106" fmla="*/ 2147483647 w 444"/>
              <a:gd name="T107" fmla="*/ 2147483647 h 381"/>
              <a:gd name="T108" fmla="*/ 2147483647 w 444"/>
              <a:gd name="T109" fmla="*/ 2147483647 h 381"/>
              <a:gd name="T110" fmla="*/ 2147483647 w 444"/>
              <a:gd name="T111" fmla="*/ 2147483647 h 381"/>
              <a:gd name="T112" fmla="*/ 2147483647 w 444"/>
              <a:gd name="T113" fmla="*/ 2147483647 h 381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44"/>
              <a:gd name="T172" fmla="*/ 0 h 381"/>
              <a:gd name="T173" fmla="*/ 444 w 444"/>
              <a:gd name="T174" fmla="*/ 381 h 381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44" h="381">
                <a:moveTo>
                  <a:pt x="14" y="359"/>
                </a:moveTo>
                <a:lnTo>
                  <a:pt x="17" y="329"/>
                </a:lnTo>
                <a:lnTo>
                  <a:pt x="0" y="308"/>
                </a:lnTo>
                <a:lnTo>
                  <a:pt x="31" y="276"/>
                </a:lnTo>
                <a:lnTo>
                  <a:pt x="31" y="248"/>
                </a:lnTo>
                <a:lnTo>
                  <a:pt x="15" y="178"/>
                </a:lnTo>
                <a:lnTo>
                  <a:pt x="76" y="174"/>
                </a:lnTo>
                <a:lnTo>
                  <a:pt x="73" y="163"/>
                </a:lnTo>
                <a:lnTo>
                  <a:pt x="96" y="151"/>
                </a:lnTo>
                <a:lnTo>
                  <a:pt x="119" y="160"/>
                </a:lnTo>
                <a:lnTo>
                  <a:pt x="110" y="143"/>
                </a:lnTo>
                <a:lnTo>
                  <a:pt x="119" y="124"/>
                </a:lnTo>
                <a:lnTo>
                  <a:pt x="122" y="96"/>
                </a:lnTo>
                <a:lnTo>
                  <a:pt x="158" y="83"/>
                </a:lnTo>
                <a:lnTo>
                  <a:pt x="164" y="67"/>
                </a:lnTo>
                <a:lnTo>
                  <a:pt x="150" y="64"/>
                </a:lnTo>
                <a:lnTo>
                  <a:pt x="150" y="50"/>
                </a:lnTo>
                <a:lnTo>
                  <a:pt x="162" y="42"/>
                </a:lnTo>
                <a:lnTo>
                  <a:pt x="162" y="41"/>
                </a:lnTo>
                <a:lnTo>
                  <a:pt x="181" y="29"/>
                </a:lnTo>
                <a:lnTo>
                  <a:pt x="201" y="32"/>
                </a:lnTo>
                <a:lnTo>
                  <a:pt x="220" y="5"/>
                </a:lnTo>
                <a:lnTo>
                  <a:pt x="235" y="0"/>
                </a:lnTo>
                <a:lnTo>
                  <a:pt x="281" y="12"/>
                </a:lnTo>
                <a:lnTo>
                  <a:pt x="291" y="21"/>
                </a:lnTo>
                <a:lnTo>
                  <a:pt x="289" y="36"/>
                </a:lnTo>
                <a:lnTo>
                  <a:pt x="334" y="24"/>
                </a:lnTo>
                <a:lnTo>
                  <a:pt x="359" y="46"/>
                </a:lnTo>
                <a:lnTo>
                  <a:pt x="364" y="79"/>
                </a:lnTo>
                <a:lnTo>
                  <a:pt x="356" y="110"/>
                </a:lnTo>
                <a:lnTo>
                  <a:pt x="398" y="169"/>
                </a:lnTo>
                <a:lnTo>
                  <a:pt x="401" y="189"/>
                </a:lnTo>
                <a:lnTo>
                  <a:pt x="421" y="186"/>
                </a:lnTo>
                <a:lnTo>
                  <a:pt x="444" y="205"/>
                </a:lnTo>
                <a:lnTo>
                  <a:pt x="444" y="217"/>
                </a:lnTo>
                <a:lnTo>
                  <a:pt x="418" y="239"/>
                </a:lnTo>
                <a:lnTo>
                  <a:pt x="388" y="228"/>
                </a:lnTo>
                <a:lnTo>
                  <a:pt x="374" y="240"/>
                </a:lnTo>
                <a:lnTo>
                  <a:pt x="399" y="316"/>
                </a:lnTo>
                <a:lnTo>
                  <a:pt x="362" y="321"/>
                </a:lnTo>
                <a:lnTo>
                  <a:pt x="347" y="338"/>
                </a:lnTo>
                <a:lnTo>
                  <a:pt x="345" y="372"/>
                </a:lnTo>
                <a:lnTo>
                  <a:pt x="335" y="381"/>
                </a:lnTo>
                <a:lnTo>
                  <a:pt x="323" y="372"/>
                </a:lnTo>
                <a:lnTo>
                  <a:pt x="291" y="379"/>
                </a:lnTo>
                <a:lnTo>
                  <a:pt x="271" y="359"/>
                </a:lnTo>
                <a:lnTo>
                  <a:pt x="257" y="374"/>
                </a:lnTo>
                <a:lnTo>
                  <a:pt x="229" y="359"/>
                </a:lnTo>
                <a:lnTo>
                  <a:pt x="204" y="372"/>
                </a:lnTo>
                <a:lnTo>
                  <a:pt x="198" y="361"/>
                </a:lnTo>
                <a:lnTo>
                  <a:pt x="184" y="362"/>
                </a:lnTo>
                <a:lnTo>
                  <a:pt x="170" y="347"/>
                </a:lnTo>
                <a:lnTo>
                  <a:pt x="120" y="330"/>
                </a:lnTo>
                <a:lnTo>
                  <a:pt x="96" y="332"/>
                </a:lnTo>
                <a:lnTo>
                  <a:pt x="57" y="335"/>
                </a:lnTo>
                <a:lnTo>
                  <a:pt x="43" y="349"/>
                </a:lnTo>
                <a:lnTo>
                  <a:pt x="14" y="359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90" name="Freeform 179"/>
          <p:cNvSpPr>
            <a:spLocks noChangeAspect="1"/>
          </p:cNvSpPr>
          <p:nvPr/>
        </p:nvSpPr>
        <p:spPr bwMode="gray">
          <a:xfrm>
            <a:off x="4900613" y="2452688"/>
            <a:ext cx="407987" cy="269875"/>
          </a:xfrm>
          <a:custGeom>
            <a:avLst/>
            <a:gdLst>
              <a:gd name="T0" fmla="*/ 2147483647 w 835"/>
              <a:gd name="T1" fmla="*/ 2147483647 h 556"/>
              <a:gd name="T2" fmla="*/ 2147483647 w 835"/>
              <a:gd name="T3" fmla="*/ 2147483647 h 556"/>
              <a:gd name="T4" fmla="*/ 2147483647 w 835"/>
              <a:gd name="T5" fmla="*/ 2147483647 h 556"/>
              <a:gd name="T6" fmla="*/ 2147483647 w 835"/>
              <a:gd name="T7" fmla="*/ 2147483647 h 556"/>
              <a:gd name="T8" fmla="*/ 2147483647 w 835"/>
              <a:gd name="T9" fmla="*/ 2147483647 h 556"/>
              <a:gd name="T10" fmla="*/ 2147483647 w 835"/>
              <a:gd name="T11" fmla="*/ 2147483647 h 556"/>
              <a:gd name="T12" fmla="*/ 2147483647 w 835"/>
              <a:gd name="T13" fmla="*/ 2147483647 h 556"/>
              <a:gd name="T14" fmla="*/ 2147483647 w 835"/>
              <a:gd name="T15" fmla="*/ 2147483647 h 556"/>
              <a:gd name="T16" fmla="*/ 2147483647 w 835"/>
              <a:gd name="T17" fmla="*/ 2147483647 h 556"/>
              <a:gd name="T18" fmla="*/ 2147483647 w 835"/>
              <a:gd name="T19" fmla="*/ 2147483647 h 556"/>
              <a:gd name="T20" fmla="*/ 2147483647 w 835"/>
              <a:gd name="T21" fmla="*/ 2147483647 h 556"/>
              <a:gd name="T22" fmla="*/ 2147483647 w 835"/>
              <a:gd name="T23" fmla="*/ 2147483647 h 556"/>
              <a:gd name="T24" fmla="*/ 2147483647 w 835"/>
              <a:gd name="T25" fmla="*/ 2147483647 h 556"/>
              <a:gd name="T26" fmla="*/ 2147483647 w 835"/>
              <a:gd name="T27" fmla="*/ 2147483647 h 556"/>
              <a:gd name="T28" fmla="*/ 2147483647 w 835"/>
              <a:gd name="T29" fmla="*/ 2147483647 h 556"/>
              <a:gd name="T30" fmla="*/ 2147483647 w 835"/>
              <a:gd name="T31" fmla="*/ 2147483647 h 556"/>
              <a:gd name="T32" fmla="*/ 2147483647 w 835"/>
              <a:gd name="T33" fmla="*/ 2147483647 h 556"/>
              <a:gd name="T34" fmla="*/ 2147483647 w 835"/>
              <a:gd name="T35" fmla="*/ 2147483647 h 556"/>
              <a:gd name="T36" fmla="*/ 2147483647 w 835"/>
              <a:gd name="T37" fmla="*/ 2147483647 h 556"/>
              <a:gd name="T38" fmla="*/ 2147483647 w 835"/>
              <a:gd name="T39" fmla="*/ 2147483647 h 556"/>
              <a:gd name="T40" fmla="*/ 2147483647 w 835"/>
              <a:gd name="T41" fmla="*/ 2147483647 h 556"/>
              <a:gd name="T42" fmla="*/ 2147483647 w 835"/>
              <a:gd name="T43" fmla="*/ 2147483647 h 556"/>
              <a:gd name="T44" fmla="*/ 2147483647 w 835"/>
              <a:gd name="T45" fmla="*/ 2147483647 h 556"/>
              <a:gd name="T46" fmla="*/ 2147483647 w 835"/>
              <a:gd name="T47" fmla="*/ 2147483647 h 556"/>
              <a:gd name="T48" fmla="*/ 2147483647 w 835"/>
              <a:gd name="T49" fmla="*/ 2147483647 h 556"/>
              <a:gd name="T50" fmla="*/ 2147483647 w 835"/>
              <a:gd name="T51" fmla="*/ 2147483647 h 556"/>
              <a:gd name="T52" fmla="*/ 2147483647 w 835"/>
              <a:gd name="T53" fmla="*/ 2147483647 h 556"/>
              <a:gd name="T54" fmla="*/ 2147483647 w 835"/>
              <a:gd name="T55" fmla="*/ 2147483647 h 556"/>
              <a:gd name="T56" fmla="*/ 2147483647 w 835"/>
              <a:gd name="T57" fmla="*/ 2147483647 h 556"/>
              <a:gd name="T58" fmla="*/ 2147483647 w 835"/>
              <a:gd name="T59" fmla="*/ 2147483647 h 556"/>
              <a:gd name="T60" fmla="*/ 2147483647 w 835"/>
              <a:gd name="T61" fmla="*/ 2147483647 h 556"/>
              <a:gd name="T62" fmla="*/ 2147483647 w 835"/>
              <a:gd name="T63" fmla="*/ 2147483647 h 556"/>
              <a:gd name="T64" fmla="*/ 2147483647 w 835"/>
              <a:gd name="T65" fmla="*/ 2147483647 h 556"/>
              <a:gd name="T66" fmla="*/ 2147483647 w 835"/>
              <a:gd name="T67" fmla="*/ 2147483647 h 556"/>
              <a:gd name="T68" fmla="*/ 2147483647 w 835"/>
              <a:gd name="T69" fmla="*/ 2147483647 h 556"/>
              <a:gd name="T70" fmla="*/ 2147483647 w 835"/>
              <a:gd name="T71" fmla="*/ 2147483647 h 556"/>
              <a:gd name="T72" fmla="*/ 2147483647 w 835"/>
              <a:gd name="T73" fmla="*/ 2147483647 h 556"/>
              <a:gd name="T74" fmla="*/ 2147483647 w 835"/>
              <a:gd name="T75" fmla="*/ 0 h 556"/>
              <a:gd name="T76" fmla="*/ 2147483647 w 835"/>
              <a:gd name="T77" fmla="*/ 2147483647 h 556"/>
              <a:gd name="T78" fmla="*/ 2147483647 w 835"/>
              <a:gd name="T79" fmla="*/ 2147483647 h 556"/>
              <a:gd name="T80" fmla="*/ 2147483647 w 835"/>
              <a:gd name="T81" fmla="*/ 2147483647 h 556"/>
              <a:gd name="T82" fmla="*/ 2147483647 w 835"/>
              <a:gd name="T83" fmla="*/ 2147483647 h 556"/>
              <a:gd name="T84" fmla="*/ 2147483647 w 835"/>
              <a:gd name="T85" fmla="*/ 2147483647 h 556"/>
              <a:gd name="T86" fmla="*/ 2147483647 w 835"/>
              <a:gd name="T87" fmla="*/ 2147483647 h 556"/>
              <a:gd name="T88" fmla="*/ 2147483647 w 835"/>
              <a:gd name="T89" fmla="*/ 2147483647 h 556"/>
              <a:gd name="T90" fmla="*/ 2147483647 w 835"/>
              <a:gd name="T91" fmla="*/ 2147483647 h 556"/>
              <a:gd name="T92" fmla="*/ 2147483647 w 835"/>
              <a:gd name="T93" fmla="*/ 2147483647 h 55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835"/>
              <a:gd name="T142" fmla="*/ 0 h 556"/>
              <a:gd name="T143" fmla="*/ 835 w 835"/>
              <a:gd name="T144" fmla="*/ 556 h 55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835" h="556">
                <a:moveTo>
                  <a:pt x="15" y="241"/>
                </a:moveTo>
                <a:lnTo>
                  <a:pt x="0" y="290"/>
                </a:lnTo>
                <a:lnTo>
                  <a:pt x="22" y="305"/>
                </a:lnTo>
                <a:lnTo>
                  <a:pt x="34" y="321"/>
                </a:lnTo>
                <a:lnTo>
                  <a:pt x="116" y="319"/>
                </a:lnTo>
                <a:lnTo>
                  <a:pt x="132" y="331"/>
                </a:lnTo>
                <a:lnTo>
                  <a:pt x="207" y="304"/>
                </a:lnTo>
                <a:lnTo>
                  <a:pt x="218" y="285"/>
                </a:lnTo>
                <a:lnTo>
                  <a:pt x="246" y="282"/>
                </a:lnTo>
                <a:lnTo>
                  <a:pt x="281" y="304"/>
                </a:lnTo>
                <a:lnTo>
                  <a:pt x="323" y="313"/>
                </a:lnTo>
                <a:lnTo>
                  <a:pt x="326" y="319"/>
                </a:lnTo>
                <a:lnTo>
                  <a:pt x="323" y="346"/>
                </a:lnTo>
                <a:lnTo>
                  <a:pt x="340" y="358"/>
                </a:lnTo>
                <a:lnTo>
                  <a:pt x="345" y="384"/>
                </a:lnTo>
                <a:lnTo>
                  <a:pt x="362" y="395"/>
                </a:lnTo>
                <a:lnTo>
                  <a:pt x="360" y="421"/>
                </a:lnTo>
                <a:lnTo>
                  <a:pt x="320" y="421"/>
                </a:lnTo>
                <a:lnTo>
                  <a:pt x="315" y="447"/>
                </a:lnTo>
                <a:lnTo>
                  <a:pt x="297" y="466"/>
                </a:lnTo>
                <a:lnTo>
                  <a:pt x="292" y="478"/>
                </a:lnTo>
                <a:lnTo>
                  <a:pt x="281" y="480"/>
                </a:lnTo>
                <a:lnTo>
                  <a:pt x="283" y="492"/>
                </a:lnTo>
                <a:lnTo>
                  <a:pt x="289" y="488"/>
                </a:lnTo>
                <a:lnTo>
                  <a:pt x="300" y="502"/>
                </a:lnTo>
                <a:lnTo>
                  <a:pt x="339" y="489"/>
                </a:lnTo>
                <a:lnTo>
                  <a:pt x="351" y="494"/>
                </a:lnTo>
                <a:lnTo>
                  <a:pt x="351" y="495"/>
                </a:lnTo>
                <a:lnTo>
                  <a:pt x="351" y="463"/>
                </a:lnTo>
                <a:lnTo>
                  <a:pt x="357" y="477"/>
                </a:lnTo>
                <a:lnTo>
                  <a:pt x="359" y="469"/>
                </a:lnTo>
                <a:lnTo>
                  <a:pt x="377" y="463"/>
                </a:lnTo>
                <a:lnTo>
                  <a:pt x="386" y="449"/>
                </a:lnTo>
                <a:lnTo>
                  <a:pt x="376" y="429"/>
                </a:lnTo>
                <a:lnTo>
                  <a:pt x="391" y="441"/>
                </a:lnTo>
                <a:lnTo>
                  <a:pt x="402" y="418"/>
                </a:lnTo>
                <a:lnTo>
                  <a:pt x="442" y="404"/>
                </a:lnTo>
                <a:lnTo>
                  <a:pt x="441" y="412"/>
                </a:lnTo>
                <a:lnTo>
                  <a:pt x="449" y="409"/>
                </a:lnTo>
                <a:lnTo>
                  <a:pt x="458" y="400"/>
                </a:lnTo>
                <a:lnTo>
                  <a:pt x="472" y="421"/>
                </a:lnTo>
                <a:lnTo>
                  <a:pt x="444" y="421"/>
                </a:lnTo>
                <a:lnTo>
                  <a:pt x="464" y="427"/>
                </a:lnTo>
                <a:lnTo>
                  <a:pt x="453" y="439"/>
                </a:lnTo>
                <a:lnTo>
                  <a:pt x="487" y="449"/>
                </a:lnTo>
                <a:lnTo>
                  <a:pt x="520" y="441"/>
                </a:lnTo>
                <a:lnTo>
                  <a:pt x="538" y="447"/>
                </a:lnTo>
                <a:lnTo>
                  <a:pt x="543" y="456"/>
                </a:lnTo>
                <a:lnTo>
                  <a:pt x="516" y="466"/>
                </a:lnTo>
                <a:lnTo>
                  <a:pt x="486" y="492"/>
                </a:lnTo>
                <a:lnTo>
                  <a:pt x="529" y="508"/>
                </a:lnTo>
                <a:lnTo>
                  <a:pt x="533" y="525"/>
                </a:lnTo>
                <a:lnTo>
                  <a:pt x="529" y="546"/>
                </a:lnTo>
                <a:lnTo>
                  <a:pt x="554" y="556"/>
                </a:lnTo>
                <a:lnTo>
                  <a:pt x="569" y="549"/>
                </a:lnTo>
                <a:lnTo>
                  <a:pt x="583" y="536"/>
                </a:lnTo>
                <a:lnTo>
                  <a:pt x="601" y="532"/>
                </a:lnTo>
                <a:lnTo>
                  <a:pt x="623" y="511"/>
                </a:lnTo>
                <a:lnTo>
                  <a:pt x="648" y="517"/>
                </a:lnTo>
                <a:lnTo>
                  <a:pt x="667" y="514"/>
                </a:lnTo>
                <a:lnTo>
                  <a:pt x="674" y="488"/>
                </a:lnTo>
                <a:lnTo>
                  <a:pt x="640" y="489"/>
                </a:lnTo>
                <a:lnTo>
                  <a:pt x="631" y="500"/>
                </a:lnTo>
                <a:lnTo>
                  <a:pt x="622" y="494"/>
                </a:lnTo>
                <a:lnTo>
                  <a:pt x="622" y="498"/>
                </a:lnTo>
                <a:lnTo>
                  <a:pt x="603" y="498"/>
                </a:lnTo>
                <a:lnTo>
                  <a:pt x="594" y="472"/>
                </a:lnTo>
                <a:lnTo>
                  <a:pt x="584" y="475"/>
                </a:lnTo>
                <a:lnTo>
                  <a:pt x="586" y="468"/>
                </a:lnTo>
                <a:lnTo>
                  <a:pt x="575" y="466"/>
                </a:lnTo>
                <a:lnTo>
                  <a:pt x="581" y="456"/>
                </a:lnTo>
                <a:lnTo>
                  <a:pt x="564" y="452"/>
                </a:lnTo>
                <a:lnTo>
                  <a:pt x="560" y="460"/>
                </a:lnTo>
                <a:lnTo>
                  <a:pt x="555" y="446"/>
                </a:lnTo>
                <a:lnTo>
                  <a:pt x="541" y="438"/>
                </a:lnTo>
                <a:lnTo>
                  <a:pt x="557" y="443"/>
                </a:lnTo>
                <a:lnTo>
                  <a:pt x="560" y="430"/>
                </a:lnTo>
                <a:lnTo>
                  <a:pt x="564" y="443"/>
                </a:lnTo>
                <a:lnTo>
                  <a:pt x="575" y="443"/>
                </a:lnTo>
                <a:lnTo>
                  <a:pt x="577" y="452"/>
                </a:lnTo>
                <a:lnTo>
                  <a:pt x="586" y="443"/>
                </a:lnTo>
                <a:lnTo>
                  <a:pt x="592" y="463"/>
                </a:lnTo>
                <a:lnTo>
                  <a:pt x="596" y="463"/>
                </a:lnTo>
                <a:lnTo>
                  <a:pt x="594" y="443"/>
                </a:lnTo>
                <a:lnTo>
                  <a:pt x="606" y="422"/>
                </a:lnTo>
                <a:lnTo>
                  <a:pt x="614" y="434"/>
                </a:lnTo>
                <a:lnTo>
                  <a:pt x="637" y="412"/>
                </a:lnTo>
                <a:lnTo>
                  <a:pt x="654" y="412"/>
                </a:lnTo>
                <a:lnTo>
                  <a:pt x="674" y="398"/>
                </a:lnTo>
                <a:lnTo>
                  <a:pt x="684" y="405"/>
                </a:lnTo>
                <a:lnTo>
                  <a:pt x="687" y="395"/>
                </a:lnTo>
                <a:lnTo>
                  <a:pt x="718" y="381"/>
                </a:lnTo>
                <a:lnTo>
                  <a:pt x="747" y="373"/>
                </a:lnTo>
                <a:lnTo>
                  <a:pt x="745" y="353"/>
                </a:lnTo>
                <a:lnTo>
                  <a:pt x="778" y="321"/>
                </a:lnTo>
                <a:lnTo>
                  <a:pt x="815" y="325"/>
                </a:lnTo>
                <a:lnTo>
                  <a:pt x="823" y="294"/>
                </a:lnTo>
                <a:lnTo>
                  <a:pt x="820" y="279"/>
                </a:lnTo>
                <a:lnTo>
                  <a:pt x="812" y="265"/>
                </a:lnTo>
                <a:lnTo>
                  <a:pt x="829" y="254"/>
                </a:lnTo>
                <a:lnTo>
                  <a:pt x="815" y="243"/>
                </a:lnTo>
                <a:lnTo>
                  <a:pt x="835" y="226"/>
                </a:lnTo>
                <a:lnTo>
                  <a:pt x="828" y="207"/>
                </a:lnTo>
                <a:lnTo>
                  <a:pt x="835" y="204"/>
                </a:lnTo>
                <a:lnTo>
                  <a:pt x="752" y="169"/>
                </a:lnTo>
                <a:lnTo>
                  <a:pt x="735" y="175"/>
                </a:lnTo>
                <a:lnTo>
                  <a:pt x="707" y="138"/>
                </a:lnTo>
                <a:lnTo>
                  <a:pt x="673" y="152"/>
                </a:lnTo>
                <a:lnTo>
                  <a:pt x="625" y="139"/>
                </a:lnTo>
                <a:lnTo>
                  <a:pt x="601" y="84"/>
                </a:lnTo>
                <a:lnTo>
                  <a:pt x="563" y="75"/>
                </a:lnTo>
                <a:lnTo>
                  <a:pt x="555" y="50"/>
                </a:lnTo>
                <a:lnTo>
                  <a:pt x="569" y="38"/>
                </a:lnTo>
                <a:lnTo>
                  <a:pt x="540" y="0"/>
                </a:lnTo>
                <a:lnTo>
                  <a:pt x="450" y="17"/>
                </a:lnTo>
                <a:lnTo>
                  <a:pt x="413" y="22"/>
                </a:lnTo>
                <a:lnTo>
                  <a:pt x="398" y="39"/>
                </a:lnTo>
                <a:lnTo>
                  <a:pt x="396" y="73"/>
                </a:lnTo>
                <a:lnTo>
                  <a:pt x="386" y="82"/>
                </a:lnTo>
                <a:lnTo>
                  <a:pt x="374" y="73"/>
                </a:lnTo>
                <a:lnTo>
                  <a:pt x="342" y="80"/>
                </a:lnTo>
                <a:lnTo>
                  <a:pt x="322" y="60"/>
                </a:lnTo>
                <a:lnTo>
                  <a:pt x="308" y="75"/>
                </a:lnTo>
                <a:lnTo>
                  <a:pt x="280" y="60"/>
                </a:lnTo>
                <a:lnTo>
                  <a:pt x="255" y="73"/>
                </a:lnTo>
                <a:lnTo>
                  <a:pt x="249" y="62"/>
                </a:lnTo>
                <a:lnTo>
                  <a:pt x="235" y="63"/>
                </a:lnTo>
                <a:lnTo>
                  <a:pt x="221" y="48"/>
                </a:lnTo>
                <a:lnTo>
                  <a:pt x="171" y="31"/>
                </a:lnTo>
                <a:lnTo>
                  <a:pt x="147" y="33"/>
                </a:lnTo>
                <a:lnTo>
                  <a:pt x="108" y="36"/>
                </a:lnTo>
                <a:lnTo>
                  <a:pt x="94" y="50"/>
                </a:lnTo>
                <a:lnTo>
                  <a:pt x="65" y="60"/>
                </a:lnTo>
                <a:lnTo>
                  <a:pt x="76" y="99"/>
                </a:lnTo>
                <a:lnTo>
                  <a:pt x="86" y="112"/>
                </a:lnTo>
                <a:lnTo>
                  <a:pt x="91" y="135"/>
                </a:lnTo>
                <a:lnTo>
                  <a:pt x="86" y="146"/>
                </a:lnTo>
                <a:lnTo>
                  <a:pt x="42" y="186"/>
                </a:lnTo>
                <a:lnTo>
                  <a:pt x="27" y="217"/>
                </a:lnTo>
                <a:lnTo>
                  <a:pt x="29" y="241"/>
                </a:lnTo>
                <a:lnTo>
                  <a:pt x="15" y="241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91" name="Freeform 180"/>
          <p:cNvSpPr>
            <a:spLocks noChangeAspect="1"/>
          </p:cNvSpPr>
          <p:nvPr/>
        </p:nvSpPr>
        <p:spPr bwMode="gray">
          <a:xfrm>
            <a:off x="4759325" y="2692400"/>
            <a:ext cx="87313" cy="84138"/>
          </a:xfrm>
          <a:custGeom>
            <a:avLst/>
            <a:gdLst>
              <a:gd name="T0" fmla="*/ 2147483647 w 181"/>
              <a:gd name="T1" fmla="*/ 2147483647 h 174"/>
              <a:gd name="T2" fmla="*/ 2147483647 w 181"/>
              <a:gd name="T3" fmla="*/ 2147483647 h 174"/>
              <a:gd name="T4" fmla="*/ 2147483647 w 181"/>
              <a:gd name="T5" fmla="*/ 2147483647 h 174"/>
              <a:gd name="T6" fmla="*/ 2147483647 w 181"/>
              <a:gd name="T7" fmla="*/ 2147483647 h 174"/>
              <a:gd name="T8" fmla="*/ 2147483647 w 181"/>
              <a:gd name="T9" fmla="*/ 2147483647 h 174"/>
              <a:gd name="T10" fmla="*/ 2147483647 w 181"/>
              <a:gd name="T11" fmla="*/ 2147483647 h 174"/>
              <a:gd name="T12" fmla="*/ 2147483647 w 181"/>
              <a:gd name="T13" fmla="*/ 2147483647 h 174"/>
              <a:gd name="T14" fmla="*/ 2147483647 w 181"/>
              <a:gd name="T15" fmla="*/ 2147483647 h 174"/>
              <a:gd name="T16" fmla="*/ 2147483647 w 181"/>
              <a:gd name="T17" fmla="*/ 2147483647 h 174"/>
              <a:gd name="T18" fmla="*/ 2147483647 w 181"/>
              <a:gd name="T19" fmla="*/ 2147483647 h 174"/>
              <a:gd name="T20" fmla="*/ 2147483647 w 181"/>
              <a:gd name="T21" fmla="*/ 2147483647 h 174"/>
              <a:gd name="T22" fmla="*/ 2147483647 w 181"/>
              <a:gd name="T23" fmla="*/ 2147483647 h 174"/>
              <a:gd name="T24" fmla="*/ 2147483647 w 181"/>
              <a:gd name="T25" fmla="*/ 2147483647 h 174"/>
              <a:gd name="T26" fmla="*/ 2147483647 w 181"/>
              <a:gd name="T27" fmla="*/ 2147483647 h 174"/>
              <a:gd name="T28" fmla="*/ 2147483647 w 181"/>
              <a:gd name="T29" fmla="*/ 2147483647 h 174"/>
              <a:gd name="T30" fmla="*/ 2147483647 w 181"/>
              <a:gd name="T31" fmla="*/ 2147483647 h 174"/>
              <a:gd name="T32" fmla="*/ 2147483647 w 181"/>
              <a:gd name="T33" fmla="*/ 2147483647 h 174"/>
              <a:gd name="T34" fmla="*/ 2147483647 w 181"/>
              <a:gd name="T35" fmla="*/ 2147483647 h 174"/>
              <a:gd name="T36" fmla="*/ 2147483647 w 181"/>
              <a:gd name="T37" fmla="*/ 2147483647 h 174"/>
              <a:gd name="T38" fmla="*/ 2147483647 w 181"/>
              <a:gd name="T39" fmla="*/ 2147483647 h 174"/>
              <a:gd name="T40" fmla="*/ 2147483647 w 181"/>
              <a:gd name="T41" fmla="*/ 2147483647 h 174"/>
              <a:gd name="T42" fmla="*/ 2147483647 w 181"/>
              <a:gd name="T43" fmla="*/ 2147483647 h 174"/>
              <a:gd name="T44" fmla="*/ 2147483647 w 181"/>
              <a:gd name="T45" fmla="*/ 2147483647 h 174"/>
              <a:gd name="T46" fmla="*/ 2147483647 w 181"/>
              <a:gd name="T47" fmla="*/ 2147483647 h 174"/>
              <a:gd name="T48" fmla="*/ 2147483647 w 181"/>
              <a:gd name="T49" fmla="*/ 2147483647 h 174"/>
              <a:gd name="T50" fmla="*/ 2147483647 w 181"/>
              <a:gd name="T51" fmla="*/ 2147483647 h 174"/>
              <a:gd name="T52" fmla="*/ 2147483647 w 181"/>
              <a:gd name="T53" fmla="*/ 2147483647 h 174"/>
              <a:gd name="T54" fmla="*/ 2147483647 w 181"/>
              <a:gd name="T55" fmla="*/ 2147483647 h 174"/>
              <a:gd name="T56" fmla="*/ 2147483647 w 181"/>
              <a:gd name="T57" fmla="*/ 2147483647 h 174"/>
              <a:gd name="T58" fmla="*/ 2147483647 w 181"/>
              <a:gd name="T59" fmla="*/ 2147483647 h 174"/>
              <a:gd name="T60" fmla="*/ 2147483647 w 181"/>
              <a:gd name="T61" fmla="*/ 2147483647 h 174"/>
              <a:gd name="T62" fmla="*/ 2147483647 w 181"/>
              <a:gd name="T63" fmla="*/ 2147483647 h 174"/>
              <a:gd name="T64" fmla="*/ 2147483647 w 181"/>
              <a:gd name="T65" fmla="*/ 2147483647 h 174"/>
              <a:gd name="T66" fmla="*/ 2147483647 w 181"/>
              <a:gd name="T67" fmla="*/ 2147483647 h 174"/>
              <a:gd name="T68" fmla="*/ 2147483647 w 181"/>
              <a:gd name="T69" fmla="*/ 2147483647 h 174"/>
              <a:gd name="T70" fmla="*/ 2147483647 w 181"/>
              <a:gd name="T71" fmla="*/ 2147483647 h 174"/>
              <a:gd name="T72" fmla="*/ 2147483647 w 181"/>
              <a:gd name="T73" fmla="*/ 2147483647 h 174"/>
              <a:gd name="T74" fmla="*/ 2147483647 w 181"/>
              <a:gd name="T75" fmla="*/ 2147483647 h 174"/>
              <a:gd name="T76" fmla="*/ 2147483647 w 181"/>
              <a:gd name="T77" fmla="*/ 2147483647 h 174"/>
              <a:gd name="T78" fmla="*/ 2147483647 w 181"/>
              <a:gd name="T79" fmla="*/ 2147483647 h 174"/>
              <a:gd name="T80" fmla="*/ 2147483647 w 181"/>
              <a:gd name="T81" fmla="*/ 2147483647 h 174"/>
              <a:gd name="T82" fmla="*/ 2147483647 w 181"/>
              <a:gd name="T83" fmla="*/ 2147483647 h 174"/>
              <a:gd name="T84" fmla="*/ 0 w 181"/>
              <a:gd name="T85" fmla="*/ 2147483647 h 174"/>
              <a:gd name="T86" fmla="*/ 2147483647 w 181"/>
              <a:gd name="T87" fmla="*/ 2147483647 h 174"/>
              <a:gd name="T88" fmla="*/ 2147483647 w 181"/>
              <a:gd name="T89" fmla="*/ 2147483647 h 174"/>
              <a:gd name="T90" fmla="*/ 2147483647 w 181"/>
              <a:gd name="T91" fmla="*/ 2147483647 h 174"/>
              <a:gd name="T92" fmla="*/ 2147483647 w 181"/>
              <a:gd name="T93" fmla="*/ 2147483647 h 174"/>
              <a:gd name="T94" fmla="*/ 2147483647 w 181"/>
              <a:gd name="T95" fmla="*/ 2147483647 h 174"/>
              <a:gd name="T96" fmla="*/ 2147483647 w 181"/>
              <a:gd name="T97" fmla="*/ 0 h 174"/>
              <a:gd name="T98" fmla="*/ 2147483647 w 181"/>
              <a:gd name="T99" fmla="*/ 2147483647 h 174"/>
              <a:gd name="T100" fmla="*/ 2147483647 w 181"/>
              <a:gd name="T101" fmla="*/ 2147483647 h 174"/>
              <a:gd name="T102" fmla="*/ 2147483647 w 181"/>
              <a:gd name="T103" fmla="*/ 2147483647 h 174"/>
              <a:gd name="T104" fmla="*/ 2147483647 w 181"/>
              <a:gd name="T105" fmla="*/ 2147483647 h 174"/>
              <a:gd name="T106" fmla="*/ 2147483647 w 181"/>
              <a:gd name="T107" fmla="*/ 2147483647 h 17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81"/>
              <a:gd name="T163" fmla="*/ 0 h 174"/>
              <a:gd name="T164" fmla="*/ 181 w 181"/>
              <a:gd name="T165" fmla="*/ 174 h 174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81" h="174">
                <a:moveTo>
                  <a:pt x="157" y="24"/>
                </a:moveTo>
                <a:lnTo>
                  <a:pt x="168" y="24"/>
                </a:lnTo>
                <a:lnTo>
                  <a:pt x="169" y="27"/>
                </a:lnTo>
                <a:lnTo>
                  <a:pt x="157" y="59"/>
                </a:lnTo>
                <a:lnTo>
                  <a:pt x="160" y="62"/>
                </a:lnTo>
                <a:lnTo>
                  <a:pt x="181" y="79"/>
                </a:lnTo>
                <a:lnTo>
                  <a:pt x="178" y="84"/>
                </a:lnTo>
                <a:lnTo>
                  <a:pt x="166" y="83"/>
                </a:lnTo>
                <a:lnTo>
                  <a:pt x="164" y="84"/>
                </a:lnTo>
                <a:lnTo>
                  <a:pt x="178" y="98"/>
                </a:lnTo>
                <a:lnTo>
                  <a:pt x="177" y="107"/>
                </a:lnTo>
                <a:lnTo>
                  <a:pt x="155" y="113"/>
                </a:lnTo>
                <a:lnTo>
                  <a:pt x="149" y="115"/>
                </a:lnTo>
                <a:lnTo>
                  <a:pt x="155" y="126"/>
                </a:lnTo>
                <a:lnTo>
                  <a:pt x="155" y="130"/>
                </a:lnTo>
                <a:lnTo>
                  <a:pt x="152" y="130"/>
                </a:lnTo>
                <a:lnTo>
                  <a:pt x="149" y="124"/>
                </a:lnTo>
                <a:lnTo>
                  <a:pt x="144" y="124"/>
                </a:lnTo>
                <a:lnTo>
                  <a:pt x="135" y="135"/>
                </a:lnTo>
                <a:lnTo>
                  <a:pt x="134" y="144"/>
                </a:lnTo>
                <a:lnTo>
                  <a:pt x="130" y="144"/>
                </a:lnTo>
                <a:lnTo>
                  <a:pt x="126" y="155"/>
                </a:lnTo>
                <a:lnTo>
                  <a:pt x="130" y="164"/>
                </a:lnTo>
                <a:lnTo>
                  <a:pt x="130" y="167"/>
                </a:lnTo>
                <a:lnTo>
                  <a:pt x="127" y="174"/>
                </a:lnTo>
                <a:lnTo>
                  <a:pt x="124" y="174"/>
                </a:lnTo>
                <a:lnTo>
                  <a:pt x="124" y="171"/>
                </a:lnTo>
                <a:lnTo>
                  <a:pt x="117" y="169"/>
                </a:lnTo>
                <a:lnTo>
                  <a:pt x="109" y="163"/>
                </a:lnTo>
                <a:lnTo>
                  <a:pt x="103" y="161"/>
                </a:lnTo>
                <a:lnTo>
                  <a:pt x="96" y="155"/>
                </a:lnTo>
                <a:lnTo>
                  <a:pt x="96" y="152"/>
                </a:lnTo>
                <a:lnTo>
                  <a:pt x="92" y="150"/>
                </a:lnTo>
                <a:lnTo>
                  <a:pt x="84" y="154"/>
                </a:lnTo>
                <a:lnTo>
                  <a:pt x="84" y="150"/>
                </a:lnTo>
                <a:lnTo>
                  <a:pt x="83" y="150"/>
                </a:lnTo>
                <a:lnTo>
                  <a:pt x="90" y="147"/>
                </a:lnTo>
                <a:lnTo>
                  <a:pt x="71" y="127"/>
                </a:lnTo>
                <a:lnTo>
                  <a:pt x="70" y="117"/>
                </a:lnTo>
                <a:lnTo>
                  <a:pt x="20" y="70"/>
                </a:lnTo>
                <a:lnTo>
                  <a:pt x="19" y="51"/>
                </a:lnTo>
                <a:lnTo>
                  <a:pt x="10" y="36"/>
                </a:lnTo>
                <a:lnTo>
                  <a:pt x="0" y="30"/>
                </a:lnTo>
                <a:lnTo>
                  <a:pt x="3" y="7"/>
                </a:lnTo>
                <a:lnTo>
                  <a:pt x="16" y="3"/>
                </a:lnTo>
                <a:lnTo>
                  <a:pt x="28" y="17"/>
                </a:lnTo>
                <a:lnTo>
                  <a:pt x="37" y="3"/>
                </a:lnTo>
                <a:lnTo>
                  <a:pt x="45" y="3"/>
                </a:lnTo>
                <a:lnTo>
                  <a:pt x="58" y="0"/>
                </a:lnTo>
                <a:lnTo>
                  <a:pt x="98" y="16"/>
                </a:lnTo>
                <a:lnTo>
                  <a:pt x="107" y="8"/>
                </a:lnTo>
                <a:lnTo>
                  <a:pt x="137" y="13"/>
                </a:lnTo>
                <a:lnTo>
                  <a:pt x="146" y="28"/>
                </a:lnTo>
                <a:lnTo>
                  <a:pt x="157" y="24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92" name="Freeform 181"/>
          <p:cNvSpPr>
            <a:spLocks noChangeAspect="1"/>
          </p:cNvSpPr>
          <p:nvPr/>
        </p:nvSpPr>
        <p:spPr bwMode="gray">
          <a:xfrm>
            <a:off x="4908550" y="2730500"/>
            <a:ext cx="141288" cy="85725"/>
          </a:xfrm>
          <a:custGeom>
            <a:avLst/>
            <a:gdLst>
              <a:gd name="T0" fmla="*/ 2147483647 w 290"/>
              <a:gd name="T1" fmla="*/ 2147483647 h 179"/>
              <a:gd name="T2" fmla="*/ 2147483647 w 290"/>
              <a:gd name="T3" fmla="*/ 2147483647 h 179"/>
              <a:gd name="T4" fmla="*/ 2147483647 w 290"/>
              <a:gd name="T5" fmla="*/ 2147483647 h 179"/>
              <a:gd name="T6" fmla="*/ 2147483647 w 290"/>
              <a:gd name="T7" fmla="*/ 2147483647 h 179"/>
              <a:gd name="T8" fmla="*/ 2147483647 w 290"/>
              <a:gd name="T9" fmla="*/ 2147483647 h 179"/>
              <a:gd name="T10" fmla="*/ 2147483647 w 290"/>
              <a:gd name="T11" fmla="*/ 2147483647 h 179"/>
              <a:gd name="T12" fmla="*/ 0 w 290"/>
              <a:gd name="T13" fmla="*/ 2147483647 h 179"/>
              <a:gd name="T14" fmla="*/ 2147483647 w 290"/>
              <a:gd name="T15" fmla="*/ 2147483647 h 179"/>
              <a:gd name="T16" fmla="*/ 2147483647 w 290"/>
              <a:gd name="T17" fmla="*/ 0 h 179"/>
              <a:gd name="T18" fmla="*/ 2147483647 w 290"/>
              <a:gd name="T19" fmla="*/ 2147483647 h 179"/>
              <a:gd name="T20" fmla="*/ 2147483647 w 290"/>
              <a:gd name="T21" fmla="*/ 2147483647 h 179"/>
              <a:gd name="T22" fmla="*/ 2147483647 w 290"/>
              <a:gd name="T23" fmla="*/ 2147483647 h 179"/>
              <a:gd name="T24" fmla="*/ 2147483647 w 290"/>
              <a:gd name="T25" fmla="*/ 2147483647 h 179"/>
              <a:gd name="T26" fmla="*/ 2147483647 w 290"/>
              <a:gd name="T27" fmla="*/ 2147483647 h 179"/>
              <a:gd name="T28" fmla="*/ 2147483647 w 290"/>
              <a:gd name="T29" fmla="*/ 2147483647 h 179"/>
              <a:gd name="T30" fmla="*/ 2147483647 w 290"/>
              <a:gd name="T31" fmla="*/ 2147483647 h 179"/>
              <a:gd name="T32" fmla="*/ 2147483647 w 290"/>
              <a:gd name="T33" fmla="*/ 2147483647 h 179"/>
              <a:gd name="T34" fmla="*/ 2147483647 w 290"/>
              <a:gd name="T35" fmla="*/ 2147483647 h 179"/>
              <a:gd name="T36" fmla="*/ 2147483647 w 290"/>
              <a:gd name="T37" fmla="*/ 2147483647 h 179"/>
              <a:gd name="T38" fmla="*/ 2147483647 w 290"/>
              <a:gd name="T39" fmla="*/ 2147483647 h 179"/>
              <a:gd name="T40" fmla="*/ 2147483647 w 290"/>
              <a:gd name="T41" fmla="*/ 2147483647 h 179"/>
              <a:gd name="T42" fmla="*/ 2147483647 w 290"/>
              <a:gd name="T43" fmla="*/ 2147483647 h 179"/>
              <a:gd name="T44" fmla="*/ 2147483647 w 290"/>
              <a:gd name="T45" fmla="*/ 2147483647 h 179"/>
              <a:gd name="T46" fmla="*/ 2147483647 w 290"/>
              <a:gd name="T47" fmla="*/ 2147483647 h 179"/>
              <a:gd name="T48" fmla="*/ 2147483647 w 290"/>
              <a:gd name="T49" fmla="*/ 2147483647 h 179"/>
              <a:gd name="T50" fmla="*/ 2147483647 w 290"/>
              <a:gd name="T51" fmla="*/ 2147483647 h 179"/>
              <a:gd name="T52" fmla="*/ 2147483647 w 290"/>
              <a:gd name="T53" fmla="*/ 2147483647 h 179"/>
              <a:gd name="T54" fmla="*/ 2147483647 w 290"/>
              <a:gd name="T55" fmla="*/ 2147483647 h 179"/>
              <a:gd name="T56" fmla="*/ 2147483647 w 290"/>
              <a:gd name="T57" fmla="*/ 2147483647 h 179"/>
              <a:gd name="T58" fmla="*/ 2147483647 w 290"/>
              <a:gd name="T59" fmla="*/ 2147483647 h 179"/>
              <a:gd name="T60" fmla="*/ 2147483647 w 290"/>
              <a:gd name="T61" fmla="*/ 2147483647 h 179"/>
              <a:gd name="T62" fmla="*/ 2147483647 w 290"/>
              <a:gd name="T63" fmla="*/ 2147483647 h 179"/>
              <a:gd name="T64" fmla="*/ 2147483647 w 290"/>
              <a:gd name="T65" fmla="*/ 2147483647 h 179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90"/>
              <a:gd name="T100" fmla="*/ 0 h 179"/>
              <a:gd name="T101" fmla="*/ 290 w 290"/>
              <a:gd name="T102" fmla="*/ 179 h 179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90" h="179">
                <a:moveTo>
                  <a:pt x="27" y="173"/>
                </a:moveTo>
                <a:lnTo>
                  <a:pt x="20" y="133"/>
                </a:lnTo>
                <a:lnTo>
                  <a:pt x="2" y="117"/>
                </a:lnTo>
                <a:lnTo>
                  <a:pt x="2" y="96"/>
                </a:lnTo>
                <a:lnTo>
                  <a:pt x="22" y="66"/>
                </a:lnTo>
                <a:lnTo>
                  <a:pt x="2" y="40"/>
                </a:lnTo>
                <a:lnTo>
                  <a:pt x="0" y="22"/>
                </a:lnTo>
                <a:lnTo>
                  <a:pt x="2" y="6"/>
                </a:lnTo>
                <a:lnTo>
                  <a:pt x="16" y="0"/>
                </a:lnTo>
                <a:lnTo>
                  <a:pt x="27" y="3"/>
                </a:lnTo>
                <a:lnTo>
                  <a:pt x="22" y="14"/>
                </a:lnTo>
                <a:lnTo>
                  <a:pt x="31" y="22"/>
                </a:lnTo>
                <a:lnTo>
                  <a:pt x="143" y="31"/>
                </a:lnTo>
                <a:lnTo>
                  <a:pt x="212" y="3"/>
                </a:lnTo>
                <a:lnTo>
                  <a:pt x="229" y="3"/>
                </a:lnTo>
                <a:lnTo>
                  <a:pt x="257" y="14"/>
                </a:lnTo>
                <a:lnTo>
                  <a:pt x="276" y="25"/>
                </a:lnTo>
                <a:lnTo>
                  <a:pt x="290" y="23"/>
                </a:lnTo>
                <a:lnTo>
                  <a:pt x="283" y="46"/>
                </a:lnTo>
                <a:lnTo>
                  <a:pt x="268" y="51"/>
                </a:lnTo>
                <a:lnTo>
                  <a:pt x="257" y="63"/>
                </a:lnTo>
                <a:lnTo>
                  <a:pt x="257" y="88"/>
                </a:lnTo>
                <a:lnTo>
                  <a:pt x="237" y="103"/>
                </a:lnTo>
                <a:lnTo>
                  <a:pt x="260" y="140"/>
                </a:lnTo>
                <a:lnTo>
                  <a:pt x="235" y="142"/>
                </a:lnTo>
                <a:lnTo>
                  <a:pt x="220" y="133"/>
                </a:lnTo>
                <a:lnTo>
                  <a:pt x="183" y="147"/>
                </a:lnTo>
                <a:lnTo>
                  <a:pt x="175" y="148"/>
                </a:lnTo>
                <a:lnTo>
                  <a:pt x="173" y="165"/>
                </a:lnTo>
                <a:lnTo>
                  <a:pt x="161" y="176"/>
                </a:lnTo>
                <a:lnTo>
                  <a:pt x="144" y="179"/>
                </a:lnTo>
                <a:lnTo>
                  <a:pt x="96" y="161"/>
                </a:lnTo>
                <a:lnTo>
                  <a:pt x="27" y="173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93" name="Freeform 182"/>
          <p:cNvSpPr>
            <a:spLocks noChangeAspect="1"/>
          </p:cNvSpPr>
          <p:nvPr/>
        </p:nvSpPr>
        <p:spPr bwMode="gray">
          <a:xfrm>
            <a:off x="4767263" y="2589213"/>
            <a:ext cx="149225" cy="90487"/>
          </a:xfrm>
          <a:custGeom>
            <a:avLst/>
            <a:gdLst>
              <a:gd name="T0" fmla="*/ 2147483647 w 310"/>
              <a:gd name="T1" fmla="*/ 2147483647 h 186"/>
              <a:gd name="T2" fmla="*/ 2147483647 w 310"/>
              <a:gd name="T3" fmla="*/ 2147483647 h 186"/>
              <a:gd name="T4" fmla="*/ 2147483647 w 310"/>
              <a:gd name="T5" fmla="*/ 2147483647 h 186"/>
              <a:gd name="T6" fmla="*/ 2147483647 w 310"/>
              <a:gd name="T7" fmla="*/ 0 h 186"/>
              <a:gd name="T8" fmla="*/ 2147483647 w 310"/>
              <a:gd name="T9" fmla="*/ 2147483647 h 186"/>
              <a:gd name="T10" fmla="*/ 2147483647 w 310"/>
              <a:gd name="T11" fmla="*/ 2147483647 h 186"/>
              <a:gd name="T12" fmla="*/ 2147483647 w 310"/>
              <a:gd name="T13" fmla="*/ 2147483647 h 186"/>
              <a:gd name="T14" fmla="*/ 2147483647 w 310"/>
              <a:gd name="T15" fmla="*/ 2147483647 h 186"/>
              <a:gd name="T16" fmla="*/ 2147483647 w 310"/>
              <a:gd name="T17" fmla="*/ 2147483647 h 186"/>
              <a:gd name="T18" fmla="*/ 2147483647 w 310"/>
              <a:gd name="T19" fmla="*/ 2147483647 h 186"/>
              <a:gd name="T20" fmla="*/ 2147483647 w 310"/>
              <a:gd name="T21" fmla="*/ 2147483647 h 186"/>
              <a:gd name="T22" fmla="*/ 2147483647 w 310"/>
              <a:gd name="T23" fmla="*/ 2147483647 h 186"/>
              <a:gd name="T24" fmla="*/ 2147483647 w 310"/>
              <a:gd name="T25" fmla="*/ 2147483647 h 186"/>
              <a:gd name="T26" fmla="*/ 2147483647 w 310"/>
              <a:gd name="T27" fmla="*/ 2147483647 h 186"/>
              <a:gd name="T28" fmla="*/ 2147483647 w 310"/>
              <a:gd name="T29" fmla="*/ 2147483647 h 186"/>
              <a:gd name="T30" fmla="*/ 2147483647 w 310"/>
              <a:gd name="T31" fmla="*/ 2147483647 h 186"/>
              <a:gd name="T32" fmla="*/ 2147483647 w 310"/>
              <a:gd name="T33" fmla="*/ 2147483647 h 186"/>
              <a:gd name="T34" fmla="*/ 2147483647 w 310"/>
              <a:gd name="T35" fmla="*/ 2147483647 h 186"/>
              <a:gd name="T36" fmla="*/ 0 w 310"/>
              <a:gd name="T37" fmla="*/ 2147483647 h 186"/>
              <a:gd name="T38" fmla="*/ 2147483647 w 310"/>
              <a:gd name="T39" fmla="*/ 2147483647 h 186"/>
              <a:gd name="T40" fmla="*/ 2147483647 w 310"/>
              <a:gd name="T41" fmla="*/ 2147483647 h 186"/>
              <a:gd name="T42" fmla="*/ 2147483647 w 310"/>
              <a:gd name="T43" fmla="*/ 2147483647 h 186"/>
              <a:gd name="T44" fmla="*/ 2147483647 w 310"/>
              <a:gd name="T45" fmla="*/ 2147483647 h 186"/>
              <a:gd name="T46" fmla="*/ 2147483647 w 310"/>
              <a:gd name="T47" fmla="*/ 2147483647 h 186"/>
              <a:gd name="T48" fmla="*/ 2147483647 w 310"/>
              <a:gd name="T49" fmla="*/ 2147483647 h 186"/>
              <a:gd name="T50" fmla="*/ 2147483647 w 310"/>
              <a:gd name="T51" fmla="*/ 2147483647 h 186"/>
              <a:gd name="T52" fmla="*/ 2147483647 w 310"/>
              <a:gd name="T53" fmla="*/ 2147483647 h 186"/>
              <a:gd name="T54" fmla="*/ 2147483647 w 310"/>
              <a:gd name="T55" fmla="*/ 2147483647 h 186"/>
              <a:gd name="T56" fmla="*/ 2147483647 w 310"/>
              <a:gd name="T57" fmla="*/ 2147483647 h 186"/>
              <a:gd name="T58" fmla="*/ 2147483647 w 310"/>
              <a:gd name="T59" fmla="*/ 2147483647 h 186"/>
              <a:gd name="T60" fmla="*/ 2147483647 w 310"/>
              <a:gd name="T61" fmla="*/ 2147483647 h 18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310"/>
              <a:gd name="T94" fmla="*/ 0 h 186"/>
              <a:gd name="T95" fmla="*/ 310 w 310"/>
              <a:gd name="T96" fmla="*/ 186 h 18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310" h="186">
                <a:moveTo>
                  <a:pt x="310" y="39"/>
                </a:moveTo>
                <a:lnTo>
                  <a:pt x="298" y="23"/>
                </a:lnTo>
                <a:lnTo>
                  <a:pt x="276" y="8"/>
                </a:lnTo>
                <a:lnTo>
                  <a:pt x="215" y="0"/>
                </a:lnTo>
                <a:lnTo>
                  <a:pt x="200" y="8"/>
                </a:lnTo>
                <a:lnTo>
                  <a:pt x="197" y="17"/>
                </a:lnTo>
                <a:lnTo>
                  <a:pt x="176" y="25"/>
                </a:lnTo>
                <a:lnTo>
                  <a:pt x="163" y="20"/>
                </a:lnTo>
                <a:lnTo>
                  <a:pt x="124" y="35"/>
                </a:lnTo>
                <a:lnTo>
                  <a:pt x="107" y="52"/>
                </a:lnTo>
                <a:lnTo>
                  <a:pt x="79" y="54"/>
                </a:lnTo>
                <a:lnTo>
                  <a:pt x="47" y="32"/>
                </a:lnTo>
                <a:lnTo>
                  <a:pt x="44" y="56"/>
                </a:lnTo>
                <a:lnTo>
                  <a:pt x="22" y="56"/>
                </a:lnTo>
                <a:lnTo>
                  <a:pt x="19" y="62"/>
                </a:lnTo>
                <a:lnTo>
                  <a:pt x="24" y="69"/>
                </a:lnTo>
                <a:lnTo>
                  <a:pt x="17" y="85"/>
                </a:lnTo>
                <a:lnTo>
                  <a:pt x="17" y="102"/>
                </a:lnTo>
                <a:lnTo>
                  <a:pt x="0" y="113"/>
                </a:lnTo>
                <a:lnTo>
                  <a:pt x="11" y="116"/>
                </a:lnTo>
                <a:lnTo>
                  <a:pt x="24" y="139"/>
                </a:lnTo>
                <a:lnTo>
                  <a:pt x="62" y="174"/>
                </a:lnTo>
                <a:lnTo>
                  <a:pt x="84" y="186"/>
                </a:lnTo>
                <a:lnTo>
                  <a:pt x="121" y="176"/>
                </a:lnTo>
                <a:lnTo>
                  <a:pt x="164" y="161"/>
                </a:lnTo>
                <a:lnTo>
                  <a:pt x="185" y="157"/>
                </a:lnTo>
                <a:lnTo>
                  <a:pt x="191" y="162"/>
                </a:lnTo>
                <a:lnTo>
                  <a:pt x="232" y="148"/>
                </a:lnTo>
                <a:lnTo>
                  <a:pt x="265" y="89"/>
                </a:lnTo>
                <a:lnTo>
                  <a:pt x="273" y="66"/>
                </a:lnTo>
                <a:lnTo>
                  <a:pt x="310" y="39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94" name="Freeform 183"/>
          <p:cNvSpPr>
            <a:spLocks noChangeAspect="1"/>
          </p:cNvSpPr>
          <p:nvPr/>
        </p:nvSpPr>
        <p:spPr bwMode="gray">
          <a:xfrm>
            <a:off x="4706938" y="2643188"/>
            <a:ext cx="71437" cy="50800"/>
          </a:xfrm>
          <a:custGeom>
            <a:avLst/>
            <a:gdLst>
              <a:gd name="T0" fmla="*/ 2147483647 w 147"/>
              <a:gd name="T1" fmla="*/ 2147483647 h 103"/>
              <a:gd name="T2" fmla="*/ 2147483647 w 147"/>
              <a:gd name="T3" fmla="*/ 2147483647 h 103"/>
              <a:gd name="T4" fmla="*/ 2147483647 w 147"/>
              <a:gd name="T5" fmla="*/ 2147483647 h 103"/>
              <a:gd name="T6" fmla="*/ 2147483647 w 147"/>
              <a:gd name="T7" fmla="*/ 2147483647 h 103"/>
              <a:gd name="T8" fmla="*/ 2147483647 w 147"/>
              <a:gd name="T9" fmla="*/ 2147483647 h 103"/>
              <a:gd name="T10" fmla="*/ 2147483647 w 147"/>
              <a:gd name="T11" fmla="*/ 2147483647 h 103"/>
              <a:gd name="T12" fmla="*/ 2147483647 w 147"/>
              <a:gd name="T13" fmla="*/ 2147483647 h 103"/>
              <a:gd name="T14" fmla="*/ 2147483647 w 147"/>
              <a:gd name="T15" fmla="*/ 2147483647 h 103"/>
              <a:gd name="T16" fmla="*/ 2147483647 w 147"/>
              <a:gd name="T17" fmla="*/ 2147483647 h 103"/>
              <a:gd name="T18" fmla="*/ 2147483647 w 147"/>
              <a:gd name="T19" fmla="*/ 2147483647 h 103"/>
              <a:gd name="T20" fmla="*/ 2147483647 w 147"/>
              <a:gd name="T21" fmla="*/ 2147483647 h 103"/>
              <a:gd name="T22" fmla="*/ 2147483647 w 147"/>
              <a:gd name="T23" fmla="*/ 2147483647 h 103"/>
              <a:gd name="T24" fmla="*/ 2147483647 w 147"/>
              <a:gd name="T25" fmla="*/ 2147483647 h 103"/>
              <a:gd name="T26" fmla="*/ 2147483647 w 147"/>
              <a:gd name="T27" fmla="*/ 2147483647 h 103"/>
              <a:gd name="T28" fmla="*/ 2147483647 w 147"/>
              <a:gd name="T29" fmla="*/ 2147483647 h 103"/>
              <a:gd name="T30" fmla="*/ 2147483647 w 147"/>
              <a:gd name="T31" fmla="*/ 2147483647 h 103"/>
              <a:gd name="T32" fmla="*/ 2147483647 w 147"/>
              <a:gd name="T33" fmla="*/ 2147483647 h 103"/>
              <a:gd name="T34" fmla="*/ 2147483647 w 147"/>
              <a:gd name="T35" fmla="*/ 0 h 103"/>
              <a:gd name="T36" fmla="*/ 2147483647 w 147"/>
              <a:gd name="T37" fmla="*/ 2147483647 h 103"/>
              <a:gd name="T38" fmla="*/ 2147483647 w 147"/>
              <a:gd name="T39" fmla="*/ 2147483647 h 103"/>
              <a:gd name="T40" fmla="*/ 2147483647 w 147"/>
              <a:gd name="T41" fmla="*/ 2147483647 h 103"/>
              <a:gd name="T42" fmla="*/ 2147483647 w 147"/>
              <a:gd name="T43" fmla="*/ 2147483647 h 103"/>
              <a:gd name="T44" fmla="*/ 0 w 147"/>
              <a:gd name="T45" fmla="*/ 2147483647 h 103"/>
              <a:gd name="T46" fmla="*/ 2147483647 w 147"/>
              <a:gd name="T47" fmla="*/ 2147483647 h 103"/>
              <a:gd name="T48" fmla="*/ 2147483647 w 147"/>
              <a:gd name="T49" fmla="*/ 2147483647 h 103"/>
              <a:gd name="T50" fmla="*/ 2147483647 w 147"/>
              <a:gd name="T51" fmla="*/ 2147483647 h 103"/>
              <a:gd name="T52" fmla="*/ 2147483647 w 147"/>
              <a:gd name="T53" fmla="*/ 2147483647 h 103"/>
              <a:gd name="T54" fmla="*/ 2147483647 w 147"/>
              <a:gd name="T55" fmla="*/ 2147483647 h 103"/>
              <a:gd name="T56" fmla="*/ 2147483647 w 147"/>
              <a:gd name="T57" fmla="*/ 2147483647 h 103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147"/>
              <a:gd name="T88" fmla="*/ 0 h 103"/>
              <a:gd name="T89" fmla="*/ 147 w 147"/>
              <a:gd name="T90" fmla="*/ 103 h 103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147" h="103">
                <a:moveTo>
                  <a:pt x="4" y="93"/>
                </a:moveTo>
                <a:lnTo>
                  <a:pt x="43" y="97"/>
                </a:lnTo>
                <a:lnTo>
                  <a:pt x="54" y="83"/>
                </a:lnTo>
                <a:lnTo>
                  <a:pt x="62" y="100"/>
                </a:lnTo>
                <a:lnTo>
                  <a:pt x="69" y="97"/>
                </a:lnTo>
                <a:lnTo>
                  <a:pt x="80" y="103"/>
                </a:lnTo>
                <a:lnTo>
                  <a:pt x="83" y="100"/>
                </a:lnTo>
                <a:lnTo>
                  <a:pt x="83" y="82"/>
                </a:lnTo>
                <a:lnTo>
                  <a:pt x="105" y="66"/>
                </a:lnTo>
                <a:lnTo>
                  <a:pt x="105" y="57"/>
                </a:lnTo>
                <a:lnTo>
                  <a:pt x="99" y="52"/>
                </a:lnTo>
                <a:lnTo>
                  <a:pt x="100" y="44"/>
                </a:lnTo>
                <a:lnTo>
                  <a:pt x="130" y="34"/>
                </a:lnTo>
                <a:lnTo>
                  <a:pt x="131" y="20"/>
                </a:lnTo>
                <a:lnTo>
                  <a:pt x="143" y="26"/>
                </a:lnTo>
                <a:lnTo>
                  <a:pt x="147" y="26"/>
                </a:lnTo>
                <a:lnTo>
                  <a:pt x="134" y="3"/>
                </a:lnTo>
                <a:lnTo>
                  <a:pt x="123" y="0"/>
                </a:lnTo>
                <a:lnTo>
                  <a:pt x="113" y="10"/>
                </a:lnTo>
                <a:lnTo>
                  <a:pt x="63" y="15"/>
                </a:lnTo>
                <a:lnTo>
                  <a:pt x="51" y="29"/>
                </a:lnTo>
                <a:lnTo>
                  <a:pt x="11" y="26"/>
                </a:lnTo>
                <a:lnTo>
                  <a:pt x="0" y="44"/>
                </a:lnTo>
                <a:lnTo>
                  <a:pt x="6" y="44"/>
                </a:lnTo>
                <a:lnTo>
                  <a:pt x="4" y="57"/>
                </a:lnTo>
                <a:lnTo>
                  <a:pt x="8" y="69"/>
                </a:lnTo>
                <a:lnTo>
                  <a:pt x="23" y="83"/>
                </a:lnTo>
                <a:lnTo>
                  <a:pt x="11" y="90"/>
                </a:lnTo>
                <a:lnTo>
                  <a:pt x="4" y="93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95" name="Freeform 184"/>
          <p:cNvSpPr>
            <a:spLocks noChangeAspect="1"/>
          </p:cNvSpPr>
          <p:nvPr/>
        </p:nvSpPr>
        <p:spPr bwMode="gray">
          <a:xfrm>
            <a:off x="4784725" y="2554288"/>
            <a:ext cx="123825" cy="60325"/>
          </a:xfrm>
          <a:custGeom>
            <a:avLst/>
            <a:gdLst>
              <a:gd name="T0" fmla="*/ 2147483647 w 255"/>
              <a:gd name="T1" fmla="*/ 2147483647 h 125"/>
              <a:gd name="T2" fmla="*/ 2147483647 w 255"/>
              <a:gd name="T3" fmla="*/ 2147483647 h 125"/>
              <a:gd name="T4" fmla="*/ 2147483647 w 255"/>
              <a:gd name="T5" fmla="*/ 2147483647 h 125"/>
              <a:gd name="T6" fmla="*/ 2147483647 w 255"/>
              <a:gd name="T7" fmla="*/ 2147483647 h 125"/>
              <a:gd name="T8" fmla="*/ 2147483647 w 255"/>
              <a:gd name="T9" fmla="*/ 2147483647 h 125"/>
              <a:gd name="T10" fmla="*/ 2147483647 w 255"/>
              <a:gd name="T11" fmla="*/ 2147483647 h 125"/>
              <a:gd name="T12" fmla="*/ 2147483647 w 255"/>
              <a:gd name="T13" fmla="*/ 2147483647 h 125"/>
              <a:gd name="T14" fmla="*/ 2147483647 w 255"/>
              <a:gd name="T15" fmla="*/ 2147483647 h 125"/>
              <a:gd name="T16" fmla="*/ 2147483647 w 255"/>
              <a:gd name="T17" fmla="*/ 2147483647 h 125"/>
              <a:gd name="T18" fmla="*/ 2147483647 w 255"/>
              <a:gd name="T19" fmla="*/ 2147483647 h 125"/>
              <a:gd name="T20" fmla="*/ 0 w 255"/>
              <a:gd name="T21" fmla="*/ 2147483647 h 125"/>
              <a:gd name="T22" fmla="*/ 2147483647 w 255"/>
              <a:gd name="T23" fmla="*/ 2147483647 h 125"/>
              <a:gd name="T24" fmla="*/ 2147483647 w 255"/>
              <a:gd name="T25" fmla="*/ 2147483647 h 125"/>
              <a:gd name="T26" fmla="*/ 2147483647 w 255"/>
              <a:gd name="T27" fmla="*/ 2147483647 h 125"/>
              <a:gd name="T28" fmla="*/ 2147483647 w 255"/>
              <a:gd name="T29" fmla="*/ 2147483647 h 125"/>
              <a:gd name="T30" fmla="*/ 2147483647 w 255"/>
              <a:gd name="T31" fmla="*/ 2147483647 h 125"/>
              <a:gd name="T32" fmla="*/ 2147483647 w 255"/>
              <a:gd name="T33" fmla="*/ 2147483647 h 125"/>
              <a:gd name="T34" fmla="*/ 2147483647 w 255"/>
              <a:gd name="T35" fmla="*/ 2147483647 h 125"/>
              <a:gd name="T36" fmla="*/ 2147483647 w 255"/>
              <a:gd name="T37" fmla="*/ 0 h 125"/>
              <a:gd name="T38" fmla="*/ 2147483647 w 255"/>
              <a:gd name="T39" fmla="*/ 2147483647 h 125"/>
              <a:gd name="T40" fmla="*/ 2147483647 w 255"/>
              <a:gd name="T41" fmla="*/ 2147483647 h 125"/>
              <a:gd name="T42" fmla="*/ 2147483647 w 255"/>
              <a:gd name="T43" fmla="*/ 2147483647 h 125"/>
              <a:gd name="T44" fmla="*/ 2147483647 w 255"/>
              <a:gd name="T45" fmla="*/ 2147483647 h 125"/>
              <a:gd name="T46" fmla="*/ 2147483647 w 255"/>
              <a:gd name="T47" fmla="*/ 2147483647 h 125"/>
              <a:gd name="T48" fmla="*/ 2147483647 w 255"/>
              <a:gd name="T49" fmla="*/ 2147483647 h 125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255"/>
              <a:gd name="T76" fmla="*/ 0 h 125"/>
              <a:gd name="T77" fmla="*/ 255 w 255"/>
              <a:gd name="T78" fmla="*/ 125 h 125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255" h="125">
                <a:moveTo>
                  <a:pt x="240" y="79"/>
                </a:moveTo>
                <a:lnTo>
                  <a:pt x="179" y="71"/>
                </a:lnTo>
                <a:lnTo>
                  <a:pt x="164" y="79"/>
                </a:lnTo>
                <a:lnTo>
                  <a:pt x="161" y="88"/>
                </a:lnTo>
                <a:lnTo>
                  <a:pt x="140" y="96"/>
                </a:lnTo>
                <a:lnTo>
                  <a:pt x="127" y="91"/>
                </a:lnTo>
                <a:lnTo>
                  <a:pt x="88" y="106"/>
                </a:lnTo>
                <a:lnTo>
                  <a:pt x="71" y="123"/>
                </a:lnTo>
                <a:lnTo>
                  <a:pt x="43" y="125"/>
                </a:lnTo>
                <a:lnTo>
                  <a:pt x="11" y="103"/>
                </a:lnTo>
                <a:lnTo>
                  <a:pt x="0" y="72"/>
                </a:lnTo>
                <a:lnTo>
                  <a:pt x="9" y="55"/>
                </a:lnTo>
                <a:lnTo>
                  <a:pt x="33" y="57"/>
                </a:lnTo>
                <a:lnTo>
                  <a:pt x="45" y="49"/>
                </a:lnTo>
                <a:lnTo>
                  <a:pt x="57" y="34"/>
                </a:lnTo>
                <a:lnTo>
                  <a:pt x="59" y="20"/>
                </a:lnTo>
                <a:lnTo>
                  <a:pt x="91" y="1"/>
                </a:lnTo>
                <a:lnTo>
                  <a:pt x="99" y="4"/>
                </a:lnTo>
                <a:lnTo>
                  <a:pt x="118" y="0"/>
                </a:lnTo>
                <a:lnTo>
                  <a:pt x="138" y="20"/>
                </a:lnTo>
                <a:lnTo>
                  <a:pt x="161" y="9"/>
                </a:lnTo>
                <a:lnTo>
                  <a:pt x="186" y="17"/>
                </a:lnTo>
                <a:lnTo>
                  <a:pt x="211" y="6"/>
                </a:lnTo>
                <a:lnTo>
                  <a:pt x="255" y="30"/>
                </a:lnTo>
                <a:lnTo>
                  <a:pt x="240" y="79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96" name="Freeform 185"/>
          <p:cNvSpPr>
            <a:spLocks noChangeAspect="1"/>
          </p:cNvSpPr>
          <p:nvPr/>
        </p:nvSpPr>
        <p:spPr bwMode="gray">
          <a:xfrm>
            <a:off x="4673600" y="2498725"/>
            <a:ext cx="155575" cy="90488"/>
          </a:xfrm>
          <a:custGeom>
            <a:avLst/>
            <a:gdLst>
              <a:gd name="T0" fmla="*/ 2147483647 w 318"/>
              <a:gd name="T1" fmla="*/ 2147483647 h 186"/>
              <a:gd name="T2" fmla="*/ 2147483647 w 318"/>
              <a:gd name="T3" fmla="*/ 2147483647 h 186"/>
              <a:gd name="T4" fmla="*/ 2147483647 w 318"/>
              <a:gd name="T5" fmla="*/ 2147483647 h 186"/>
              <a:gd name="T6" fmla="*/ 2147483647 w 318"/>
              <a:gd name="T7" fmla="*/ 2147483647 h 186"/>
              <a:gd name="T8" fmla="*/ 2147483647 w 318"/>
              <a:gd name="T9" fmla="*/ 2147483647 h 186"/>
              <a:gd name="T10" fmla="*/ 2147483647 w 318"/>
              <a:gd name="T11" fmla="*/ 2147483647 h 186"/>
              <a:gd name="T12" fmla="*/ 2147483647 w 318"/>
              <a:gd name="T13" fmla="*/ 2147483647 h 186"/>
              <a:gd name="T14" fmla="*/ 2147483647 w 318"/>
              <a:gd name="T15" fmla="*/ 2147483647 h 186"/>
              <a:gd name="T16" fmla="*/ 2147483647 w 318"/>
              <a:gd name="T17" fmla="*/ 2147483647 h 186"/>
              <a:gd name="T18" fmla="*/ 2147483647 w 318"/>
              <a:gd name="T19" fmla="*/ 2147483647 h 186"/>
              <a:gd name="T20" fmla="*/ 2147483647 w 318"/>
              <a:gd name="T21" fmla="*/ 2147483647 h 186"/>
              <a:gd name="T22" fmla="*/ 2147483647 w 318"/>
              <a:gd name="T23" fmla="*/ 2147483647 h 186"/>
              <a:gd name="T24" fmla="*/ 2147483647 w 318"/>
              <a:gd name="T25" fmla="*/ 2147483647 h 186"/>
              <a:gd name="T26" fmla="*/ 2147483647 w 318"/>
              <a:gd name="T27" fmla="*/ 2147483647 h 186"/>
              <a:gd name="T28" fmla="*/ 2147483647 w 318"/>
              <a:gd name="T29" fmla="*/ 2147483647 h 186"/>
              <a:gd name="T30" fmla="*/ 2147483647 w 318"/>
              <a:gd name="T31" fmla="*/ 0 h 186"/>
              <a:gd name="T32" fmla="*/ 2147483647 w 318"/>
              <a:gd name="T33" fmla="*/ 2147483647 h 186"/>
              <a:gd name="T34" fmla="*/ 2147483647 w 318"/>
              <a:gd name="T35" fmla="*/ 2147483647 h 186"/>
              <a:gd name="T36" fmla="*/ 2147483647 w 318"/>
              <a:gd name="T37" fmla="*/ 2147483647 h 186"/>
              <a:gd name="T38" fmla="*/ 2147483647 w 318"/>
              <a:gd name="T39" fmla="*/ 2147483647 h 186"/>
              <a:gd name="T40" fmla="*/ 0 w 318"/>
              <a:gd name="T41" fmla="*/ 2147483647 h 186"/>
              <a:gd name="T42" fmla="*/ 2147483647 w 318"/>
              <a:gd name="T43" fmla="*/ 2147483647 h 186"/>
              <a:gd name="T44" fmla="*/ 2147483647 w 318"/>
              <a:gd name="T45" fmla="*/ 2147483647 h 186"/>
              <a:gd name="T46" fmla="*/ 2147483647 w 318"/>
              <a:gd name="T47" fmla="*/ 2147483647 h 186"/>
              <a:gd name="T48" fmla="*/ 2147483647 w 318"/>
              <a:gd name="T49" fmla="*/ 2147483647 h 186"/>
              <a:gd name="T50" fmla="*/ 2147483647 w 318"/>
              <a:gd name="T51" fmla="*/ 2147483647 h 186"/>
              <a:gd name="T52" fmla="*/ 2147483647 w 318"/>
              <a:gd name="T53" fmla="*/ 2147483647 h 186"/>
              <a:gd name="T54" fmla="*/ 2147483647 w 318"/>
              <a:gd name="T55" fmla="*/ 2147483647 h 186"/>
              <a:gd name="T56" fmla="*/ 2147483647 w 318"/>
              <a:gd name="T57" fmla="*/ 2147483647 h 186"/>
              <a:gd name="T58" fmla="*/ 2147483647 w 318"/>
              <a:gd name="T59" fmla="*/ 2147483647 h 186"/>
              <a:gd name="T60" fmla="*/ 2147483647 w 318"/>
              <a:gd name="T61" fmla="*/ 2147483647 h 186"/>
              <a:gd name="T62" fmla="*/ 2147483647 w 318"/>
              <a:gd name="T63" fmla="*/ 2147483647 h 186"/>
              <a:gd name="T64" fmla="*/ 2147483647 w 318"/>
              <a:gd name="T65" fmla="*/ 2147483647 h 186"/>
              <a:gd name="T66" fmla="*/ 2147483647 w 318"/>
              <a:gd name="T67" fmla="*/ 2147483647 h 186"/>
              <a:gd name="T68" fmla="*/ 2147483647 w 318"/>
              <a:gd name="T69" fmla="*/ 2147483647 h 186"/>
              <a:gd name="T70" fmla="*/ 2147483647 w 318"/>
              <a:gd name="T71" fmla="*/ 2147483647 h 186"/>
              <a:gd name="T72" fmla="*/ 2147483647 w 318"/>
              <a:gd name="T73" fmla="*/ 2147483647 h 186"/>
              <a:gd name="T74" fmla="*/ 2147483647 w 318"/>
              <a:gd name="T75" fmla="*/ 2147483647 h 186"/>
              <a:gd name="T76" fmla="*/ 2147483647 w 318"/>
              <a:gd name="T77" fmla="*/ 2147483647 h 18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318"/>
              <a:gd name="T118" fmla="*/ 0 h 186"/>
              <a:gd name="T119" fmla="*/ 318 w 318"/>
              <a:gd name="T120" fmla="*/ 186 h 18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318" h="186">
                <a:moveTo>
                  <a:pt x="318" y="115"/>
                </a:moveTo>
                <a:lnTo>
                  <a:pt x="301" y="109"/>
                </a:lnTo>
                <a:lnTo>
                  <a:pt x="286" y="83"/>
                </a:lnTo>
                <a:lnTo>
                  <a:pt x="266" y="75"/>
                </a:lnTo>
                <a:lnTo>
                  <a:pt x="266" y="63"/>
                </a:lnTo>
                <a:lnTo>
                  <a:pt x="228" y="53"/>
                </a:lnTo>
                <a:lnTo>
                  <a:pt x="230" y="63"/>
                </a:lnTo>
                <a:lnTo>
                  <a:pt x="219" y="69"/>
                </a:lnTo>
                <a:lnTo>
                  <a:pt x="198" y="50"/>
                </a:lnTo>
                <a:lnTo>
                  <a:pt x="201" y="38"/>
                </a:lnTo>
                <a:lnTo>
                  <a:pt x="184" y="27"/>
                </a:lnTo>
                <a:lnTo>
                  <a:pt x="159" y="24"/>
                </a:lnTo>
                <a:lnTo>
                  <a:pt x="145" y="10"/>
                </a:lnTo>
                <a:lnTo>
                  <a:pt x="133" y="24"/>
                </a:lnTo>
                <a:lnTo>
                  <a:pt x="128" y="21"/>
                </a:lnTo>
                <a:lnTo>
                  <a:pt x="103" y="0"/>
                </a:lnTo>
                <a:lnTo>
                  <a:pt x="99" y="19"/>
                </a:lnTo>
                <a:lnTo>
                  <a:pt x="20" y="58"/>
                </a:lnTo>
                <a:lnTo>
                  <a:pt x="17" y="69"/>
                </a:lnTo>
                <a:lnTo>
                  <a:pt x="1" y="58"/>
                </a:lnTo>
                <a:lnTo>
                  <a:pt x="0" y="69"/>
                </a:lnTo>
                <a:lnTo>
                  <a:pt x="17" y="83"/>
                </a:lnTo>
                <a:lnTo>
                  <a:pt x="18" y="109"/>
                </a:lnTo>
                <a:lnTo>
                  <a:pt x="26" y="118"/>
                </a:lnTo>
                <a:lnTo>
                  <a:pt x="85" y="169"/>
                </a:lnTo>
                <a:lnTo>
                  <a:pt x="102" y="180"/>
                </a:lnTo>
                <a:lnTo>
                  <a:pt x="120" y="180"/>
                </a:lnTo>
                <a:lnTo>
                  <a:pt x="136" y="169"/>
                </a:lnTo>
                <a:lnTo>
                  <a:pt x="143" y="154"/>
                </a:lnTo>
                <a:lnTo>
                  <a:pt x="173" y="154"/>
                </a:lnTo>
                <a:lnTo>
                  <a:pt x="191" y="169"/>
                </a:lnTo>
                <a:lnTo>
                  <a:pt x="221" y="166"/>
                </a:lnTo>
                <a:lnTo>
                  <a:pt x="227" y="186"/>
                </a:lnTo>
                <a:lnTo>
                  <a:pt x="236" y="169"/>
                </a:lnTo>
                <a:lnTo>
                  <a:pt x="260" y="171"/>
                </a:lnTo>
                <a:lnTo>
                  <a:pt x="272" y="163"/>
                </a:lnTo>
                <a:lnTo>
                  <a:pt x="284" y="148"/>
                </a:lnTo>
                <a:lnTo>
                  <a:pt x="286" y="134"/>
                </a:lnTo>
                <a:lnTo>
                  <a:pt x="318" y="115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97" name="Freeform 186"/>
          <p:cNvSpPr>
            <a:spLocks noChangeAspect="1"/>
          </p:cNvSpPr>
          <p:nvPr/>
        </p:nvSpPr>
        <p:spPr bwMode="gray">
          <a:xfrm>
            <a:off x="4619625" y="2573338"/>
            <a:ext cx="171450" cy="84137"/>
          </a:xfrm>
          <a:custGeom>
            <a:avLst/>
            <a:gdLst>
              <a:gd name="T0" fmla="*/ 2147483647 w 352"/>
              <a:gd name="T1" fmla="*/ 2147483647 h 173"/>
              <a:gd name="T2" fmla="*/ 2147483647 w 352"/>
              <a:gd name="T3" fmla="*/ 2147483647 h 173"/>
              <a:gd name="T4" fmla="*/ 2147483647 w 352"/>
              <a:gd name="T5" fmla="*/ 2147483647 h 173"/>
              <a:gd name="T6" fmla="*/ 2147483647 w 352"/>
              <a:gd name="T7" fmla="*/ 2147483647 h 173"/>
              <a:gd name="T8" fmla="*/ 2147483647 w 352"/>
              <a:gd name="T9" fmla="*/ 2147483647 h 173"/>
              <a:gd name="T10" fmla="*/ 2147483647 w 352"/>
              <a:gd name="T11" fmla="*/ 2147483647 h 173"/>
              <a:gd name="T12" fmla="*/ 2147483647 w 352"/>
              <a:gd name="T13" fmla="*/ 2147483647 h 173"/>
              <a:gd name="T14" fmla="*/ 2147483647 w 352"/>
              <a:gd name="T15" fmla="*/ 2147483647 h 173"/>
              <a:gd name="T16" fmla="*/ 2147483647 w 352"/>
              <a:gd name="T17" fmla="*/ 2147483647 h 173"/>
              <a:gd name="T18" fmla="*/ 0 w 352"/>
              <a:gd name="T19" fmla="*/ 2147483647 h 173"/>
              <a:gd name="T20" fmla="*/ 2147483647 w 352"/>
              <a:gd name="T21" fmla="*/ 2147483647 h 173"/>
              <a:gd name="T22" fmla="*/ 2147483647 w 352"/>
              <a:gd name="T23" fmla="*/ 2147483647 h 173"/>
              <a:gd name="T24" fmla="*/ 2147483647 w 352"/>
              <a:gd name="T25" fmla="*/ 2147483647 h 173"/>
              <a:gd name="T26" fmla="*/ 2147483647 w 352"/>
              <a:gd name="T27" fmla="*/ 2147483647 h 173"/>
              <a:gd name="T28" fmla="*/ 2147483647 w 352"/>
              <a:gd name="T29" fmla="*/ 2147483647 h 173"/>
              <a:gd name="T30" fmla="*/ 2147483647 w 352"/>
              <a:gd name="T31" fmla="*/ 2147483647 h 173"/>
              <a:gd name="T32" fmla="*/ 2147483647 w 352"/>
              <a:gd name="T33" fmla="*/ 2147483647 h 173"/>
              <a:gd name="T34" fmla="*/ 2147483647 w 352"/>
              <a:gd name="T35" fmla="*/ 2147483647 h 173"/>
              <a:gd name="T36" fmla="*/ 2147483647 w 352"/>
              <a:gd name="T37" fmla="*/ 2147483647 h 173"/>
              <a:gd name="T38" fmla="*/ 2147483647 w 352"/>
              <a:gd name="T39" fmla="*/ 2147483647 h 173"/>
              <a:gd name="T40" fmla="*/ 2147483647 w 352"/>
              <a:gd name="T41" fmla="*/ 2147483647 h 173"/>
              <a:gd name="T42" fmla="*/ 2147483647 w 352"/>
              <a:gd name="T43" fmla="*/ 2147483647 h 173"/>
              <a:gd name="T44" fmla="*/ 2147483647 w 352"/>
              <a:gd name="T45" fmla="*/ 2147483647 h 173"/>
              <a:gd name="T46" fmla="*/ 2147483647 w 352"/>
              <a:gd name="T47" fmla="*/ 2147483647 h 173"/>
              <a:gd name="T48" fmla="*/ 2147483647 w 352"/>
              <a:gd name="T49" fmla="*/ 2147483647 h 173"/>
              <a:gd name="T50" fmla="*/ 2147483647 w 352"/>
              <a:gd name="T51" fmla="*/ 2147483647 h 173"/>
              <a:gd name="T52" fmla="*/ 2147483647 w 352"/>
              <a:gd name="T53" fmla="*/ 2147483647 h 173"/>
              <a:gd name="T54" fmla="*/ 2147483647 w 352"/>
              <a:gd name="T55" fmla="*/ 0 h 173"/>
              <a:gd name="T56" fmla="*/ 2147483647 w 352"/>
              <a:gd name="T57" fmla="*/ 0 h 173"/>
              <a:gd name="T58" fmla="*/ 2147483647 w 352"/>
              <a:gd name="T59" fmla="*/ 2147483647 h 173"/>
              <a:gd name="T60" fmla="*/ 2147483647 w 352"/>
              <a:gd name="T61" fmla="*/ 2147483647 h 173"/>
              <a:gd name="T62" fmla="*/ 2147483647 w 352"/>
              <a:gd name="T63" fmla="*/ 2147483647 h 173"/>
              <a:gd name="T64" fmla="*/ 2147483647 w 352"/>
              <a:gd name="T65" fmla="*/ 2147483647 h 173"/>
              <a:gd name="T66" fmla="*/ 2147483647 w 352"/>
              <a:gd name="T67" fmla="*/ 2147483647 h 173"/>
              <a:gd name="T68" fmla="*/ 2147483647 w 352"/>
              <a:gd name="T69" fmla="*/ 2147483647 h 173"/>
              <a:gd name="T70" fmla="*/ 2147483647 w 352"/>
              <a:gd name="T71" fmla="*/ 2147483647 h 173"/>
              <a:gd name="T72" fmla="*/ 2147483647 w 352"/>
              <a:gd name="T73" fmla="*/ 2147483647 h 173"/>
              <a:gd name="T74" fmla="*/ 2147483647 w 352"/>
              <a:gd name="T75" fmla="*/ 2147483647 h 173"/>
              <a:gd name="T76" fmla="*/ 2147483647 w 352"/>
              <a:gd name="T77" fmla="*/ 2147483647 h 173"/>
              <a:gd name="T78" fmla="*/ 2147483647 w 352"/>
              <a:gd name="T79" fmla="*/ 2147483647 h 173"/>
              <a:gd name="T80" fmla="*/ 2147483647 w 352"/>
              <a:gd name="T81" fmla="*/ 2147483647 h 173"/>
              <a:gd name="T82" fmla="*/ 2147483647 w 352"/>
              <a:gd name="T83" fmla="*/ 2147483647 h 173"/>
              <a:gd name="T84" fmla="*/ 2147483647 w 352"/>
              <a:gd name="T85" fmla="*/ 2147483647 h 173"/>
              <a:gd name="T86" fmla="*/ 2147483647 w 352"/>
              <a:gd name="T87" fmla="*/ 2147483647 h 173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52"/>
              <a:gd name="T133" fmla="*/ 0 h 173"/>
              <a:gd name="T134" fmla="*/ 352 w 352"/>
              <a:gd name="T135" fmla="*/ 173 h 173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52" h="173">
                <a:moveTo>
                  <a:pt x="193" y="170"/>
                </a:moveTo>
                <a:lnTo>
                  <a:pt x="137" y="156"/>
                </a:lnTo>
                <a:lnTo>
                  <a:pt x="127" y="149"/>
                </a:lnTo>
                <a:lnTo>
                  <a:pt x="120" y="130"/>
                </a:lnTo>
                <a:lnTo>
                  <a:pt x="58" y="149"/>
                </a:lnTo>
                <a:lnTo>
                  <a:pt x="42" y="145"/>
                </a:lnTo>
                <a:lnTo>
                  <a:pt x="8" y="136"/>
                </a:lnTo>
                <a:lnTo>
                  <a:pt x="2" y="125"/>
                </a:lnTo>
                <a:lnTo>
                  <a:pt x="5" y="110"/>
                </a:lnTo>
                <a:lnTo>
                  <a:pt x="0" y="103"/>
                </a:lnTo>
                <a:lnTo>
                  <a:pt x="16" y="99"/>
                </a:lnTo>
                <a:lnTo>
                  <a:pt x="36" y="111"/>
                </a:lnTo>
                <a:lnTo>
                  <a:pt x="49" y="99"/>
                </a:lnTo>
                <a:lnTo>
                  <a:pt x="81" y="107"/>
                </a:lnTo>
                <a:lnTo>
                  <a:pt x="129" y="88"/>
                </a:lnTo>
                <a:lnTo>
                  <a:pt x="151" y="91"/>
                </a:lnTo>
                <a:lnTo>
                  <a:pt x="154" y="99"/>
                </a:lnTo>
                <a:lnTo>
                  <a:pt x="161" y="95"/>
                </a:lnTo>
                <a:lnTo>
                  <a:pt x="154" y="62"/>
                </a:lnTo>
                <a:lnTo>
                  <a:pt x="157" y="51"/>
                </a:lnTo>
                <a:lnTo>
                  <a:pt x="176" y="45"/>
                </a:lnTo>
                <a:lnTo>
                  <a:pt x="183" y="29"/>
                </a:lnTo>
                <a:lnTo>
                  <a:pt x="197" y="22"/>
                </a:lnTo>
                <a:lnTo>
                  <a:pt x="199" y="15"/>
                </a:lnTo>
                <a:lnTo>
                  <a:pt x="216" y="26"/>
                </a:lnTo>
                <a:lnTo>
                  <a:pt x="234" y="26"/>
                </a:lnTo>
                <a:lnTo>
                  <a:pt x="250" y="15"/>
                </a:lnTo>
                <a:lnTo>
                  <a:pt x="257" y="0"/>
                </a:lnTo>
                <a:lnTo>
                  <a:pt x="287" y="0"/>
                </a:lnTo>
                <a:lnTo>
                  <a:pt x="305" y="15"/>
                </a:lnTo>
                <a:lnTo>
                  <a:pt x="335" y="12"/>
                </a:lnTo>
                <a:lnTo>
                  <a:pt x="341" y="32"/>
                </a:lnTo>
                <a:lnTo>
                  <a:pt x="352" y="63"/>
                </a:lnTo>
                <a:lnTo>
                  <a:pt x="349" y="87"/>
                </a:lnTo>
                <a:lnTo>
                  <a:pt x="327" y="87"/>
                </a:lnTo>
                <a:lnTo>
                  <a:pt x="324" y="93"/>
                </a:lnTo>
                <a:lnTo>
                  <a:pt x="329" y="100"/>
                </a:lnTo>
                <a:lnTo>
                  <a:pt x="322" y="116"/>
                </a:lnTo>
                <a:lnTo>
                  <a:pt x="322" y="133"/>
                </a:lnTo>
                <a:lnTo>
                  <a:pt x="305" y="144"/>
                </a:lnTo>
                <a:lnTo>
                  <a:pt x="295" y="154"/>
                </a:lnTo>
                <a:lnTo>
                  <a:pt x="245" y="159"/>
                </a:lnTo>
                <a:lnTo>
                  <a:pt x="233" y="173"/>
                </a:lnTo>
                <a:lnTo>
                  <a:pt x="193" y="170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98" name="Freeform 187"/>
          <p:cNvSpPr>
            <a:spLocks noChangeAspect="1"/>
          </p:cNvSpPr>
          <p:nvPr/>
        </p:nvSpPr>
        <p:spPr bwMode="gray">
          <a:xfrm>
            <a:off x="4619625" y="2627313"/>
            <a:ext cx="6350" cy="11112"/>
          </a:xfrm>
          <a:custGeom>
            <a:avLst/>
            <a:gdLst>
              <a:gd name="T0" fmla="*/ 2147483647 w 11"/>
              <a:gd name="T1" fmla="*/ 2147483647 h 26"/>
              <a:gd name="T2" fmla="*/ 2147483647 w 11"/>
              <a:gd name="T3" fmla="*/ 2147483647 h 26"/>
              <a:gd name="T4" fmla="*/ 2147483647 w 11"/>
              <a:gd name="T5" fmla="*/ 0 h 26"/>
              <a:gd name="T6" fmla="*/ 0 w 11"/>
              <a:gd name="T7" fmla="*/ 2147483647 h 26"/>
              <a:gd name="T8" fmla="*/ 2147483647 w 11"/>
              <a:gd name="T9" fmla="*/ 2147483647 h 2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1"/>
              <a:gd name="T16" fmla="*/ 0 h 26"/>
              <a:gd name="T17" fmla="*/ 11 w 11"/>
              <a:gd name="T18" fmla="*/ 26 h 2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1" h="26">
                <a:moveTo>
                  <a:pt x="6" y="26"/>
                </a:moveTo>
                <a:lnTo>
                  <a:pt x="11" y="10"/>
                </a:lnTo>
                <a:lnTo>
                  <a:pt x="3" y="0"/>
                </a:lnTo>
                <a:lnTo>
                  <a:pt x="0" y="15"/>
                </a:lnTo>
                <a:lnTo>
                  <a:pt x="6" y="26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499" name="Freeform 188"/>
          <p:cNvSpPr>
            <a:spLocks noChangeAspect="1"/>
          </p:cNvSpPr>
          <p:nvPr/>
        </p:nvSpPr>
        <p:spPr bwMode="gray">
          <a:xfrm>
            <a:off x="4722813" y="2360613"/>
            <a:ext cx="223837" cy="207962"/>
          </a:xfrm>
          <a:custGeom>
            <a:avLst/>
            <a:gdLst>
              <a:gd name="T0" fmla="*/ 2147483647 w 459"/>
              <a:gd name="T1" fmla="*/ 2147483647 h 428"/>
              <a:gd name="T2" fmla="*/ 2147483647 w 459"/>
              <a:gd name="T3" fmla="*/ 2147483647 h 428"/>
              <a:gd name="T4" fmla="*/ 2147483647 w 459"/>
              <a:gd name="T5" fmla="*/ 2147483647 h 428"/>
              <a:gd name="T6" fmla="*/ 0 w 459"/>
              <a:gd name="T7" fmla="*/ 2147483647 h 428"/>
              <a:gd name="T8" fmla="*/ 2147483647 w 459"/>
              <a:gd name="T9" fmla="*/ 2147483647 h 428"/>
              <a:gd name="T10" fmla="*/ 2147483647 w 459"/>
              <a:gd name="T11" fmla="*/ 2147483647 h 428"/>
              <a:gd name="T12" fmla="*/ 2147483647 w 459"/>
              <a:gd name="T13" fmla="*/ 2147483647 h 428"/>
              <a:gd name="T14" fmla="*/ 2147483647 w 459"/>
              <a:gd name="T15" fmla="*/ 2147483647 h 428"/>
              <a:gd name="T16" fmla="*/ 2147483647 w 459"/>
              <a:gd name="T17" fmla="*/ 2147483647 h 428"/>
              <a:gd name="T18" fmla="*/ 2147483647 w 459"/>
              <a:gd name="T19" fmla="*/ 2147483647 h 428"/>
              <a:gd name="T20" fmla="*/ 2147483647 w 459"/>
              <a:gd name="T21" fmla="*/ 2147483647 h 428"/>
              <a:gd name="T22" fmla="*/ 2147483647 w 459"/>
              <a:gd name="T23" fmla="*/ 2147483647 h 428"/>
              <a:gd name="T24" fmla="*/ 2147483647 w 459"/>
              <a:gd name="T25" fmla="*/ 2147483647 h 428"/>
              <a:gd name="T26" fmla="*/ 2147483647 w 459"/>
              <a:gd name="T27" fmla="*/ 2147483647 h 428"/>
              <a:gd name="T28" fmla="*/ 2147483647 w 459"/>
              <a:gd name="T29" fmla="*/ 2147483647 h 428"/>
              <a:gd name="T30" fmla="*/ 2147483647 w 459"/>
              <a:gd name="T31" fmla="*/ 2147483647 h 428"/>
              <a:gd name="T32" fmla="*/ 2147483647 w 459"/>
              <a:gd name="T33" fmla="*/ 2147483647 h 428"/>
              <a:gd name="T34" fmla="*/ 2147483647 w 459"/>
              <a:gd name="T35" fmla="*/ 2147483647 h 428"/>
              <a:gd name="T36" fmla="*/ 2147483647 w 459"/>
              <a:gd name="T37" fmla="*/ 2147483647 h 428"/>
              <a:gd name="T38" fmla="*/ 2147483647 w 459"/>
              <a:gd name="T39" fmla="*/ 2147483647 h 428"/>
              <a:gd name="T40" fmla="*/ 2147483647 w 459"/>
              <a:gd name="T41" fmla="*/ 2147483647 h 428"/>
              <a:gd name="T42" fmla="*/ 2147483647 w 459"/>
              <a:gd name="T43" fmla="*/ 2147483647 h 428"/>
              <a:gd name="T44" fmla="*/ 2147483647 w 459"/>
              <a:gd name="T45" fmla="*/ 2147483647 h 428"/>
              <a:gd name="T46" fmla="*/ 2147483647 w 459"/>
              <a:gd name="T47" fmla="*/ 2147483647 h 428"/>
              <a:gd name="T48" fmla="*/ 2147483647 w 459"/>
              <a:gd name="T49" fmla="*/ 2147483647 h 428"/>
              <a:gd name="T50" fmla="*/ 2147483647 w 459"/>
              <a:gd name="T51" fmla="*/ 2147483647 h 428"/>
              <a:gd name="T52" fmla="*/ 2147483647 w 459"/>
              <a:gd name="T53" fmla="*/ 2147483647 h 428"/>
              <a:gd name="T54" fmla="*/ 2147483647 w 459"/>
              <a:gd name="T55" fmla="*/ 2147483647 h 428"/>
              <a:gd name="T56" fmla="*/ 2147483647 w 459"/>
              <a:gd name="T57" fmla="*/ 2147483647 h 428"/>
              <a:gd name="T58" fmla="*/ 2147483647 w 459"/>
              <a:gd name="T59" fmla="*/ 2147483647 h 428"/>
              <a:gd name="T60" fmla="*/ 2147483647 w 459"/>
              <a:gd name="T61" fmla="*/ 2147483647 h 428"/>
              <a:gd name="T62" fmla="*/ 2147483647 w 459"/>
              <a:gd name="T63" fmla="*/ 2147483647 h 428"/>
              <a:gd name="T64" fmla="*/ 2147483647 w 459"/>
              <a:gd name="T65" fmla="*/ 2147483647 h 428"/>
              <a:gd name="T66" fmla="*/ 2147483647 w 459"/>
              <a:gd name="T67" fmla="*/ 2147483647 h 428"/>
              <a:gd name="T68" fmla="*/ 2147483647 w 459"/>
              <a:gd name="T69" fmla="*/ 2147483647 h 428"/>
              <a:gd name="T70" fmla="*/ 2147483647 w 459"/>
              <a:gd name="T71" fmla="*/ 2147483647 h 428"/>
              <a:gd name="T72" fmla="*/ 2147483647 w 459"/>
              <a:gd name="T73" fmla="*/ 2147483647 h 428"/>
              <a:gd name="T74" fmla="*/ 2147483647 w 459"/>
              <a:gd name="T75" fmla="*/ 2147483647 h 428"/>
              <a:gd name="T76" fmla="*/ 2147483647 w 459"/>
              <a:gd name="T77" fmla="*/ 2147483647 h 428"/>
              <a:gd name="T78" fmla="*/ 2147483647 w 459"/>
              <a:gd name="T79" fmla="*/ 2147483647 h 428"/>
              <a:gd name="T80" fmla="*/ 2147483647 w 459"/>
              <a:gd name="T81" fmla="*/ 2147483647 h 428"/>
              <a:gd name="T82" fmla="*/ 2147483647 w 459"/>
              <a:gd name="T83" fmla="*/ 2147483647 h 428"/>
              <a:gd name="T84" fmla="*/ 2147483647 w 459"/>
              <a:gd name="T85" fmla="*/ 2147483647 h 428"/>
              <a:gd name="T86" fmla="*/ 2147483647 w 459"/>
              <a:gd name="T87" fmla="*/ 2147483647 h 428"/>
              <a:gd name="T88" fmla="*/ 2147483647 w 459"/>
              <a:gd name="T89" fmla="*/ 2147483647 h 428"/>
              <a:gd name="T90" fmla="*/ 2147483647 w 459"/>
              <a:gd name="T91" fmla="*/ 2147483647 h 428"/>
              <a:gd name="T92" fmla="*/ 2147483647 w 459"/>
              <a:gd name="T93" fmla="*/ 2147483647 h 428"/>
              <a:gd name="T94" fmla="*/ 2147483647 w 459"/>
              <a:gd name="T95" fmla="*/ 2147483647 h 428"/>
              <a:gd name="T96" fmla="*/ 2147483647 w 459"/>
              <a:gd name="T97" fmla="*/ 2147483647 h 428"/>
              <a:gd name="T98" fmla="*/ 2147483647 w 459"/>
              <a:gd name="T99" fmla="*/ 2147483647 h 428"/>
              <a:gd name="T100" fmla="*/ 2147483647 w 459"/>
              <a:gd name="T101" fmla="*/ 2147483647 h 428"/>
              <a:gd name="T102" fmla="*/ 2147483647 w 459"/>
              <a:gd name="T103" fmla="*/ 0 h 428"/>
              <a:gd name="T104" fmla="*/ 2147483647 w 459"/>
              <a:gd name="T105" fmla="*/ 2147483647 h 428"/>
              <a:gd name="T106" fmla="*/ 2147483647 w 459"/>
              <a:gd name="T107" fmla="*/ 2147483647 h 428"/>
              <a:gd name="T108" fmla="*/ 2147483647 w 459"/>
              <a:gd name="T109" fmla="*/ 2147483647 h 428"/>
              <a:gd name="T110" fmla="*/ 2147483647 w 459"/>
              <a:gd name="T111" fmla="*/ 2147483647 h 428"/>
              <a:gd name="T112" fmla="*/ 2147483647 w 459"/>
              <a:gd name="T113" fmla="*/ 2147483647 h 428"/>
              <a:gd name="T114" fmla="*/ 2147483647 w 459"/>
              <a:gd name="T115" fmla="*/ 2147483647 h 428"/>
              <a:gd name="T116" fmla="*/ 2147483647 w 459"/>
              <a:gd name="T117" fmla="*/ 2147483647 h 42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459"/>
              <a:gd name="T178" fmla="*/ 0 h 428"/>
              <a:gd name="T179" fmla="*/ 459 w 459"/>
              <a:gd name="T180" fmla="*/ 428 h 428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459" h="428">
                <a:moveTo>
                  <a:pt x="3" y="86"/>
                </a:moveTo>
                <a:lnTo>
                  <a:pt x="11" y="108"/>
                </a:lnTo>
                <a:lnTo>
                  <a:pt x="11" y="122"/>
                </a:lnTo>
                <a:lnTo>
                  <a:pt x="0" y="159"/>
                </a:lnTo>
                <a:lnTo>
                  <a:pt x="14" y="167"/>
                </a:lnTo>
                <a:lnTo>
                  <a:pt x="20" y="217"/>
                </a:lnTo>
                <a:lnTo>
                  <a:pt x="23" y="247"/>
                </a:lnTo>
                <a:lnTo>
                  <a:pt x="37" y="266"/>
                </a:lnTo>
                <a:lnTo>
                  <a:pt x="29" y="305"/>
                </a:lnTo>
                <a:lnTo>
                  <a:pt x="34" y="308"/>
                </a:lnTo>
                <a:lnTo>
                  <a:pt x="46" y="294"/>
                </a:lnTo>
                <a:lnTo>
                  <a:pt x="60" y="308"/>
                </a:lnTo>
                <a:lnTo>
                  <a:pt x="85" y="311"/>
                </a:lnTo>
                <a:lnTo>
                  <a:pt x="102" y="322"/>
                </a:lnTo>
                <a:lnTo>
                  <a:pt x="99" y="334"/>
                </a:lnTo>
                <a:lnTo>
                  <a:pt x="120" y="353"/>
                </a:lnTo>
                <a:lnTo>
                  <a:pt x="131" y="347"/>
                </a:lnTo>
                <a:lnTo>
                  <a:pt x="129" y="337"/>
                </a:lnTo>
                <a:lnTo>
                  <a:pt x="167" y="347"/>
                </a:lnTo>
                <a:lnTo>
                  <a:pt x="167" y="359"/>
                </a:lnTo>
                <a:lnTo>
                  <a:pt x="187" y="367"/>
                </a:lnTo>
                <a:lnTo>
                  <a:pt x="202" y="393"/>
                </a:lnTo>
                <a:lnTo>
                  <a:pt x="219" y="399"/>
                </a:lnTo>
                <a:lnTo>
                  <a:pt x="227" y="402"/>
                </a:lnTo>
                <a:lnTo>
                  <a:pt x="246" y="398"/>
                </a:lnTo>
                <a:lnTo>
                  <a:pt x="266" y="418"/>
                </a:lnTo>
                <a:lnTo>
                  <a:pt x="289" y="407"/>
                </a:lnTo>
                <a:lnTo>
                  <a:pt x="314" y="415"/>
                </a:lnTo>
                <a:lnTo>
                  <a:pt x="339" y="404"/>
                </a:lnTo>
                <a:lnTo>
                  <a:pt x="383" y="428"/>
                </a:lnTo>
                <a:lnTo>
                  <a:pt x="397" y="428"/>
                </a:lnTo>
                <a:lnTo>
                  <a:pt x="395" y="404"/>
                </a:lnTo>
                <a:lnTo>
                  <a:pt x="410" y="373"/>
                </a:lnTo>
                <a:lnTo>
                  <a:pt x="454" y="333"/>
                </a:lnTo>
                <a:lnTo>
                  <a:pt x="459" y="322"/>
                </a:lnTo>
                <a:lnTo>
                  <a:pt x="454" y="299"/>
                </a:lnTo>
                <a:lnTo>
                  <a:pt x="444" y="286"/>
                </a:lnTo>
                <a:lnTo>
                  <a:pt x="433" y="247"/>
                </a:lnTo>
                <a:lnTo>
                  <a:pt x="436" y="217"/>
                </a:lnTo>
                <a:lnTo>
                  <a:pt x="419" y="196"/>
                </a:lnTo>
                <a:lnTo>
                  <a:pt x="450" y="164"/>
                </a:lnTo>
                <a:lnTo>
                  <a:pt x="450" y="136"/>
                </a:lnTo>
                <a:lnTo>
                  <a:pt x="434" y="66"/>
                </a:lnTo>
                <a:lnTo>
                  <a:pt x="428" y="52"/>
                </a:lnTo>
                <a:lnTo>
                  <a:pt x="399" y="35"/>
                </a:lnTo>
                <a:lnTo>
                  <a:pt x="318" y="43"/>
                </a:lnTo>
                <a:lnTo>
                  <a:pt x="253" y="31"/>
                </a:lnTo>
                <a:lnTo>
                  <a:pt x="216" y="43"/>
                </a:lnTo>
                <a:lnTo>
                  <a:pt x="201" y="14"/>
                </a:lnTo>
                <a:lnTo>
                  <a:pt x="213" y="18"/>
                </a:lnTo>
                <a:lnTo>
                  <a:pt x="209" y="6"/>
                </a:lnTo>
                <a:lnTo>
                  <a:pt x="179" y="0"/>
                </a:lnTo>
                <a:lnTo>
                  <a:pt x="145" y="6"/>
                </a:lnTo>
                <a:lnTo>
                  <a:pt x="86" y="45"/>
                </a:lnTo>
                <a:lnTo>
                  <a:pt x="14" y="73"/>
                </a:lnTo>
                <a:lnTo>
                  <a:pt x="7" y="77"/>
                </a:lnTo>
                <a:lnTo>
                  <a:pt x="17" y="81"/>
                </a:lnTo>
                <a:lnTo>
                  <a:pt x="15" y="93"/>
                </a:lnTo>
                <a:lnTo>
                  <a:pt x="3" y="86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00" name="Freeform 189"/>
          <p:cNvSpPr>
            <a:spLocks noChangeAspect="1"/>
          </p:cNvSpPr>
          <p:nvPr/>
        </p:nvSpPr>
        <p:spPr bwMode="gray">
          <a:xfrm>
            <a:off x="4876800" y="2227263"/>
            <a:ext cx="165100" cy="98425"/>
          </a:xfrm>
          <a:custGeom>
            <a:avLst/>
            <a:gdLst>
              <a:gd name="T0" fmla="*/ 2147483647 w 339"/>
              <a:gd name="T1" fmla="*/ 2147483647 h 200"/>
              <a:gd name="T2" fmla="*/ 2147483647 w 339"/>
              <a:gd name="T3" fmla="*/ 2147483647 h 200"/>
              <a:gd name="T4" fmla="*/ 2147483647 w 339"/>
              <a:gd name="T5" fmla="*/ 2147483647 h 200"/>
              <a:gd name="T6" fmla="*/ 2147483647 w 339"/>
              <a:gd name="T7" fmla="*/ 2147483647 h 200"/>
              <a:gd name="T8" fmla="*/ 2147483647 w 339"/>
              <a:gd name="T9" fmla="*/ 2147483647 h 200"/>
              <a:gd name="T10" fmla="*/ 2147483647 w 339"/>
              <a:gd name="T11" fmla="*/ 2147483647 h 200"/>
              <a:gd name="T12" fmla="*/ 2147483647 w 339"/>
              <a:gd name="T13" fmla="*/ 2147483647 h 200"/>
              <a:gd name="T14" fmla="*/ 2147483647 w 339"/>
              <a:gd name="T15" fmla="*/ 2147483647 h 200"/>
              <a:gd name="T16" fmla="*/ 2147483647 w 339"/>
              <a:gd name="T17" fmla="*/ 2147483647 h 200"/>
              <a:gd name="T18" fmla="*/ 2147483647 w 339"/>
              <a:gd name="T19" fmla="*/ 2147483647 h 200"/>
              <a:gd name="T20" fmla="*/ 2147483647 w 339"/>
              <a:gd name="T21" fmla="*/ 2147483647 h 200"/>
              <a:gd name="T22" fmla="*/ 2147483647 w 339"/>
              <a:gd name="T23" fmla="*/ 0 h 200"/>
              <a:gd name="T24" fmla="*/ 2147483647 w 339"/>
              <a:gd name="T25" fmla="*/ 2147483647 h 200"/>
              <a:gd name="T26" fmla="*/ 2147483647 w 339"/>
              <a:gd name="T27" fmla="*/ 2147483647 h 200"/>
              <a:gd name="T28" fmla="*/ 2147483647 w 339"/>
              <a:gd name="T29" fmla="*/ 2147483647 h 200"/>
              <a:gd name="T30" fmla="*/ 2147483647 w 339"/>
              <a:gd name="T31" fmla="*/ 2147483647 h 200"/>
              <a:gd name="T32" fmla="*/ 2147483647 w 339"/>
              <a:gd name="T33" fmla="*/ 2147483647 h 200"/>
              <a:gd name="T34" fmla="*/ 2147483647 w 339"/>
              <a:gd name="T35" fmla="*/ 2147483647 h 200"/>
              <a:gd name="T36" fmla="*/ 2147483647 w 339"/>
              <a:gd name="T37" fmla="*/ 2147483647 h 200"/>
              <a:gd name="T38" fmla="*/ 2147483647 w 339"/>
              <a:gd name="T39" fmla="*/ 2147483647 h 200"/>
              <a:gd name="T40" fmla="*/ 2147483647 w 339"/>
              <a:gd name="T41" fmla="*/ 2147483647 h 200"/>
              <a:gd name="T42" fmla="*/ 2147483647 w 339"/>
              <a:gd name="T43" fmla="*/ 2147483647 h 200"/>
              <a:gd name="T44" fmla="*/ 2147483647 w 339"/>
              <a:gd name="T45" fmla="*/ 2147483647 h 200"/>
              <a:gd name="T46" fmla="*/ 2147483647 w 339"/>
              <a:gd name="T47" fmla="*/ 2147483647 h 200"/>
              <a:gd name="T48" fmla="*/ 0 w 339"/>
              <a:gd name="T49" fmla="*/ 2147483647 h 200"/>
              <a:gd name="T50" fmla="*/ 2147483647 w 339"/>
              <a:gd name="T51" fmla="*/ 2147483647 h 200"/>
              <a:gd name="T52" fmla="*/ 2147483647 w 339"/>
              <a:gd name="T53" fmla="*/ 2147483647 h 200"/>
              <a:gd name="T54" fmla="*/ 2147483647 w 339"/>
              <a:gd name="T55" fmla="*/ 2147483647 h 200"/>
              <a:gd name="T56" fmla="*/ 2147483647 w 339"/>
              <a:gd name="T57" fmla="*/ 2147483647 h 200"/>
              <a:gd name="T58" fmla="*/ 2147483647 w 339"/>
              <a:gd name="T59" fmla="*/ 2147483647 h 200"/>
              <a:gd name="T60" fmla="*/ 2147483647 w 339"/>
              <a:gd name="T61" fmla="*/ 2147483647 h 200"/>
              <a:gd name="T62" fmla="*/ 2147483647 w 339"/>
              <a:gd name="T63" fmla="*/ 2147483647 h 200"/>
              <a:gd name="T64" fmla="*/ 2147483647 w 339"/>
              <a:gd name="T65" fmla="*/ 2147483647 h 200"/>
              <a:gd name="T66" fmla="*/ 2147483647 w 339"/>
              <a:gd name="T67" fmla="*/ 2147483647 h 200"/>
              <a:gd name="T68" fmla="*/ 2147483647 w 339"/>
              <a:gd name="T69" fmla="*/ 2147483647 h 200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39"/>
              <a:gd name="T106" fmla="*/ 0 h 200"/>
              <a:gd name="T107" fmla="*/ 339 w 339"/>
              <a:gd name="T108" fmla="*/ 200 h 200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39" h="200">
                <a:moveTo>
                  <a:pt x="266" y="200"/>
                </a:moveTo>
                <a:lnTo>
                  <a:pt x="285" y="188"/>
                </a:lnTo>
                <a:lnTo>
                  <a:pt x="305" y="191"/>
                </a:lnTo>
                <a:lnTo>
                  <a:pt x="324" y="164"/>
                </a:lnTo>
                <a:lnTo>
                  <a:pt x="339" y="159"/>
                </a:lnTo>
                <a:lnTo>
                  <a:pt x="336" y="125"/>
                </a:lnTo>
                <a:lnTo>
                  <a:pt x="312" y="95"/>
                </a:lnTo>
                <a:lnTo>
                  <a:pt x="317" y="62"/>
                </a:lnTo>
                <a:lnTo>
                  <a:pt x="300" y="40"/>
                </a:lnTo>
                <a:lnTo>
                  <a:pt x="260" y="40"/>
                </a:lnTo>
                <a:lnTo>
                  <a:pt x="237" y="17"/>
                </a:lnTo>
                <a:lnTo>
                  <a:pt x="200" y="0"/>
                </a:lnTo>
                <a:lnTo>
                  <a:pt x="158" y="15"/>
                </a:lnTo>
                <a:lnTo>
                  <a:pt x="156" y="20"/>
                </a:lnTo>
                <a:lnTo>
                  <a:pt x="156" y="74"/>
                </a:lnTo>
                <a:lnTo>
                  <a:pt x="146" y="98"/>
                </a:lnTo>
                <a:lnTo>
                  <a:pt x="143" y="88"/>
                </a:lnTo>
                <a:lnTo>
                  <a:pt x="124" y="95"/>
                </a:lnTo>
                <a:lnTo>
                  <a:pt x="110" y="87"/>
                </a:lnTo>
                <a:lnTo>
                  <a:pt x="102" y="65"/>
                </a:lnTo>
                <a:lnTo>
                  <a:pt x="101" y="74"/>
                </a:lnTo>
                <a:lnTo>
                  <a:pt x="73" y="31"/>
                </a:lnTo>
                <a:lnTo>
                  <a:pt x="36" y="45"/>
                </a:lnTo>
                <a:lnTo>
                  <a:pt x="5" y="115"/>
                </a:lnTo>
                <a:lnTo>
                  <a:pt x="0" y="158"/>
                </a:lnTo>
                <a:lnTo>
                  <a:pt x="2" y="164"/>
                </a:lnTo>
                <a:lnTo>
                  <a:pt x="11" y="166"/>
                </a:lnTo>
                <a:lnTo>
                  <a:pt x="22" y="150"/>
                </a:lnTo>
                <a:lnTo>
                  <a:pt x="54" y="137"/>
                </a:lnTo>
                <a:lnTo>
                  <a:pt x="127" y="139"/>
                </a:lnTo>
                <a:lnTo>
                  <a:pt x="153" y="149"/>
                </a:lnTo>
                <a:lnTo>
                  <a:pt x="183" y="133"/>
                </a:lnTo>
                <a:lnTo>
                  <a:pt x="195" y="158"/>
                </a:lnTo>
                <a:lnTo>
                  <a:pt x="215" y="159"/>
                </a:lnTo>
                <a:lnTo>
                  <a:pt x="266" y="200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01" name="Freeform 190"/>
          <p:cNvSpPr>
            <a:spLocks noChangeAspect="1"/>
          </p:cNvSpPr>
          <p:nvPr/>
        </p:nvSpPr>
        <p:spPr bwMode="gray">
          <a:xfrm>
            <a:off x="4876800" y="2292350"/>
            <a:ext cx="130175" cy="100013"/>
          </a:xfrm>
          <a:custGeom>
            <a:avLst/>
            <a:gdLst>
              <a:gd name="T0" fmla="*/ 2147483647 w 266"/>
              <a:gd name="T1" fmla="*/ 2147483647 h 204"/>
              <a:gd name="T2" fmla="*/ 2147483647 w 266"/>
              <a:gd name="T3" fmla="*/ 2147483647 h 204"/>
              <a:gd name="T4" fmla="*/ 2147483647 w 266"/>
              <a:gd name="T5" fmla="*/ 2147483647 h 204"/>
              <a:gd name="T6" fmla="*/ 2147483647 w 266"/>
              <a:gd name="T7" fmla="*/ 2147483647 h 204"/>
              <a:gd name="T8" fmla="*/ 2147483647 w 266"/>
              <a:gd name="T9" fmla="*/ 2147483647 h 204"/>
              <a:gd name="T10" fmla="*/ 2147483647 w 266"/>
              <a:gd name="T11" fmla="*/ 2147483647 h 204"/>
              <a:gd name="T12" fmla="*/ 2147483647 w 266"/>
              <a:gd name="T13" fmla="*/ 2147483647 h 204"/>
              <a:gd name="T14" fmla="*/ 2147483647 w 266"/>
              <a:gd name="T15" fmla="*/ 2147483647 h 204"/>
              <a:gd name="T16" fmla="*/ 2147483647 w 266"/>
              <a:gd name="T17" fmla="*/ 2147483647 h 204"/>
              <a:gd name="T18" fmla="*/ 2147483647 w 266"/>
              <a:gd name="T19" fmla="*/ 2147483647 h 204"/>
              <a:gd name="T20" fmla="*/ 2147483647 w 266"/>
              <a:gd name="T21" fmla="*/ 2147483647 h 204"/>
              <a:gd name="T22" fmla="*/ 2147483647 w 266"/>
              <a:gd name="T23" fmla="*/ 2147483647 h 204"/>
              <a:gd name="T24" fmla="*/ 2147483647 w 266"/>
              <a:gd name="T25" fmla="*/ 2147483647 h 204"/>
              <a:gd name="T26" fmla="*/ 2147483647 w 266"/>
              <a:gd name="T27" fmla="*/ 2147483647 h 204"/>
              <a:gd name="T28" fmla="*/ 2147483647 w 266"/>
              <a:gd name="T29" fmla="*/ 2147483647 h 204"/>
              <a:gd name="T30" fmla="*/ 2147483647 w 266"/>
              <a:gd name="T31" fmla="*/ 0 h 204"/>
              <a:gd name="T32" fmla="*/ 2147483647 w 266"/>
              <a:gd name="T33" fmla="*/ 2147483647 h 204"/>
              <a:gd name="T34" fmla="*/ 2147483647 w 266"/>
              <a:gd name="T35" fmla="*/ 2147483647 h 204"/>
              <a:gd name="T36" fmla="*/ 2147483647 w 266"/>
              <a:gd name="T37" fmla="*/ 2147483647 h 204"/>
              <a:gd name="T38" fmla="*/ 2147483647 w 266"/>
              <a:gd name="T39" fmla="*/ 2147483647 h 204"/>
              <a:gd name="T40" fmla="*/ 2147483647 w 266"/>
              <a:gd name="T41" fmla="*/ 2147483647 h 204"/>
              <a:gd name="T42" fmla="*/ 0 w 266"/>
              <a:gd name="T43" fmla="*/ 2147483647 h 204"/>
              <a:gd name="T44" fmla="*/ 2147483647 w 266"/>
              <a:gd name="T45" fmla="*/ 2147483647 h 204"/>
              <a:gd name="T46" fmla="*/ 2147483647 w 266"/>
              <a:gd name="T47" fmla="*/ 2147483647 h 204"/>
              <a:gd name="T48" fmla="*/ 2147483647 w 266"/>
              <a:gd name="T49" fmla="*/ 2147483647 h 204"/>
              <a:gd name="T50" fmla="*/ 2147483647 w 266"/>
              <a:gd name="T51" fmla="*/ 2147483647 h 204"/>
              <a:gd name="T52" fmla="*/ 2147483647 w 266"/>
              <a:gd name="T53" fmla="*/ 2147483647 h 204"/>
              <a:gd name="T54" fmla="*/ 2147483647 w 266"/>
              <a:gd name="T55" fmla="*/ 2147483647 h 204"/>
              <a:gd name="T56" fmla="*/ 2147483647 w 266"/>
              <a:gd name="T57" fmla="*/ 2147483647 h 204"/>
              <a:gd name="T58" fmla="*/ 2147483647 w 266"/>
              <a:gd name="T59" fmla="*/ 2147483647 h 204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266"/>
              <a:gd name="T91" fmla="*/ 0 h 204"/>
              <a:gd name="T92" fmla="*/ 266 w 266"/>
              <a:gd name="T93" fmla="*/ 204 h 204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266" h="204">
                <a:moveTo>
                  <a:pt x="178" y="200"/>
                </a:moveTo>
                <a:lnTo>
                  <a:pt x="175" y="189"/>
                </a:lnTo>
                <a:lnTo>
                  <a:pt x="198" y="177"/>
                </a:lnTo>
                <a:lnTo>
                  <a:pt x="221" y="186"/>
                </a:lnTo>
                <a:lnTo>
                  <a:pt x="212" y="169"/>
                </a:lnTo>
                <a:lnTo>
                  <a:pt x="221" y="150"/>
                </a:lnTo>
                <a:lnTo>
                  <a:pt x="224" y="122"/>
                </a:lnTo>
                <a:lnTo>
                  <a:pt x="260" y="109"/>
                </a:lnTo>
                <a:lnTo>
                  <a:pt x="266" y="93"/>
                </a:lnTo>
                <a:lnTo>
                  <a:pt x="252" y="90"/>
                </a:lnTo>
                <a:lnTo>
                  <a:pt x="252" y="76"/>
                </a:lnTo>
                <a:lnTo>
                  <a:pt x="264" y="68"/>
                </a:lnTo>
                <a:lnTo>
                  <a:pt x="264" y="67"/>
                </a:lnTo>
                <a:lnTo>
                  <a:pt x="213" y="26"/>
                </a:lnTo>
                <a:lnTo>
                  <a:pt x="193" y="25"/>
                </a:lnTo>
                <a:lnTo>
                  <a:pt x="181" y="0"/>
                </a:lnTo>
                <a:lnTo>
                  <a:pt x="151" y="16"/>
                </a:lnTo>
                <a:lnTo>
                  <a:pt x="125" y="6"/>
                </a:lnTo>
                <a:lnTo>
                  <a:pt x="52" y="4"/>
                </a:lnTo>
                <a:lnTo>
                  <a:pt x="20" y="17"/>
                </a:lnTo>
                <a:lnTo>
                  <a:pt x="9" y="33"/>
                </a:lnTo>
                <a:lnTo>
                  <a:pt x="0" y="31"/>
                </a:lnTo>
                <a:lnTo>
                  <a:pt x="14" y="101"/>
                </a:lnTo>
                <a:lnTo>
                  <a:pt x="76" y="116"/>
                </a:lnTo>
                <a:lnTo>
                  <a:pt x="85" y="135"/>
                </a:lnTo>
                <a:lnTo>
                  <a:pt x="80" y="147"/>
                </a:lnTo>
                <a:lnTo>
                  <a:pt x="82" y="173"/>
                </a:lnTo>
                <a:lnTo>
                  <a:pt x="111" y="190"/>
                </a:lnTo>
                <a:lnTo>
                  <a:pt x="117" y="204"/>
                </a:lnTo>
                <a:lnTo>
                  <a:pt x="178" y="200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02" name="Freeform 191"/>
          <p:cNvSpPr>
            <a:spLocks noChangeAspect="1"/>
          </p:cNvSpPr>
          <p:nvPr/>
        </p:nvSpPr>
        <p:spPr bwMode="gray">
          <a:xfrm>
            <a:off x="4845050" y="2325688"/>
            <a:ext cx="71438" cy="57150"/>
          </a:xfrm>
          <a:custGeom>
            <a:avLst/>
            <a:gdLst>
              <a:gd name="T0" fmla="*/ 0 w 149"/>
              <a:gd name="T1" fmla="*/ 2147483647 h 113"/>
              <a:gd name="T2" fmla="*/ 2147483647 w 149"/>
              <a:gd name="T3" fmla="*/ 2147483647 h 113"/>
              <a:gd name="T4" fmla="*/ 2147483647 w 149"/>
              <a:gd name="T5" fmla="*/ 2147483647 h 113"/>
              <a:gd name="T6" fmla="*/ 2147483647 w 149"/>
              <a:gd name="T7" fmla="*/ 2147483647 h 113"/>
              <a:gd name="T8" fmla="*/ 2147483647 w 149"/>
              <a:gd name="T9" fmla="*/ 2147483647 h 113"/>
              <a:gd name="T10" fmla="*/ 2147483647 w 149"/>
              <a:gd name="T11" fmla="*/ 2147483647 h 113"/>
              <a:gd name="T12" fmla="*/ 2147483647 w 149"/>
              <a:gd name="T13" fmla="*/ 2147483647 h 113"/>
              <a:gd name="T14" fmla="*/ 2147483647 w 149"/>
              <a:gd name="T15" fmla="*/ 2147483647 h 113"/>
              <a:gd name="T16" fmla="*/ 2147483647 w 149"/>
              <a:gd name="T17" fmla="*/ 2147483647 h 113"/>
              <a:gd name="T18" fmla="*/ 2147483647 w 149"/>
              <a:gd name="T19" fmla="*/ 2147483647 h 113"/>
              <a:gd name="T20" fmla="*/ 2147483647 w 149"/>
              <a:gd name="T21" fmla="*/ 0 h 113"/>
              <a:gd name="T22" fmla="*/ 2147483647 w 149"/>
              <a:gd name="T23" fmla="*/ 2147483647 h 113"/>
              <a:gd name="T24" fmla="*/ 2147483647 w 149"/>
              <a:gd name="T25" fmla="*/ 2147483647 h 113"/>
              <a:gd name="T26" fmla="*/ 2147483647 w 149"/>
              <a:gd name="T27" fmla="*/ 2147483647 h 113"/>
              <a:gd name="T28" fmla="*/ 2147483647 w 149"/>
              <a:gd name="T29" fmla="*/ 2147483647 h 113"/>
              <a:gd name="T30" fmla="*/ 0 w 149"/>
              <a:gd name="T31" fmla="*/ 2147483647 h 11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49"/>
              <a:gd name="T49" fmla="*/ 0 h 113"/>
              <a:gd name="T50" fmla="*/ 149 w 149"/>
              <a:gd name="T51" fmla="*/ 113 h 113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49" h="113">
                <a:moveTo>
                  <a:pt x="0" y="101"/>
                </a:moveTo>
                <a:lnTo>
                  <a:pt x="65" y="113"/>
                </a:lnTo>
                <a:lnTo>
                  <a:pt x="146" y="105"/>
                </a:lnTo>
                <a:lnTo>
                  <a:pt x="144" y="79"/>
                </a:lnTo>
                <a:lnTo>
                  <a:pt x="149" y="67"/>
                </a:lnTo>
                <a:lnTo>
                  <a:pt x="140" y="48"/>
                </a:lnTo>
                <a:lnTo>
                  <a:pt x="78" y="33"/>
                </a:lnTo>
                <a:lnTo>
                  <a:pt x="73" y="62"/>
                </a:lnTo>
                <a:lnTo>
                  <a:pt x="47" y="54"/>
                </a:lnTo>
                <a:lnTo>
                  <a:pt x="65" y="24"/>
                </a:lnTo>
                <a:lnTo>
                  <a:pt x="71" y="0"/>
                </a:lnTo>
                <a:lnTo>
                  <a:pt x="54" y="37"/>
                </a:lnTo>
                <a:lnTo>
                  <a:pt x="39" y="59"/>
                </a:lnTo>
                <a:lnTo>
                  <a:pt x="20" y="59"/>
                </a:lnTo>
                <a:lnTo>
                  <a:pt x="11" y="87"/>
                </a:lnTo>
                <a:lnTo>
                  <a:pt x="0" y="101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03" name="Freeform 192"/>
          <p:cNvSpPr>
            <a:spLocks noChangeAspect="1"/>
          </p:cNvSpPr>
          <p:nvPr/>
        </p:nvSpPr>
        <p:spPr bwMode="gray">
          <a:xfrm>
            <a:off x="4533900" y="2533650"/>
            <a:ext cx="14288" cy="20638"/>
          </a:xfrm>
          <a:custGeom>
            <a:avLst/>
            <a:gdLst>
              <a:gd name="T0" fmla="*/ 2147483647 w 30"/>
              <a:gd name="T1" fmla="*/ 2147483647 h 42"/>
              <a:gd name="T2" fmla="*/ 2147483647 w 30"/>
              <a:gd name="T3" fmla="*/ 2147483647 h 42"/>
              <a:gd name="T4" fmla="*/ 2147483647 w 30"/>
              <a:gd name="T5" fmla="*/ 2147483647 h 42"/>
              <a:gd name="T6" fmla="*/ 2147483647 w 30"/>
              <a:gd name="T7" fmla="*/ 2147483647 h 42"/>
              <a:gd name="T8" fmla="*/ 2147483647 w 30"/>
              <a:gd name="T9" fmla="*/ 0 h 42"/>
              <a:gd name="T10" fmla="*/ 2147483647 w 30"/>
              <a:gd name="T11" fmla="*/ 2147483647 h 42"/>
              <a:gd name="T12" fmla="*/ 0 w 30"/>
              <a:gd name="T13" fmla="*/ 2147483647 h 42"/>
              <a:gd name="T14" fmla="*/ 2147483647 w 30"/>
              <a:gd name="T15" fmla="*/ 2147483647 h 42"/>
              <a:gd name="T16" fmla="*/ 2147483647 w 30"/>
              <a:gd name="T17" fmla="*/ 2147483647 h 4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0"/>
              <a:gd name="T28" fmla="*/ 0 h 42"/>
              <a:gd name="T29" fmla="*/ 30 w 30"/>
              <a:gd name="T30" fmla="*/ 42 h 4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0" h="42">
                <a:moveTo>
                  <a:pt x="27" y="42"/>
                </a:moveTo>
                <a:lnTo>
                  <a:pt x="30" y="26"/>
                </a:lnTo>
                <a:lnTo>
                  <a:pt x="24" y="14"/>
                </a:lnTo>
                <a:lnTo>
                  <a:pt x="25" y="3"/>
                </a:lnTo>
                <a:lnTo>
                  <a:pt x="19" y="0"/>
                </a:lnTo>
                <a:lnTo>
                  <a:pt x="5" y="4"/>
                </a:lnTo>
                <a:lnTo>
                  <a:pt x="0" y="17"/>
                </a:lnTo>
                <a:lnTo>
                  <a:pt x="3" y="40"/>
                </a:lnTo>
                <a:lnTo>
                  <a:pt x="27" y="42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04" name="Freeform 193"/>
          <p:cNvSpPr>
            <a:spLocks noChangeAspect="1"/>
          </p:cNvSpPr>
          <p:nvPr/>
        </p:nvSpPr>
        <p:spPr bwMode="gray">
          <a:xfrm>
            <a:off x="4541838" y="2617788"/>
            <a:ext cx="96837" cy="58737"/>
          </a:xfrm>
          <a:custGeom>
            <a:avLst/>
            <a:gdLst>
              <a:gd name="T0" fmla="*/ 2147483647 w 201"/>
              <a:gd name="T1" fmla="*/ 2147483647 h 121"/>
              <a:gd name="T2" fmla="*/ 2147483647 w 201"/>
              <a:gd name="T3" fmla="*/ 2147483647 h 121"/>
              <a:gd name="T4" fmla="*/ 2147483647 w 201"/>
              <a:gd name="T5" fmla="*/ 2147483647 h 121"/>
              <a:gd name="T6" fmla="*/ 2147483647 w 201"/>
              <a:gd name="T7" fmla="*/ 2147483647 h 121"/>
              <a:gd name="T8" fmla="*/ 2147483647 w 201"/>
              <a:gd name="T9" fmla="*/ 2147483647 h 121"/>
              <a:gd name="T10" fmla="*/ 2147483647 w 201"/>
              <a:gd name="T11" fmla="*/ 0 h 121"/>
              <a:gd name="T12" fmla="*/ 2147483647 w 201"/>
              <a:gd name="T13" fmla="*/ 2147483647 h 121"/>
              <a:gd name="T14" fmla="*/ 2147483647 w 201"/>
              <a:gd name="T15" fmla="*/ 2147483647 h 121"/>
              <a:gd name="T16" fmla="*/ 2147483647 w 201"/>
              <a:gd name="T17" fmla="*/ 2147483647 h 121"/>
              <a:gd name="T18" fmla="*/ 2147483647 w 201"/>
              <a:gd name="T19" fmla="*/ 2147483647 h 121"/>
              <a:gd name="T20" fmla="*/ 2147483647 w 201"/>
              <a:gd name="T21" fmla="*/ 2147483647 h 121"/>
              <a:gd name="T22" fmla="*/ 2147483647 w 201"/>
              <a:gd name="T23" fmla="*/ 2147483647 h 121"/>
              <a:gd name="T24" fmla="*/ 0 w 201"/>
              <a:gd name="T25" fmla="*/ 2147483647 h 121"/>
              <a:gd name="T26" fmla="*/ 2147483647 w 201"/>
              <a:gd name="T27" fmla="*/ 2147483647 h 121"/>
              <a:gd name="T28" fmla="*/ 2147483647 w 201"/>
              <a:gd name="T29" fmla="*/ 2147483647 h 121"/>
              <a:gd name="T30" fmla="*/ 2147483647 w 201"/>
              <a:gd name="T31" fmla="*/ 2147483647 h 121"/>
              <a:gd name="T32" fmla="*/ 2147483647 w 201"/>
              <a:gd name="T33" fmla="*/ 2147483647 h 121"/>
              <a:gd name="T34" fmla="*/ 2147483647 w 201"/>
              <a:gd name="T35" fmla="*/ 2147483647 h 121"/>
              <a:gd name="T36" fmla="*/ 2147483647 w 201"/>
              <a:gd name="T37" fmla="*/ 2147483647 h 121"/>
              <a:gd name="T38" fmla="*/ 2147483647 w 201"/>
              <a:gd name="T39" fmla="*/ 2147483647 h 121"/>
              <a:gd name="T40" fmla="*/ 2147483647 w 201"/>
              <a:gd name="T41" fmla="*/ 2147483647 h 121"/>
              <a:gd name="T42" fmla="*/ 2147483647 w 201"/>
              <a:gd name="T43" fmla="*/ 2147483647 h 121"/>
              <a:gd name="T44" fmla="*/ 2147483647 w 201"/>
              <a:gd name="T45" fmla="*/ 2147483647 h 121"/>
              <a:gd name="T46" fmla="*/ 2147483647 w 201"/>
              <a:gd name="T47" fmla="*/ 2147483647 h 121"/>
              <a:gd name="T48" fmla="*/ 2147483647 w 201"/>
              <a:gd name="T49" fmla="*/ 2147483647 h 121"/>
              <a:gd name="T50" fmla="*/ 2147483647 w 201"/>
              <a:gd name="T51" fmla="*/ 2147483647 h 121"/>
              <a:gd name="T52" fmla="*/ 2147483647 w 201"/>
              <a:gd name="T53" fmla="*/ 2147483647 h 121"/>
              <a:gd name="T54" fmla="*/ 2147483647 w 201"/>
              <a:gd name="T55" fmla="*/ 2147483647 h 121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201"/>
              <a:gd name="T85" fmla="*/ 0 h 121"/>
              <a:gd name="T86" fmla="*/ 201 w 201"/>
              <a:gd name="T87" fmla="*/ 121 h 121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201" h="121">
                <a:moveTo>
                  <a:pt x="201" y="54"/>
                </a:moveTo>
                <a:lnTo>
                  <a:pt x="167" y="45"/>
                </a:lnTo>
                <a:lnTo>
                  <a:pt x="161" y="34"/>
                </a:lnTo>
                <a:lnTo>
                  <a:pt x="164" y="19"/>
                </a:lnTo>
                <a:lnTo>
                  <a:pt x="159" y="12"/>
                </a:lnTo>
                <a:lnTo>
                  <a:pt x="127" y="0"/>
                </a:lnTo>
                <a:lnTo>
                  <a:pt x="76" y="9"/>
                </a:lnTo>
                <a:lnTo>
                  <a:pt x="70" y="4"/>
                </a:lnTo>
                <a:lnTo>
                  <a:pt x="44" y="11"/>
                </a:lnTo>
                <a:lnTo>
                  <a:pt x="41" y="16"/>
                </a:lnTo>
                <a:lnTo>
                  <a:pt x="44" y="20"/>
                </a:lnTo>
                <a:lnTo>
                  <a:pt x="24" y="42"/>
                </a:lnTo>
                <a:lnTo>
                  <a:pt x="0" y="82"/>
                </a:lnTo>
                <a:lnTo>
                  <a:pt x="2" y="102"/>
                </a:lnTo>
                <a:lnTo>
                  <a:pt x="17" y="85"/>
                </a:lnTo>
                <a:lnTo>
                  <a:pt x="34" y="87"/>
                </a:lnTo>
                <a:lnTo>
                  <a:pt x="36" y="109"/>
                </a:lnTo>
                <a:lnTo>
                  <a:pt x="42" y="110"/>
                </a:lnTo>
                <a:lnTo>
                  <a:pt x="44" y="121"/>
                </a:lnTo>
                <a:lnTo>
                  <a:pt x="83" y="116"/>
                </a:lnTo>
                <a:lnTo>
                  <a:pt x="110" y="84"/>
                </a:lnTo>
                <a:lnTo>
                  <a:pt x="115" y="101"/>
                </a:lnTo>
                <a:lnTo>
                  <a:pt x="135" y="118"/>
                </a:lnTo>
                <a:lnTo>
                  <a:pt x="150" y="80"/>
                </a:lnTo>
                <a:lnTo>
                  <a:pt x="188" y="92"/>
                </a:lnTo>
                <a:lnTo>
                  <a:pt x="188" y="71"/>
                </a:lnTo>
                <a:lnTo>
                  <a:pt x="200" y="68"/>
                </a:lnTo>
                <a:lnTo>
                  <a:pt x="201" y="54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05" name="Freeform 194"/>
          <p:cNvSpPr>
            <a:spLocks noChangeAspect="1"/>
          </p:cNvSpPr>
          <p:nvPr/>
        </p:nvSpPr>
        <p:spPr bwMode="gray">
          <a:xfrm>
            <a:off x="4468813" y="2487613"/>
            <a:ext cx="79375" cy="66675"/>
          </a:xfrm>
          <a:custGeom>
            <a:avLst/>
            <a:gdLst>
              <a:gd name="T0" fmla="*/ 2147483647 w 158"/>
              <a:gd name="T1" fmla="*/ 2147483647 h 134"/>
              <a:gd name="T2" fmla="*/ 2147483647 w 158"/>
              <a:gd name="T3" fmla="*/ 2147483647 h 134"/>
              <a:gd name="T4" fmla="*/ 2147483647 w 158"/>
              <a:gd name="T5" fmla="*/ 2147483647 h 134"/>
              <a:gd name="T6" fmla="*/ 2147483647 w 158"/>
              <a:gd name="T7" fmla="*/ 2147483647 h 134"/>
              <a:gd name="T8" fmla="*/ 2147483647 w 158"/>
              <a:gd name="T9" fmla="*/ 2147483647 h 134"/>
              <a:gd name="T10" fmla="*/ 2147483647 w 158"/>
              <a:gd name="T11" fmla="*/ 2147483647 h 134"/>
              <a:gd name="T12" fmla="*/ 2147483647 w 158"/>
              <a:gd name="T13" fmla="*/ 2147483647 h 134"/>
              <a:gd name="T14" fmla="*/ 2147483647 w 158"/>
              <a:gd name="T15" fmla="*/ 2147483647 h 134"/>
              <a:gd name="T16" fmla="*/ 0 w 158"/>
              <a:gd name="T17" fmla="*/ 2147483647 h 134"/>
              <a:gd name="T18" fmla="*/ 2147483647 w 158"/>
              <a:gd name="T19" fmla="*/ 2147483647 h 134"/>
              <a:gd name="T20" fmla="*/ 2147483647 w 158"/>
              <a:gd name="T21" fmla="*/ 2147483647 h 134"/>
              <a:gd name="T22" fmla="*/ 2147483647 w 158"/>
              <a:gd name="T23" fmla="*/ 0 h 134"/>
              <a:gd name="T24" fmla="*/ 2147483647 w 158"/>
              <a:gd name="T25" fmla="*/ 2147483647 h 134"/>
              <a:gd name="T26" fmla="*/ 2147483647 w 158"/>
              <a:gd name="T27" fmla="*/ 2147483647 h 134"/>
              <a:gd name="T28" fmla="*/ 2147483647 w 158"/>
              <a:gd name="T29" fmla="*/ 2147483647 h 134"/>
              <a:gd name="T30" fmla="*/ 2147483647 w 158"/>
              <a:gd name="T31" fmla="*/ 2147483647 h 134"/>
              <a:gd name="T32" fmla="*/ 2147483647 w 158"/>
              <a:gd name="T33" fmla="*/ 2147483647 h 134"/>
              <a:gd name="T34" fmla="*/ 2147483647 w 158"/>
              <a:gd name="T35" fmla="*/ 2147483647 h 134"/>
              <a:gd name="T36" fmla="*/ 2147483647 w 158"/>
              <a:gd name="T37" fmla="*/ 2147483647 h 134"/>
              <a:gd name="T38" fmla="*/ 2147483647 w 158"/>
              <a:gd name="T39" fmla="*/ 2147483647 h 134"/>
              <a:gd name="T40" fmla="*/ 2147483647 w 158"/>
              <a:gd name="T41" fmla="*/ 2147483647 h 134"/>
              <a:gd name="T42" fmla="*/ 2147483647 w 158"/>
              <a:gd name="T43" fmla="*/ 2147483647 h 134"/>
              <a:gd name="T44" fmla="*/ 2147483647 w 158"/>
              <a:gd name="T45" fmla="*/ 2147483647 h 13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58"/>
              <a:gd name="T70" fmla="*/ 0 h 134"/>
              <a:gd name="T71" fmla="*/ 158 w 158"/>
              <a:gd name="T72" fmla="*/ 134 h 134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158" h="134">
                <a:moveTo>
                  <a:pt x="102" y="122"/>
                </a:moveTo>
                <a:lnTo>
                  <a:pt x="99" y="95"/>
                </a:lnTo>
                <a:lnTo>
                  <a:pt x="85" y="106"/>
                </a:lnTo>
                <a:lnTo>
                  <a:pt x="68" y="105"/>
                </a:lnTo>
                <a:lnTo>
                  <a:pt x="60" y="80"/>
                </a:lnTo>
                <a:lnTo>
                  <a:pt x="29" y="66"/>
                </a:lnTo>
                <a:lnTo>
                  <a:pt x="21" y="51"/>
                </a:lnTo>
                <a:lnTo>
                  <a:pt x="3" y="47"/>
                </a:lnTo>
                <a:lnTo>
                  <a:pt x="0" y="26"/>
                </a:lnTo>
                <a:lnTo>
                  <a:pt x="34" y="7"/>
                </a:lnTo>
                <a:lnTo>
                  <a:pt x="48" y="15"/>
                </a:lnTo>
                <a:lnTo>
                  <a:pt x="87" y="0"/>
                </a:lnTo>
                <a:lnTo>
                  <a:pt x="107" y="5"/>
                </a:lnTo>
                <a:lnTo>
                  <a:pt x="131" y="18"/>
                </a:lnTo>
                <a:lnTo>
                  <a:pt x="131" y="46"/>
                </a:lnTo>
                <a:lnTo>
                  <a:pt x="148" y="51"/>
                </a:lnTo>
                <a:lnTo>
                  <a:pt x="158" y="72"/>
                </a:lnTo>
                <a:lnTo>
                  <a:pt x="150" y="94"/>
                </a:lnTo>
                <a:lnTo>
                  <a:pt x="136" y="98"/>
                </a:lnTo>
                <a:lnTo>
                  <a:pt x="131" y="111"/>
                </a:lnTo>
                <a:lnTo>
                  <a:pt x="134" y="134"/>
                </a:lnTo>
                <a:lnTo>
                  <a:pt x="117" y="132"/>
                </a:lnTo>
                <a:lnTo>
                  <a:pt x="102" y="122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06" name="Freeform 195"/>
          <p:cNvSpPr>
            <a:spLocks noChangeAspect="1"/>
          </p:cNvSpPr>
          <p:nvPr/>
        </p:nvSpPr>
        <p:spPr bwMode="gray">
          <a:xfrm>
            <a:off x="5002213" y="2589213"/>
            <a:ext cx="76200" cy="95250"/>
          </a:xfrm>
          <a:custGeom>
            <a:avLst/>
            <a:gdLst>
              <a:gd name="T0" fmla="*/ 2147483647 w 155"/>
              <a:gd name="T1" fmla="*/ 2147483647 h 198"/>
              <a:gd name="T2" fmla="*/ 2147483647 w 155"/>
              <a:gd name="T3" fmla="*/ 2147483647 h 198"/>
              <a:gd name="T4" fmla="*/ 2147483647 w 155"/>
              <a:gd name="T5" fmla="*/ 2147483647 h 198"/>
              <a:gd name="T6" fmla="*/ 2147483647 w 155"/>
              <a:gd name="T7" fmla="*/ 2147483647 h 198"/>
              <a:gd name="T8" fmla="*/ 2147483647 w 155"/>
              <a:gd name="T9" fmla="*/ 2147483647 h 198"/>
              <a:gd name="T10" fmla="*/ 2147483647 w 155"/>
              <a:gd name="T11" fmla="*/ 2147483647 h 198"/>
              <a:gd name="T12" fmla="*/ 2147483647 w 155"/>
              <a:gd name="T13" fmla="*/ 2147483647 h 198"/>
              <a:gd name="T14" fmla="*/ 2147483647 w 155"/>
              <a:gd name="T15" fmla="*/ 2147483647 h 198"/>
              <a:gd name="T16" fmla="*/ 2147483647 w 155"/>
              <a:gd name="T17" fmla="*/ 2147483647 h 198"/>
              <a:gd name="T18" fmla="*/ 2147483647 w 155"/>
              <a:gd name="T19" fmla="*/ 2147483647 h 198"/>
              <a:gd name="T20" fmla="*/ 2147483647 w 155"/>
              <a:gd name="T21" fmla="*/ 2147483647 h 198"/>
              <a:gd name="T22" fmla="*/ 2147483647 w 155"/>
              <a:gd name="T23" fmla="*/ 2147483647 h 198"/>
              <a:gd name="T24" fmla="*/ 2147483647 w 155"/>
              <a:gd name="T25" fmla="*/ 2147483647 h 198"/>
              <a:gd name="T26" fmla="*/ 2147483647 w 155"/>
              <a:gd name="T27" fmla="*/ 2147483647 h 198"/>
              <a:gd name="T28" fmla="*/ 2147483647 w 155"/>
              <a:gd name="T29" fmla="*/ 0 h 198"/>
              <a:gd name="T30" fmla="*/ 2147483647 w 155"/>
              <a:gd name="T31" fmla="*/ 2147483647 h 198"/>
              <a:gd name="T32" fmla="*/ 0 w 155"/>
              <a:gd name="T33" fmla="*/ 2147483647 h 198"/>
              <a:gd name="T34" fmla="*/ 2147483647 w 155"/>
              <a:gd name="T35" fmla="*/ 2147483647 h 198"/>
              <a:gd name="T36" fmla="*/ 2147483647 w 155"/>
              <a:gd name="T37" fmla="*/ 2147483647 h 198"/>
              <a:gd name="T38" fmla="*/ 2147483647 w 155"/>
              <a:gd name="T39" fmla="*/ 2147483647 h 198"/>
              <a:gd name="T40" fmla="*/ 2147483647 w 155"/>
              <a:gd name="T41" fmla="*/ 2147483647 h 198"/>
              <a:gd name="T42" fmla="*/ 2147483647 w 155"/>
              <a:gd name="T43" fmla="*/ 2147483647 h 198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155"/>
              <a:gd name="T67" fmla="*/ 0 h 198"/>
              <a:gd name="T68" fmla="*/ 155 w 155"/>
              <a:gd name="T69" fmla="*/ 198 h 198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155" h="198">
                <a:moveTo>
                  <a:pt x="73" y="172"/>
                </a:moveTo>
                <a:lnTo>
                  <a:pt x="74" y="198"/>
                </a:lnTo>
                <a:lnTo>
                  <a:pt x="85" y="196"/>
                </a:lnTo>
                <a:lnTo>
                  <a:pt x="90" y="184"/>
                </a:lnTo>
                <a:lnTo>
                  <a:pt x="108" y="165"/>
                </a:lnTo>
                <a:lnTo>
                  <a:pt x="113" y="139"/>
                </a:lnTo>
                <a:lnTo>
                  <a:pt x="153" y="139"/>
                </a:lnTo>
                <a:lnTo>
                  <a:pt x="155" y="113"/>
                </a:lnTo>
                <a:lnTo>
                  <a:pt x="138" y="102"/>
                </a:lnTo>
                <a:lnTo>
                  <a:pt x="133" y="76"/>
                </a:lnTo>
                <a:lnTo>
                  <a:pt x="116" y="64"/>
                </a:lnTo>
                <a:lnTo>
                  <a:pt x="119" y="37"/>
                </a:lnTo>
                <a:lnTo>
                  <a:pt x="116" y="31"/>
                </a:lnTo>
                <a:lnTo>
                  <a:pt x="74" y="22"/>
                </a:lnTo>
                <a:lnTo>
                  <a:pt x="39" y="0"/>
                </a:lnTo>
                <a:lnTo>
                  <a:pt x="11" y="3"/>
                </a:lnTo>
                <a:lnTo>
                  <a:pt x="0" y="22"/>
                </a:lnTo>
                <a:lnTo>
                  <a:pt x="8" y="18"/>
                </a:lnTo>
                <a:lnTo>
                  <a:pt x="37" y="51"/>
                </a:lnTo>
                <a:lnTo>
                  <a:pt x="40" y="64"/>
                </a:lnTo>
                <a:lnTo>
                  <a:pt x="71" y="116"/>
                </a:lnTo>
                <a:lnTo>
                  <a:pt x="73" y="172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07" name="Freeform 196"/>
          <p:cNvSpPr>
            <a:spLocks noChangeAspect="1"/>
          </p:cNvSpPr>
          <p:nvPr/>
        </p:nvSpPr>
        <p:spPr bwMode="gray">
          <a:xfrm>
            <a:off x="4860925" y="2597150"/>
            <a:ext cx="211138" cy="147638"/>
          </a:xfrm>
          <a:custGeom>
            <a:avLst/>
            <a:gdLst>
              <a:gd name="T0" fmla="*/ 2147483647 w 437"/>
              <a:gd name="T1" fmla="*/ 2147483647 h 304"/>
              <a:gd name="T2" fmla="*/ 2147483647 w 437"/>
              <a:gd name="T3" fmla="*/ 2147483647 h 304"/>
              <a:gd name="T4" fmla="*/ 2147483647 w 437"/>
              <a:gd name="T5" fmla="*/ 2147483647 h 304"/>
              <a:gd name="T6" fmla="*/ 2147483647 w 437"/>
              <a:gd name="T7" fmla="*/ 0 h 304"/>
              <a:gd name="T8" fmla="*/ 2147483647 w 437"/>
              <a:gd name="T9" fmla="*/ 2147483647 h 304"/>
              <a:gd name="T10" fmla="*/ 2147483647 w 437"/>
              <a:gd name="T11" fmla="*/ 2147483647 h 304"/>
              <a:gd name="T12" fmla="*/ 2147483647 w 437"/>
              <a:gd name="T13" fmla="*/ 2147483647 h 304"/>
              <a:gd name="T14" fmla="*/ 2147483647 w 437"/>
              <a:gd name="T15" fmla="*/ 2147483647 h 304"/>
              <a:gd name="T16" fmla="*/ 2147483647 w 437"/>
              <a:gd name="T17" fmla="*/ 2147483647 h 304"/>
              <a:gd name="T18" fmla="*/ 2147483647 w 437"/>
              <a:gd name="T19" fmla="*/ 2147483647 h 304"/>
              <a:gd name="T20" fmla="*/ 2147483647 w 437"/>
              <a:gd name="T21" fmla="*/ 2147483647 h 304"/>
              <a:gd name="T22" fmla="*/ 0 w 437"/>
              <a:gd name="T23" fmla="*/ 2147483647 h 304"/>
              <a:gd name="T24" fmla="*/ 2147483647 w 437"/>
              <a:gd name="T25" fmla="*/ 2147483647 h 304"/>
              <a:gd name="T26" fmla="*/ 2147483647 w 437"/>
              <a:gd name="T27" fmla="*/ 2147483647 h 304"/>
              <a:gd name="T28" fmla="*/ 2147483647 w 437"/>
              <a:gd name="T29" fmla="*/ 2147483647 h 304"/>
              <a:gd name="T30" fmla="*/ 2147483647 w 437"/>
              <a:gd name="T31" fmla="*/ 2147483647 h 304"/>
              <a:gd name="T32" fmla="*/ 2147483647 w 437"/>
              <a:gd name="T33" fmla="*/ 2147483647 h 304"/>
              <a:gd name="T34" fmla="*/ 2147483647 w 437"/>
              <a:gd name="T35" fmla="*/ 2147483647 h 304"/>
              <a:gd name="T36" fmla="*/ 2147483647 w 437"/>
              <a:gd name="T37" fmla="*/ 2147483647 h 304"/>
              <a:gd name="T38" fmla="*/ 2147483647 w 437"/>
              <a:gd name="T39" fmla="*/ 2147483647 h 304"/>
              <a:gd name="T40" fmla="*/ 2147483647 w 437"/>
              <a:gd name="T41" fmla="*/ 2147483647 h 304"/>
              <a:gd name="T42" fmla="*/ 2147483647 w 437"/>
              <a:gd name="T43" fmla="*/ 2147483647 h 304"/>
              <a:gd name="T44" fmla="*/ 2147483647 w 437"/>
              <a:gd name="T45" fmla="*/ 2147483647 h 304"/>
              <a:gd name="T46" fmla="*/ 2147483647 w 437"/>
              <a:gd name="T47" fmla="*/ 2147483647 h 304"/>
              <a:gd name="T48" fmla="*/ 2147483647 w 437"/>
              <a:gd name="T49" fmla="*/ 2147483647 h 304"/>
              <a:gd name="T50" fmla="*/ 2147483647 w 437"/>
              <a:gd name="T51" fmla="*/ 2147483647 h 304"/>
              <a:gd name="T52" fmla="*/ 2147483647 w 437"/>
              <a:gd name="T53" fmla="*/ 2147483647 h 304"/>
              <a:gd name="T54" fmla="*/ 2147483647 w 437"/>
              <a:gd name="T55" fmla="*/ 2147483647 h 304"/>
              <a:gd name="T56" fmla="*/ 2147483647 w 437"/>
              <a:gd name="T57" fmla="*/ 2147483647 h 304"/>
              <a:gd name="T58" fmla="*/ 2147483647 w 437"/>
              <a:gd name="T59" fmla="*/ 2147483647 h 304"/>
              <a:gd name="T60" fmla="*/ 2147483647 w 437"/>
              <a:gd name="T61" fmla="*/ 2147483647 h 304"/>
              <a:gd name="T62" fmla="*/ 2147483647 w 437"/>
              <a:gd name="T63" fmla="*/ 2147483647 h 304"/>
              <a:gd name="T64" fmla="*/ 2147483647 w 437"/>
              <a:gd name="T65" fmla="*/ 2147483647 h 304"/>
              <a:gd name="T66" fmla="*/ 2147483647 w 437"/>
              <a:gd name="T67" fmla="*/ 2147483647 h 304"/>
              <a:gd name="T68" fmla="*/ 2147483647 w 437"/>
              <a:gd name="T69" fmla="*/ 2147483647 h 304"/>
              <a:gd name="T70" fmla="*/ 2147483647 w 437"/>
              <a:gd name="T71" fmla="*/ 2147483647 h 304"/>
              <a:gd name="T72" fmla="*/ 2147483647 w 437"/>
              <a:gd name="T73" fmla="*/ 2147483647 h 304"/>
              <a:gd name="T74" fmla="*/ 2147483647 w 437"/>
              <a:gd name="T75" fmla="*/ 2147483647 h 304"/>
              <a:gd name="T76" fmla="*/ 2147483647 w 437"/>
              <a:gd name="T77" fmla="*/ 2147483647 h 304"/>
              <a:gd name="T78" fmla="*/ 2147483647 w 437"/>
              <a:gd name="T79" fmla="*/ 2147483647 h 304"/>
              <a:gd name="T80" fmla="*/ 2147483647 w 437"/>
              <a:gd name="T81" fmla="*/ 2147483647 h 304"/>
              <a:gd name="T82" fmla="*/ 2147483647 w 437"/>
              <a:gd name="T83" fmla="*/ 2147483647 h 304"/>
              <a:gd name="T84" fmla="*/ 2147483647 w 437"/>
              <a:gd name="T85" fmla="*/ 2147483647 h 304"/>
              <a:gd name="T86" fmla="*/ 2147483647 w 437"/>
              <a:gd name="T87" fmla="*/ 2147483647 h 304"/>
              <a:gd name="T88" fmla="*/ 2147483647 w 437"/>
              <a:gd name="T89" fmla="*/ 2147483647 h 304"/>
              <a:gd name="T90" fmla="*/ 2147483647 w 437"/>
              <a:gd name="T91" fmla="*/ 2147483647 h 304"/>
              <a:gd name="T92" fmla="*/ 2147483647 w 437"/>
              <a:gd name="T93" fmla="*/ 2147483647 h 304"/>
              <a:gd name="T94" fmla="*/ 2147483647 w 437"/>
              <a:gd name="T95" fmla="*/ 2147483647 h 304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437"/>
              <a:gd name="T145" fmla="*/ 0 h 304"/>
              <a:gd name="T146" fmla="*/ 437 w 437"/>
              <a:gd name="T147" fmla="*/ 304 h 304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437" h="304">
                <a:moveTo>
                  <a:pt x="363" y="98"/>
                </a:moveTo>
                <a:lnTo>
                  <a:pt x="332" y="46"/>
                </a:lnTo>
                <a:lnTo>
                  <a:pt x="329" y="33"/>
                </a:lnTo>
                <a:lnTo>
                  <a:pt x="300" y="0"/>
                </a:lnTo>
                <a:lnTo>
                  <a:pt x="292" y="4"/>
                </a:lnTo>
                <a:lnTo>
                  <a:pt x="217" y="31"/>
                </a:lnTo>
                <a:lnTo>
                  <a:pt x="201" y="19"/>
                </a:lnTo>
                <a:lnTo>
                  <a:pt x="119" y="21"/>
                </a:lnTo>
                <a:lnTo>
                  <a:pt x="82" y="48"/>
                </a:lnTo>
                <a:lnTo>
                  <a:pt x="74" y="71"/>
                </a:lnTo>
                <a:lnTo>
                  <a:pt x="41" y="130"/>
                </a:lnTo>
                <a:lnTo>
                  <a:pt x="0" y="144"/>
                </a:lnTo>
                <a:lnTo>
                  <a:pt x="23" y="163"/>
                </a:lnTo>
                <a:lnTo>
                  <a:pt x="39" y="200"/>
                </a:lnTo>
                <a:lnTo>
                  <a:pt x="54" y="206"/>
                </a:lnTo>
                <a:lnTo>
                  <a:pt x="58" y="228"/>
                </a:lnTo>
                <a:lnTo>
                  <a:pt x="95" y="246"/>
                </a:lnTo>
                <a:lnTo>
                  <a:pt x="103" y="239"/>
                </a:lnTo>
                <a:lnTo>
                  <a:pt x="110" y="248"/>
                </a:lnTo>
                <a:lnTo>
                  <a:pt x="102" y="257"/>
                </a:lnTo>
                <a:lnTo>
                  <a:pt x="108" y="271"/>
                </a:lnTo>
                <a:lnTo>
                  <a:pt x="116" y="273"/>
                </a:lnTo>
                <a:lnTo>
                  <a:pt x="127" y="276"/>
                </a:lnTo>
                <a:lnTo>
                  <a:pt x="122" y="287"/>
                </a:lnTo>
                <a:lnTo>
                  <a:pt x="131" y="295"/>
                </a:lnTo>
                <a:lnTo>
                  <a:pt x="243" y="304"/>
                </a:lnTo>
                <a:lnTo>
                  <a:pt x="312" y="276"/>
                </a:lnTo>
                <a:lnTo>
                  <a:pt x="329" y="276"/>
                </a:lnTo>
                <a:lnTo>
                  <a:pt x="357" y="287"/>
                </a:lnTo>
                <a:lnTo>
                  <a:pt x="376" y="298"/>
                </a:lnTo>
                <a:lnTo>
                  <a:pt x="390" y="296"/>
                </a:lnTo>
                <a:lnTo>
                  <a:pt x="390" y="266"/>
                </a:lnTo>
                <a:lnTo>
                  <a:pt x="402" y="220"/>
                </a:lnTo>
                <a:lnTo>
                  <a:pt x="408" y="220"/>
                </a:lnTo>
                <a:lnTo>
                  <a:pt x="408" y="232"/>
                </a:lnTo>
                <a:lnTo>
                  <a:pt x="396" y="249"/>
                </a:lnTo>
                <a:lnTo>
                  <a:pt x="399" y="254"/>
                </a:lnTo>
                <a:lnTo>
                  <a:pt x="428" y="232"/>
                </a:lnTo>
                <a:lnTo>
                  <a:pt x="434" y="228"/>
                </a:lnTo>
                <a:lnTo>
                  <a:pt x="437" y="214"/>
                </a:lnTo>
                <a:lnTo>
                  <a:pt x="436" y="194"/>
                </a:lnTo>
                <a:lnTo>
                  <a:pt x="424" y="189"/>
                </a:lnTo>
                <a:lnTo>
                  <a:pt x="385" y="202"/>
                </a:lnTo>
                <a:lnTo>
                  <a:pt x="374" y="188"/>
                </a:lnTo>
                <a:lnTo>
                  <a:pt x="368" y="192"/>
                </a:lnTo>
                <a:lnTo>
                  <a:pt x="366" y="180"/>
                </a:lnTo>
                <a:lnTo>
                  <a:pt x="365" y="154"/>
                </a:lnTo>
                <a:lnTo>
                  <a:pt x="363" y="98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08" name="Freeform 197"/>
          <p:cNvSpPr>
            <a:spLocks noChangeAspect="1"/>
          </p:cNvSpPr>
          <p:nvPr/>
        </p:nvSpPr>
        <p:spPr bwMode="gray">
          <a:xfrm>
            <a:off x="4437063" y="2776538"/>
            <a:ext cx="7937" cy="6350"/>
          </a:xfrm>
          <a:custGeom>
            <a:avLst/>
            <a:gdLst>
              <a:gd name="T0" fmla="*/ 2147483647 w 16"/>
              <a:gd name="T1" fmla="*/ 0 h 13"/>
              <a:gd name="T2" fmla="*/ 2147483647 w 16"/>
              <a:gd name="T3" fmla="*/ 2147483647 h 13"/>
              <a:gd name="T4" fmla="*/ 2147483647 w 16"/>
              <a:gd name="T5" fmla="*/ 2147483647 h 13"/>
              <a:gd name="T6" fmla="*/ 0 w 16"/>
              <a:gd name="T7" fmla="*/ 2147483647 h 13"/>
              <a:gd name="T8" fmla="*/ 2147483647 w 16"/>
              <a:gd name="T9" fmla="*/ 0 h 1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"/>
              <a:gd name="T16" fmla="*/ 0 h 13"/>
              <a:gd name="T17" fmla="*/ 16 w 16"/>
              <a:gd name="T18" fmla="*/ 13 h 1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" h="13">
                <a:moveTo>
                  <a:pt x="10" y="0"/>
                </a:moveTo>
                <a:lnTo>
                  <a:pt x="16" y="8"/>
                </a:lnTo>
                <a:lnTo>
                  <a:pt x="8" y="13"/>
                </a:lnTo>
                <a:lnTo>
                  <a:pt x="0" y="3"/>
                </a:lnTo>
                <a:lnTo>
                  <a:pt x="10" y="0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09" name="Freeform 198"/>
          <p:cNvSpPr>
            <a:spLocks noChangeAspect="1" noEditPoints="1"/>
          </p:cNvSpPr>
          <p:nvPr/>
        </p:nvSpPr>
        <p:spPr bwMode="gray">
          <a:xfrm>
            <a:off x="3708400" y="2792413"/>
            <a:ext cx="561975" cy="146050"/>
          </a:xfrm>
          <a:custGeom>
            <a:avLst/>
            <a:gdLst>
              <a:gd name="T0" fmla="*/ 2147483647 w 1157"/>
              <a:gd name="T1" fmla="*/ 2147483647 h 300"/>
              <a:gd name="T2" fmla="*/ 2147483647 w 1157"/>
              <a:gd name="T3" fmla="*/ 2147483647 h 300"/>
              <a:gd name="T4" fmla="*/ 2147483647 w 1157"/>
              <a:gd name="T5" fmla="*/ 0 h 300"/>
              <a:gd name="T6" fmla="*/ 2147483647 w 1157"/>
              <a:gd name="T7" fmla="*/ 2147483647 h 300"/>
              <a:gd name="T8" fmla="*/ 2147483647 w 1157"/>
              <a:gd name="T9" fmla="*/ 2147483647 h 300"/>
              <a:gd name="T10" fmla="*/ 2147483647 w 1157"/>
              <a:gd name="T11" fmla="*/ 2147483647 h 300"/>
              <a:gd name="T12" fmla="*/ 2147483647 w 1157"/>
              <a:gd name="T13" fmla="*/ 2147483647 h 300"/>
              <a:gd name="T14" fmla="*/ 2147483647 w 1157"/>
              <a:gd name="T15" fmla="*/ 2147483647 h 300"/>
              <a:gd name="T16" fmla="*/ 2147483647 w 1157"/>
              <a:gd name="T17" fmla="*/ 2147483647 h 300"/>
              <a:gd name="T18" fmla="*/ 2147483647 w 1157"/>
              <a:gd name="T19" fmla="*/ 2147483647 h 300"/>
              <a:gd name="T20" fmla="*/ 2147483647 w 1157"/>
              <a:gd name="T21" fmla="*/ 2147483647 h 300"/>
              <a:gd name="T22" fmla="*/ 2147483647 w 1157"/>
              <a:gd name="T23" fmla="*/ 2147483647 h 300"/>
              <a:gd name="T24" fmla="*/ 2147483647 w 1157"/>
              <a:gd name="T25" fmla="*/ 2147483647 h 300"/>
              <a:gd name="T26" fmla="*/ 2147483647 w 1157"/>
              <a:gd name="T27" fmla="*/ 2147483647 h 300"/>
              <a:gd name="T28" fmla="*/ 2147483647 w 1157"/>
              <a:gd name="T29" fmla="*/ 2147483647 h 300"/>
              <a:gd name="T30" fmla="*/ 2147483647 w 1157"/>
              <a:gd name="T31" fmla="*/ 2147483647 h 300"/>
              <a:gd name="T32" fmla="*/ 2147483647 w 1157"/>
              <a:gd name="T33" fmla="*/ 2147483647 h 300"/>
              <a:gd name="T34" fmla="*/ 2147483647 w 1157"/>
              <a:gd name="T35" fmla="*/ 2147483647 h 300"/>
              <a:gd name="T36" fmla="*/ 2147483647 w 1157"/>
              <a:gd name="T37" fmla="*/ 2147483647 h 300"/>
              <a:gd name="T38" fmla="*/ 2147483647 w 1157"/>
              <a:gd name="T39" fmla="*/ 2147483647 h 300"/>
              <a:gd name="T40" fmla="*/ 2147483647 w 1157"/>
              <a:gd name="T41" fmla="*/ 2147483647 h 300"/>
              <a:gd name="T42" fmla="*/ 2147483647 w 1157"/>
              <a:gd name="T43" fmla="*/ 2147483647 h 300"/>
              <a:gd name="T44" fmla="*/ 2147483647 w 1157"/>
              <a:gd name="T45" fmla="*/ 2147483647 h 300"/>
              <a:gd name="T46" fmla="*/ 2147483647 w 1157"/>
              <a:gd name="T47" fmla="*/ 2147483647 h 300"/>
              <a:gd name="T48" fmla="*/ 2147483647 w 1157"/>
              <a:gd name="T49" fmla="*/ 2147483647 h 300"/>
              <a:gd name="T50" fmla="*/ 2147483647 w 1157"/>
              <a:gd name="T51" fmla="*/ 2147483647 h 300"/>
              <a:gd name="T52" fmla="*/ 2147483647 w 1157"/>
              <a:gd name="T53" fmla="*/ 2147483647 h 300"/>
              <a:gd name="T54" fmla="*/ 2147483647 w 1157"/>
              <a:gd name="T55" fmla="*/ 2147483647 h 300"/>
              <a:gd name="T56" fmla="*/ 2147483647 w 1157"/>
              <a:gd name="T57" fmla="*/ 2147483647 h 300"/>
              <a:gd name="T58" fmla="*/ 2147483647 w 1157"/>
              <a:gd name="T59" fmla="*/ 2147483647 h 300"/>
              <a:gd name="T60" fmla="*/ 2147483647 w 1157"/>
              <a:gd name="T61" fmla="*/ 2147483647 h 300"/>
              <a:gd name="T62" fmla="*/ 2147483647 w 1157"/>
              <a:gd name="T63" fmla="*/ 2147483647 h 300"/>
              <a:gd name="T64" fmla="*/ 2147483647 w 1157"/>
              <a:gd name="T65" fmla="*/ 2147483647 h 300"/>
              <a:gd name="T66" fmla="*/ 0 w 1157"/>
              <a:gd name="T67" fmla="*/ 2147483647 h 300"/>
              <a:gd name="T68" fmla="*/ 2147483647 w 1157"/>
              <a:gd name="T69" fmla="*/ 2147483647 h 300"/>
              <a:gd name="T70" fmla="*/ 2147483647 w 1157"/>
              <a:gd name="T71" fmla="*/ 2147483647 h 300"/>
              <a:gd name="T72" fmla="*/ 2147483647 w 1157"/>
              <a:gd name="T73" fmla="*/ 2147483647 h 300"/>
              <a:gd name="T74" fmla="*/ 2147483647 w 1157"/>
              <a:gd name="T75" fmla="*/ 2147483647 h 300"/>
              <a:gd name="T76" fmla="*/ 2147483647 w 1157"/>
              <a:gd name="T77" fmla="*/ 2147483647 h 300"/>
              <a:gd name="T78" fmla="*/ 2147483647 w 1157"/>
              <a:gd name="T79" fmla="*/ 2147483647 h 300"/>
              <a:gd name="T80" fmla="*/ 2147483647 w 1157"/>
              <a:gd name="T81" fmla="*/ 2147483647 h 300"/>
              <a:gd name="T82" fmla="*/ 2147483647 w 1157"/>
              <a:gd name="T83" fmla="*/ 2147483647 h 300"/>
              <a:gd name="T84" fmla="*/ 2147483647 w 1157"/>
              <a:gd name="T85" fmla="*/ 2147483647 h 300"/>
              <a:gd name="T86" fmla="*/ 2147483647 w 1157"/>
              <a:gd name="T87" fmla="*/ 2147483647 h 300"/>
              <a:gd name="T88" fmla="*/ 2147483647 w 1157"/>
              <a:gd name="T89" fmla="*/ 2147483647 h 300"/>
              <a:gd name="T90" fmla="*/ 2147483647 w 1157"/>
              <a:gd name="T91" fmla="*/ 2147483647 h 300"/>
              <a:gd name="T92" fmla="*/ 2147483647 w 1157"/>
              <a:gd name="T93" fmla="*/ 2147483647 h 300"/>
              <a:gd name="T94" fmla="*/ 2147483647 w 1157"/>
              <a:gd name="T95" fmla="*/ 2147483647 h 300"/>
              <a:gd name="T96" fmla="*/ 2147483647 w 1157"/>
              <a:gd name="T97" fmla="*/ 2147483647 h 300"/>
              <a:gd name="T98" fmla="*/ 2147483647 w 1157"/>
              <a:gd name="T99" fmla="*/ 2147483647 h 300"/>
              <a:gd name="T100" fmla="*/ 2147483647 w 1157"/>
              <a:gd name="T101" fmla="*/ 2147483647 h 300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1157"/>
              <a:gd name="T154" fmla="*/ 0 h 300"/>
              <a:gd name="T155" fmla="*/ 1157 w 1157"/>
              <a:gd name="T156" fmla="*/ 300 h 300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1157" h="300">
                <a:moveTo>
                  <a:pt x="1038" y="17"/>
                </a:moveTo>
                <a:lnTo>
                  <a:pt x="1044" y="9"/>
                </a:lnTo>
                <a:lnTo>
                  <a:pt x="1070" y="0"/>
                </a:lnTo>
                <a:lnTo>
                  <a:pt x="1070" y="10"/>
                </a:lnTo>
                <a:lnTo>
                  <a:pt x="1077" y="15"/>
                </a:lnTo>
                <a:lnTo>
                  <a:pt x="1146" y="14"/>
                </a:lnTo>
                <a:lnTo>
                  <a:pt x="1157" y="29"/>
                </a:lnTo>
                <a:lnTo>
                  <a:pt x="1151" y="48"/>
                </a:lnTo>
                <a:lnTo>
                  <a:pt x="1132" y="66"/>
                </a:lnTo>
                <a:lnTo>
                  <a:pt x="1124" y="110"/>
                </a:lnTo>
                <a:lnTo>
                  <a:pt x="1129" y="133"/>
                </a:lnTo>
                <a:lnTo>
                  <a:pt x="1106" y="151"/>
                </a:lnTo>
                <a:lnTo>
                  <a:pt x="1120" y="183"/>
                </a:lnTo>
                <a:lnTo>
                  <a:pt x="1111" y="213"/>
                </a:lnTo>
                <a:lnTo>
                  <a:pt x="1123" y="242"/>
                </a:lnTo>
                <a:lnTo>
                  <a:pt x="1098" y="267"/>
                </a:lnTo>
                <a:lnTo>
                  <a:pt x="1103" y="291"/>
                </a:lnTo>
                <a:lnTo>
                  <a:pt x="1081" y="300"/>
                </a:lnTo>
                <a:lnTo>
                  <a:pt x="1035" y="300"/>
                </a:lnTo>
                <a:lnTo>
                  <a:pt x="1043" y="213"/>
                </a:lnTo>
                <a:lnTo>
                  <a:pt x="1024" y="218"/>
                </a:lnTo>
                <a:lnTo>
                  <a:pt x="1018" y="205"/>
                </a:lnTo>
                <a:lnTo>
                  <a:pt x="1009" y="200"/>
                </a:lnTo>
                <a:lnTo>
                  <a:pt x="1013" y="171"/>
                </a:lnTo>
                <a:lnTo>
                  <a:pt x="1033" y="131"/>
                </a:lnTo>
                <a:lnTo>
                  <a:pt x="1044" y="69"/>
                </a:lnTo>
                <a:lnTo>
                  <a:pt x="1038" y="17"/>
                </a:lnTo>
                <a:close/>
                <a:moveTo>
                  <a:pt x="281" y="254"/>
                </a:moveTo>
                <a:lnTo>
                  <a:pt x="250" y="254"/>
                </a:lnTo>
                <a:lnTo>
                  <a:pt x="269" y="263"/>
                </a:lnTo>
                <a:lnTo>
                  <a:pt x="281" y="254"/>
                </a:lnTo>
                <a:close/>
                <a:moveTo>
                  <a:pt x="5" y="161"/>
                </a:moveTo>
                <a:lnTo>
                  <a:pt x="1" y="156"/>
                </a:lnTo>
                <a:lnTo>
                  <a:pt x="0" y="162"/>
                </a:lnTo>
                <a:lnTo>
                  <a:pt x="5" y="161"/>
                </a:lnTo>
                <a:close/>
                <a:moveTo>
                  <a:pt x="189" y="200"/>
                </a:moveTo>
                <a:lnTo>
                  <a:pt x="179" y="205"/>
                </a:lnTo>
                <a:lnTo>
                  <a:pt x="187" y="209"/>
                </a:lnTo>
                <a:lnTo>
                  <a:pt x="193" y="205"/>
                </a:lnTo>
                <a:lnTo>
                  <a:pt x="189" y="200"/>
                </a:lnTo>
                <a:close/>
                <a:moveTo>
                  <a:pt x="158" y="212"/>
                </a:moveTo>
                <a:lnTo>
                  <a:pt x="141" y="204"/>
                </a:lnTo>
                <a:lnTo>
                  <a:pt x="158" y="212"/>
                </a:lnTo>
                <a:close/>
                <a:moveTo>
                  <a:pt x="144" y="222"/>
                </a:moveTo>
                <a:lnTo>
                  <a:pt x="147" y="221"/>
                </a:lnTo>
                <a:lnTo>
                  <a:pt x="142" y="217"/>
                </a:lnTo>
                <a:lnTo>
                  <a:pt x="127" y="215"/>
                </a:lnTo>
                <a:lnTo>
                  <a:pt x="144" y="222"/>
                </a:lnTo>
                <a:close/>
                <a:moveTo>
                  <a:pt x="119" y="210"/>
                </a:moveTo>
                <a:lnTo>
                  <a:pt x="116" y="215"/>
                </a:lnTo>
                <a:lnTo>
                  <a:pt x="119" y="210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10" name="Freeform 199"/>
          <p:cNvSpPr>
            <a:spLocks noChangeAspect="1" noEditPoints="1"/>
          </p:cNvSpPr>
          <p:nvPr/>
        </p:nvSpPr>
        <p:spPr bwMode="gray">
          <a:xfrm>
            <a:off x="4519613" y="1535113"/>
            <a:ext cx="582612" cy="695325"/>
          </a:xfrm>
          <a:custGeom>
            <a:avLst/>
            <a:gdLst>
              <a:gd name="T0" fmla="*/ 2147483647 w 1199"/>
              <a:gd name="T1" fmla="*/ 2147483647 h 1433"/>
              <a:gd name="T2" fmla="*/ 2147483647 w 1199"/>
              <a:gd name="T3" fmla="*/ 2147483647 h 1433"/>
              <a:gd name="T4" fmla="*/ 2147483647 w 1199"/>
              <a:gd name="T5" fmla="*/ 2147483647 h 1433"/>
              <a:gd name="T6" fmla="*/ 2147483647 w 1199"/>
              <a:gd name="T7" fmla="*/ 2147483647 h 1433"/>
              <a:gd name="T8" fmla="*/ 2147483647 w 1199"/>
              <a:gd name="T9" fmla="*/ 2147483647 h 1433"/>
              <a:gd name="T10" fmla="*/ 2147483647 w 1199"/>
              <a:gd name="T11" fmla="*/ 2147483647 h 1433"/>
              <a:gd name="T12" fmla="*/ 2147483647 w 1199"/>
              <a:gd name="T13" fmla="*/ 2147483647 h 1433"/>
              <a:gd name="T14" fmla="*/ 2147483647 w 1199"/>
              <a:gd name="T15" fmla="*/ 2147483647 h 1433"/>
              <a:gd name="T16" fmla="*/ 2147483647 w 1199"/>
              <a:gd name="T17" fmla="*/ 2147483647 h 1433"/>
              <a:gd name="T18" fmla="*/ 2147483647 w 1199"/>
              <a:gd name="T19" fmla="*/ 2147483647 h 1433"/>
              <a:gd name="T20" fmla="*/ 2147483647 w 1199"/>
              <a:gd name="T21" fmla="*/ 2147483647 h 1433"/>
              <a:gd name="T22" fmla="*/ 2147483647 w 1199"/>
              <a:gd name="T23" fmla="*/ 2147483647 h 1433"/>
              <a:gd name="T24" fmla="*/ 2147483647 w 1199"/>
              <a:gd name="T25" fmla="*/ 2147483647 h 1433"/>
              <a:gd name="T26" fmla="*/ 2147483647 w 1199"/>
              <a:gd name="T27" fmla="*/ 2147483647 h 1433"/>
              <a:gd name="T28" fmla="*/ 2147483647 w 1199"/>
              <a:gd name="T29" fmla="*/ 2147483647 h 1433"/>
              <a:gd name="T30" fmla="*/ 2147483647 w 1199"/>
              <a:gd name="T31" fmla="*/ 2147483647 h 1433"/>
              <a:gd name="T32" fmla="*/ 2147483647 w 1199"/>
              <a:gd name="T33" fmla="*/ 2147483647 h 1433"/>
              <a:gd name="T34" fmla="*/ 2147483647 w 1199"/>
              <a:gd name="T35" fmla="*/ 2147483647 h 1433"/>
              <a:gd name="T36" fmla="*/ 2147483647 w 1199"/>
              <a:gd name="T37" fmla="*/ 2147483647 h 1433"/>
              <a:gd name="T38" fmla="*/ 2147483647 w 1199"/>
              <a:gd name="T39" fmla="*/ 2147483647 h 1433"/>
              <a:gd name="T40" fmla="*/ 2147483647 w 1199"/>
              <a:gd name="T41" fmla="*/ 2147483647 h 1433"/>
              <a:gd name="T42" fmla="*/ 2147483647 w 1199"/>
              <a:gd name="T43" fmla="*/ 2147483647 h 1433"/>
              <a:gd name="T44" fmla="*/ 2147483647 w 1199"/>
              <a:gd name="T45" fmla="*/ 2147483647 h 1433"/>
              <a:gd name="T46" fmla="*/ 2147483647 w 1199"/>
              <a:gd name="T47" fmla="*/ 2147483647 h 1433"/>
              <a:gd name="T48" fmla="*/ 2147483647 w 1199"/>
              <a:gd name="T49" fmla="*/ 2147483647 h 1433"/>
              <a:gd name="T50" fmla="*/ 2147483647 w 1199"/>
              <a:gd name="T51" fmla="*/ 2147483647 h 1433"/>
              <a:gd name="T52" fmla="*/ 2147483647 w 1199"/>
              <a:gd name="T53" fmla="*/ 2147483647 h 1433"/>
              <a:gd name="T54" fmla="*/ 2147483647 w 1199"/>
              <a:gd name="T55" fmla="*/ 2147483647 h 1433"/>
              <a:gd name="T56" fmla="*/ 2147483647 w 1199"/>
              <a:gd name="T57" fmla="*/ 2147483647 h 1433"/>
              <a:gd name="T58" fmla="*/ 2147483647 w 1199"/>
              <a:gd name="T59" fmla="*/ 2147483647 h 1433"/>
              <a:gd name="T60" fmla="*/ 2147483647 w 1199"/>
              <a:gd name="T61" fmla="*/ 2147483647 h 1433"/>
              <a:gd name="T62" fmla="*/ 2147483647 w 1199"/>
              <a:gd name="T63" fmla="*/ 2147483647 h 1433"/>
              <a:gd name="T64" fmla="*/ 2147483647 w 1199"/>
              <a:gd name="T65" fmla="*/ 2147483647 h 1433"/>
              <a:gd name="T66" fmla="*/ 2147483647 w 1199"/>
              <a:gd name="T67" fmla="*/ 2147483647 h 1433"/>
              <a:gd name="T68" fmla="*/ 2147483647 w 1199"/>
              <a:gd name="T69" fmla="*/ 2147483647 h 1433"/>
              <a:gd name="T70" fmla="*/ 2147483647 w 1199"/>
              <a:gd name="T71" fmla="*/ 2147483647 h 1433"/>
              <a:gd name="T72" fmla="*/ 2147483647 w 1199"/>
              <a:gd name="T73" fmla="*/ 2147483647 h 1433"/>
              <a:gd name="T74" fmla="*/ 2147483647 w 1199"/>
              <a:gd name="T75" fmla="*/ 2147483647 h 1433"/>
              <a:gd name="T76" fmla="*/ 2147483647 w 1199"/>
              <a:gd name="T77" fmla="*/ 2147483647 h 1433"/>
              <a:gd name="T78" fmla="*/ 2147483647 w 1199"/>
              <a:gd name="T79" fmla="*/ 2147483647 h 1433"/>
              <a:gd name="T80" fmla="*/ 2147483647 w 1199"/>
              <a:gd name="T81" fmla="*/ 2147483647 h 1433"/>
              <a:gd name="T82" fmla="*/ 2147483647 w 1199"/>
              <a:gd name="T83" fmla="*/ 2147483647 h 1433"/>
              <a:gd name="T84" fmla="*/ 2147483647 w 1199"/>
              <a:gd name="T85" fmla="*/ 2147483647 h 1433"/>
              <a:gd name="T86" fmla="*/ 2147483647 w 1199"/>
              <a:gd name="T87" fmla="*/ 2147483647 h 1433"/>
              <a:gd name="T88" fmla="*/ 2147483647 w 1199"/>
              <a:gd name="T89" fmla="*/ 2147483647 h 1433"/>
              <a:gd name="T90" fmla="*/ 2147483647 w 1199"/>
              <a:gd name="T91" fmla="*/ 2147483647 h 1433"/>
              <a:gd name="T92" fmla="*/ 2147483647 w 1199"/>
              <a:gd name="T93" fmla="*/ 2147483647 h 1433"/>
              <a:gd name="T94" fmla="*/ 2147483647 w 1199"/>
              <a:gd name="T95" fmla="*/ 2147483647 h 1433"/>
              <a:gd name="T96" fmla="*/ 2147483647 w 1199"/>
              <a:gd name="T97" fmla="*/ 2147483647 h 1433"/>
              <a:gd name="T98" fmla="*/ 2147483647 w 1199"/>
              <a:gd name="T99" fmla="*/ 2147483647 h 1433"/>
              <a:gd name="T100" fmla="*/ 2147483647 w 1199"/>
              <a:gd name="T101" fmla="*/ 2147483647 h 1433"/>
              <a:gd name="T102" fmla="*/ 2147483647 w 1199"/>
              <a:gd name="T103" fmla="*/ 2147483647 h 1433"/>
              <a:gd name="T104" fmla="*/ 2147483647 w 1199"/>
              <a:gd name="T105" fmla="*/ 2147483647 h 1433"/>
              <a:gd name="T106" fmla="*/ 2147483647 w 1199"/>
              <a:gd name="T107" fmla="*/ 2147483647 h 1433"/>
              <a:gd name="T108" fmla="*/ 2147483647 w 1199"/>
              <a:gd name="T109" fmla="*/ 2147483647 h 1433"/>
              <a:gd name="T110" fmla="*/ 2147483647 w 1199"/>
              <a:gd name="T111" fmla="*/ 2147483647 h 1433"/>
              <a:gd name="T112" fmla="*/ 2147483647 w 1199"/>
              <a:gd name="T113" fmla="*/ 2147483647 h 1433"/>
              <a:gd name="T114" fmla="*/ 2147483647 w 1199"/>
              <a:gd name="T115" fmla="*/ 2147483647 h 1433"/>
              <a:gd name="T116" fmla="*/ 2147483647 w 1199"/>
              <a:gd name="T117" fmla="*/ 2147483647 h 1433"/>
              <a:gd name="T118" fmla="*/ 2147483647 w 1199"/>
              <a:gd name="T119" fmla="*/ 2147483647 h 143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199"/>
              <a:gd name="T181" fmla="*/ 0 h 1433"/>
              <a:gd name="T182" fmla="*/ 1199 w 1199"/>
              <a:gd name="T183" fmla="*/ 1433 h 1433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199" h="1433">
                <a:moveTo>
                  <a:pt x="32" y="1249"/>
                </a:moveTo>
                <a:lnTo>
                  <a:pt x="26" y="1230"/>
                </a:lnTo>
                <a:lnTo>
                  <a:pt x="14" y="1241"/>
                </a:lnTo>
                <a:lnTo>
                  <a:pt x="6" y="1225"/>
                </a:lnTo>
                <a:lnTo>
                  <a:pt x="32" y="1193"/>
                </a:lnTo>
                <a:lnTo>
                  <a:pt x="6" y="1201"/>
                </a:lnTo>
                <a:lnTo>
                  <a:pt x="0" y="1182"/>
                </a:lnTo>
                <a:lnTo>
                  <a:pt x="14" y="1190"/>
                </a:lnTo>
                <a:lnTo>
                  <a:pt x="14" y="1176"/>
                </a:lnTo>
                <a:lnTo>
                  <a:pt x="3" y="1178"/>
                </a:lnTo>
                <a:lnTo>
                  <a:pt x="3" y="1170"/>
                </a:lnTo>
                <a:lnTo>
                  <a:pt x="9" y="1159"/>
                </a:lnTo>
                <a:lnTo>
                  <a:pt x="76" y="1154"/>
                </a:lnTo>
                <a:lnTo>
                  <a:pt x="85" y="1161"/>
                </a:lnTo>
                <a:lnTo>
                  <a:pt x="87" y="1174"/>
                </a:lnTo>
                <a:lnTo>
                  <a:pt x="99" y="1168"/>
                </a:lnTo>
                <a:lnTo>
                  <a:pt x="93" y="1162"/>
                </a:lnTo>
                <a:lnTo>
                  <a:pt x="95" y="1154"/>
                </a:lnTo>
                <a:lnTo>
                  <a:pt x="117" y="1145"/>
                </a:lnTo>
                <a:lnTo>
                  <a:pt x="122" y="1139"/>
                </a:lnTo>
                <a:lnTo>
                  <a:pt x="107" y="1142"/>
                </a:lnTo>
                <a:lnTo>
                  <a:pt x="116" y="1111"/>
                </a:lnTo>
                <a:lnTo>
                  <a:pt x="105" y="1117"/>
                </a:lnTo>
                <a:lnTo>
                  <a:pt x="102" y="1137"/>
                </a:lnTo>
                <a:lnTo>
                  <a:pt x="93" y="1147"/>
                </a:lnTo>
                <a:lnTo>
                  <a:pt x="68" y="1144"/>
                </a:lnTo>
                <a:lnTo>
                  <a:pt x="70" y="1123"/>
                </a:lnTo>
                <a:lnTo>
                  <a:pt x="59" y="1147"/>
                </a:lnTo>
                <a:lnTo>
                  <a:pt x="5" y="1151"/>
                </a:lnTo>
                <a:lnTo>
                  <a:pt x="2" y="1127"/>
                </a:lnTo>
                <a:lnTo>
                  <a:pt x="12" y="1115"/>
                </a:lnTo>
                <a:lnTo>
                  <a:pt x="12" y="1105"/>
                </a:lnTo>
                <a:lnTo>
                  <a:pt x="2" y="1094"/>
                </a:lnTo>
                <a:lnTo>
                  <a:pt x="19" y="1082"/>
                </a:lnTo>
                <a:lnTo>
                  <a:pt x="45" y="1080"/>
                </a:lnTo>
                <a:lnTo>
                  <a:pt x="54" y="1069"/>
                </a:lnTo>
                <a:lnTo>
                  <a:pt x="11" y="1074"/>
                </a:lnTo>
                <a:lnTo>
                  <a:pt x="6" y="1056"/>
                </a:lnTo>
                <a:lnTo>
                  <a:pt x="23" y="1063"/>
                </a:lnTo>
                <a:lnTo>
                  <a:pt x="22" y="1052"/>
                </a:lnTo>
                <a:lnTo>
                  <a:pt x="40" y="1051"/>
                </a:lnTo>
                <a:lnTo>
                  <a:pt x="46" y="1052"/>
                </a:lnTo>
                <a:lnTo>
                  <a:pt x="62" y="1032"/>
                </a:lnTo>
                <a:lnTo>
                  <a:pt x="71" y="1049"/>
                </a:lnTo>
                <a:lnTo>
                  <a:pt x="68" y="1029"/>
                </a:lnTo>
                <a:lnTo>
                  <a:pt x="74" y="1020"/>
                </a:lnTo>
                <a:lnTo>
                  <a:pt x="63" y="1024"/>
                </a:lnTo>
                <a:lnTo>
                  <a:pt x="68" y="1017"/>
                </a:lnTo>
                <a:lnTo>
                  <a:pt x="62" y="1014"/>
                </a:lnTo>
                <a:lnTo>
                  <a:pt x="116" y="1012"/>
                </a:lnTo>
                <a:lnTo>
                  <a:pt x="113" y="1007"/>
                </a:lnTo>
                <a:lnTo>
                  <a:pt x="119" y="1000"/>
                </a:lnTo>
                <a:lnTo>
                  <a:pt x="93" y="993"/>
                </a:lnTo>
                <a:lnTo>
                  <a:pt x="99" y="989"/>
                </a:lnTo>
                <a:lnTo>
                  <a:pt x="90" y="981"/>
                </a:lnTo>
                <a:lnTo>
                  <a:pt x="99" y="970"/>
                </a:lnTo>
                <a:lnTo>
                  <a:pt x="113" y="975"/>
                </a:lnTo>
                <a:lnTo>
                  <a:pt x="117" y="966"/>
                </a:lnTo>
                <a:lnTo>
                  <a:pt x="119" y="955"/>
                </a:lnTo>
                <a:lnTo>
                  <a:pt x="139" y="949"/>
                </a:lnTo>
                <a:lnTo>
                  <a:pt x="141" y="939"/>
                </a:lnTo>
                <a:lnTo>
                  <a:pt x="155" y="944"/>
                </a:lnTo>
                <a:lnTo>
                  <a:pt x="155" y="936"/>
                </a:lnTo>
                <a:lnTo>
                  <a:pt x="166" y="922"/>
                </a:lnTo>
                <a:lnTo>
                  <a:pt x="188" y="913"/>
                </a:lnTo>
                <a:lnTo>
                  <a:pt x="193" y="930"/>
                </a:lnTo>
                <a:lnTo>
                  <a:pt x="203" y="925"/>
                </a:lnTo>
                <a:lnTo>
                  <a:pt x="198" y="912"/>
                </a:lnTo>
                <a:lnTo>
                  <a:pt x="217" y="900"/>
                </a:lnTo>
                <a:lnTo>
                  <a:pt x="227" y="925"/>
                </a:lnTo>
                <a:lnTo>
                  <a:pt x="235" y="927"/>
                </a:lnTo>
                <a:lnTo>
                  <a:pt x="238" y="917"/>
                </a:lnTo>
                <a:lnTo>
                  <a:pt x="263" y="910"/>
                </a:lnTo>
                <a:lnTo>
                  <a:pt x="260" y="902"/>
                </a:lnTo>
                <a:lnTo>
                  <a:pt x="291" y="882"/>
                </a:lnTo>
                <a:lnTo>
                  <a:pt x="295" y="876"/>
                </a:lnTo>
                <a:lnTo>
                  <a:pt x="291" y="873"/>
                </a:lnTo>
                <a:lnTo>
                  <a:pt x="237" y="910"/>
                </a:lnTo>
                <a:lnTo>
                  <a:pt x="227" y="899"/>
                </a:lnTo>
                <a:lnTo>
                  <a:pt x="230" y="885"/>
                </a:lnTo>
                <a:lnTo>
                  <a:pt x="220" y="888"/>
                </a:lnTo>
                <a:lnTo>
                  <a:pt x="217" y="876"/>
                </a:lnTo>
                <a:lnTo>
                  <a:pt x="235" y="866"/>
                </a:lnTo>
                <a:lnTo>
                  <a:pt x="235" y="849"/>
                </a:lnTo>
                <a:lnTo>
                  <a:pt x="272" y="798"/>
                </a:lnTo>
                <a:lnTo>
                  <a:pt x="295" y="806"/>
                </a:lnTo>
                <a:lnTo>
                  <a:pt x="297" y="783"/>
                </a:lnTo>
                <a:lnTo>
                  <a:pt x="291" y="782"/>
                </a:lnTo>
                <a:lnTo>
                  <a:pt x="295" y="765"/>
                </a:lnTo>
                <a:lnTo>
                  <a:pt x="315" y="741"/>
                </a:lnTo>
                <a:lnTo>
                  <a:pt x="340" y="736"/>
                </a:lnTo>
                <a:lnTo>
                  <a:pt x="339" y="715"/>
                </a:lnTo>
                <a:lnTo>
                  <a:pt x="325" y="724"/>
                </a:lnTo>
                <a:lnTo>
                  <a:pt x="337" y="709"/>
                </a:lnTo>
                <a:lnTo>
                  <a:pt x="336" y="693"/>
                </a:lnTo>
                <a:lnTo>
                  <a:pt x="353" y="714"/>
                </a:lnTo>
                <a:lnTo>
                  <a:pt x="344" y="685"/>
                </a:lnTo>
                <a:lnTo>
                  <a:pt x="356" y="682"/>
                </a:lnTo>
                <a:lnTo>
                  <a:pt x="357" y="653"/>
                </a:lnTo>
                <a:lnTo>
                  <a:pt x="374" y="659"/>
                </a:lnTo>
                <a:lnTo>
                  <a:pt x="370" y="639"/>
                </a:lnTo>
                <a:lnTo>
                  <a:pt x="345" y="651"/>
                </a:lnTo>
                <a:lnTo>
                  <a:pt x="370" y="617"/>
                </a:lnTo>
                <a:lnTo>
                  <a:pt x="388" y="614"/>
                </a:lnTo>
                <a:lnTo>
                  <a:pt x="390" y="607"/>
                </a:lnTo>
                <a:lnTo>
                  <a:pt x="381" y="608"/>
                </a:lnTo>
                <a:lnTo>
                  <a:pt x="376" y="588"/>
                </a:lnTo>
                <a:lnTo>
                  <a:pt x="391" y="582"/>
                </a:lnTo>
                <a:lnTo>
                  <a:pt x="379" y="580"/>
                </a:lnTo>
                <a:lnTo>
                  <a:pt x="382" y="565"/>
                </a:lnTo>
                <a:lnTo>
                  <a:pt x="405" y="549"/>
                </a:lnTo>
                <a:lnTo>
                  <a:pt x="399" y="541"/>
                </a:lnTo>
                <a:lnTo>
                  <a:pt x="407" y="532"/>
                </a:lnTo>
                <a:lnTo>
                  <a:pt x="424" y="529"/>
                </a:lnTo>
                <a:lnTo>
                  <a:pt x="435" y="508"/>
                </a:lnTo>
                <a:lnTo>
                  <a:pt x="432" y="492"/>
                </a:lnTo>
                <a:lnTo>
                  <a:pt x="444" y="472"/>
                </a:lnTo>
                <a:lnTo>
                  <a:pt x="459" y="463"/>
                </a:lnTo>
                <a:lnTo>
                  <a:pt x="479" y="475"/>
                </a:lnTo>
                <a:lnTo>
                  <a:pt x="496" y="460"/>
                </a:lnTo>
                <a:lnTo>
                  <a:pt x="470" y="460"/>
                </a:lnTo>
                <a:lnTo>
                  <a:pt x="487" y="444"/>
                </a:lnTo>
                <a:lnTo>
                  <a:pt x="483" y="441"/>
                </a:lnTo>
                <a:lnTo>
                  <a:pt x="489" y="438"/>
                </a:lnTo>
                <a:lnTo>
                  <a:pt x="481" y="423"/>
                </a:lnTo>
                <a:lnTo>
                  <a:pt x="496" y="409"/>
                </a:lnTo>
                <a:lnTo>
                  <a:pt x="489" y="402"/>
                </a:lnTo>
                <a:lnTo>
                  <a:pt x="501" y="390"/>
                </a:lnTo>
                <a:lnTo>
                  <a:pt x="509" y="389"/>
                </a:lnTo>
                <a:lnTo>
                  <a:pt x="513" y="421"/>
                </a:lnTo>
                <a:lnTo>
                  <a:pt x="525" y="413"/>
                </a:lnTo>
                <a:lnTo>
                  <a:pt x="520" y="393"/>
                </a:lnTo>
                <a:lnTo>
                  <a:pt x="525" y="385"/>
                </a:lnTo>
                <a:lnTo>
                  <a:pt x="517" y="372"/>
                </a:lnTo>
                <a:lnTo>
                  <a:pt x="521" y="365"/>
                </a:lnTo>
                <a:lnTo>
                  <a:pt x="532" y="359"/>
                </a:lnTo>
                <a:lnTo>
                  <a:pt x="566" y="372"/>
                </a:lnTo>
                <a:lnTo>
                  <a:pt x="572" y="355"/>
                </a:lnTo>
                <a:lnTo>
                  <a:pt x="530" y="347"/>
                </a:lnTo>
                <a:lnTo>
                  <a:pt x="540" y="331"/>
                </a:lnTo>
                <a:lnTo>
                  <a:pt x="572" y="326"/>
                </a:lnTo>
                <a:lnTo>
                  <a:pt x="576" y="323"/>
                </a:lnTo>
                <a:lnTo>
                  <a:pt x="571" y="314"/>
                </a:lnTo>
                <a:lnTo>
                  <a:pt x="585" y="316"/>
                </a:lnTo>
                <a:lnTo>
                  <a:pt x="583" y="303"/>
                </a:lnTo>
                <a:lnTo>
                  <a:pt x="579" y="299"/>
                </a:lnTo>
                <a:lnTo>
                  <a:pt x="577" y="283"/>
                </a:lnTo>
                <a:lnTo>
                  <a:pt x="605" y="262"/>
                </a:lnTo>
                <a:lnTo>
                  <a:pt x="600" y="249"/>
                </a:lnTo>
                <a:lnTo>
                  <a:pt x="608" y="223"/>
                </a:lnTo>
                <a:lnTo>
                  <a:pt x="613" y="228"/>
                </a:lnTo>
                <a:lnTo>
                  <a:pt x="611" y="243"/>
                </a:lnTo>
                <a:lnTo>
                  <a:pt x="630" y="252"/>
                </a:lnTo>
                <a:lnTo>
                  <a:pt x="639" y="243"/>
                </a:lnTo>
                <a:lnTo>
                  <a:pt x="622" y="218"/>
                </a:lnTo>
                <a:lnTo>
                  <a:pt x="631" y="217"/>
                </a:lnTo>
                <a:lnTo>
                  <a:pt x="667" y="257"/>
                </a:lnTo>
                <a:lnTo>
                  <a:pt x="662" y="238"/>
                </a:lnTo>
                <a:lnTo>
                  <a:pt x="647" y="223"/>
                </a:lnTo>
                <a:lnTo>
                  <a:pt x="645" y="203"/>
                </a:lnTo>
                <a:lnTo>
                  <a:pt x="654" y="187"/>
                </a:lnTo>
                <a:lnTo>
                  <a:pt x="674" y="184"/>
                </a:lnTo>
                <a:lnTo>
                  <a:pt x="676" y="228"/>
                </a:lnTo>
                <a:lnTo>
                  <a:pt x="682" y="191"/>
                </a:lnTo>
                <a:lnTo>
                  <a:pt x="704" y="166"/>
                </a:lnTo>
                <a:lnTo>
                  <a:pt x="704" y="217"/>
                </a:lnTo>
                <a:lnTo>
                  <a:pt x="695" y="243"/>
                </a:lnTo>
                <a:lnTo>
                  <a:pt x="720" y="208"/>
                </a:lnTo>
                <a:lnTo>
                  <a:pt x="716" y="189"/>
                </a:lnTo>
                <a:lnTo>
                  <a:pt x="725" y="175"/>
                </a:lnTo>
                <a:lnTo>
                  <a:pt x="736" y="166"/>
                </a:lnTo>
                <a:lnTo>
                  <a:pt x="733" y="174"/>
                </a:lnTo>
                <a:lnTo>
                  <a:pt x="738" y="183"/>
                </a:lnTo>
                <a:lnTo>
                  <a:pt x="752" y="169"/>
                </a:lnTo>
                <a:lnTo>
                  <a:pt x="749" y="152"/>
                </a:lnTo>
                <a:lnTo>
                  <a:pt x="784" y="192"/>
                </a:lnTo>
                <a:lnTo>
                  <a:pt x="783" y="145"/>
                </a:lnTo>
                <a:lnTo>
                  <a:pt x="762" y="136"/>
                </a:lnTo>
                <a:lnTo>
                  <a:pt x="762" y="115"/>
                </a:lnTo>
                <a:lnTo>
                  <a:pt x="774" y="135"/>
                </a:lnTo>
                <a:lnTo>
                  <a:pt x="779" y="116"/>
                </a:lnTo>
                <a:lnTo>
                  <a:pt x="800" y="138"/>
                </a:lnTo>
                <a:lnTo>
                  <a:pt x="804" y="136"/>
                </a:lnTo>
                <a:lnTo>
                  <a:pt x="801" y="127"/>
                </a:lnTo>
                <a:lnTo>
                  <a:pt x="826" y="130"/>
                </a:lnTo>
                <a:lnTo>
                  <a:pt x="823" y="141"/>
                </a:lnTo>
                <a:lnTo>
                  <a:pt x="840" y="159"/>
                </a:lnTo>
                <a:lnTo>
                  <a:pt x="842" y="125"/>
                </a:lnTo>
                <a:lnTo>
                  <a:pt x="868" y="93"/>
                </a:lnTo>
                <a:lnTo>
                  <a:pt x="889" y="93"/>
                </a:lnTo>
                <a:lnTo>
                  <a:pt x="886" y="81"/>
                </a:lnTo>
                <a:lnTo>
                  <a:pt x="903" y="65"/>
                </a:lnTo>
                <a:lnTo>
                  <a:pt x="891" y="42"/>
                </a:lnTo>
                <a:lnTo>
                  <a:pt x="903" y="47"/>
                </a:lnTo>
                <a:lnTo>
                  <a:pt x="903" y="26"/>
                </a:lnTo>
                <a:lnTo>
                  <a:pt x="920" y="22"/>
                </a:lnTo>
                <a:lnTo>
                  <a:pt x="931" y="47"/>
                </a:lnTo>
                <a:lnTo>
                  <a:pt x="959" y="40"/>
                </a:lnTo>
                <a:lnTo>
                  <a:pt x="928" y="93"/>
                </a:lnTo>
                <a:lnTo>
                  <a:pt x="928" y="119"/>
                </a:lnTo>
                <a:lnTo>
                  <a:pt x="918" y="138"/>
                </a:lnTo>
                <a:lnTo>
                  <a:pt x="918" y="149"/>
                </a:lnTo>
                <a:lnTo>
                  <a:pt x="927" y="145"/>
                </a:lnTo>
                <a:lnTo>
                  <a:pt x="995" y="26"/>
                </a:lnTo>
                <a:lnTo>
                  <a:pt x="999" y="56"/>
                </a:lnTo>
                <a:lnTo>
                  <a:pt x="990" y="64"/>
                </a:lnTo>
                <a:lnTo>
                  <a:pt x="999" y="76"/>
                </a:lnTo>
                <a:lnTo>
                  <a:pt x="995" y="105"/>
                </a:lnTo>
                <a:lnTo>
                  <a:pt x="1016" y="91"/>
                </a:lnTo>
                <a:lnTo>
                  <a:pt x="1016" y="79"/>
                </a:lnTo>
                <a:lnTo>
                  <a:pt x="1024" y="71"/>
                </a:lnTo>
                <a:lnTo>
                  <a:pt x="1041" y="5"/>
                </a:lnTo>
                <a:lnTo>
                  <a:pt x="1081" y="20"/>
                </a:lnTo>
                <a:lnTo>
                  <a:pt x="1074" y="45"/>
                </a:lnTo>
                <a:lnTo>
                  <a:pt x="1053" y="51"/>
                </a:lnTo>
                <a:lnTo>
                  <a:pt x="1061" y="60"/>
                </a:lnTo>
                <a:lnTo>
                  <a:pt x="1049" y="71"/>
                </a:lnTo>
                <a:lnTo>
                  <a:pt x="1074" y="69"/>
                </a:lnTo>
                <a:lnTo>
                  <a:pt x="1058" y="93"/>
                </a:lnTo>
                <a:lnTo>
                  <a:pt x="1087" y="91"/>
                </a:lnTo>
                <a:lnTo>
                  <a:pt x="1087" y="52"/>
                </a:lnTo>
                <a:lnTo>
                  <a:pt x="1114" y="37"/>
                </a:lnTo>
                <a:lnTo>
                  <a:pt x="1121" y="64"/>
                </a:lnTo>
                <a:lnTo>
                  <a:pt x="1150" y="57"/>
                </a:lnTo>
                <a:lnTo>
                  <a:pt x="1168" y="73"/>
                </a:lnTo>
                <a:lnTo>
                  <a:pt x="1160" y="77"/>
                </a:lnTo>
                <a:lnTo>
                  <a:pt x="1197" y="98"/>
                </a:lnTo>
                <a:lnTo>
                  <a:pt x="1199" y="110"/>
                </a:lnTo>
                <a:lnTo>
                  <a:pt x="1154" y="144"/>
                </a:lnTo>
                <a:lnTo>
                  <a:pt x="1091" y="136"/>
                </a:lnTo>
                <a:lnTo>
                  <a:pt x="1148" y="172"/>
                </a:lnTo>
                <a:lnTo>
                  <a:pt x="1131" y="200"/>
                </a:lnTo>
                <a:lnTo>
                  <a:pt x="1162" y="195"/>
                </a:lnTo>
                <a:lnTo>
                  <a:pt x="1194" y="186"/>
                </a:lnTo>
                <a:lnTo>
                  <a:pt x="1191" y="213"/>
                </a:lnTo>
                <a:lnTo>
                  <a:pt x="1162" y="204"/>
                </a:lnTo>
                <a:lnTo>
                  <a:pt x="1157" y="229"/>
                </a:lnTo>
                <a:lnTo>
                  <a:pt x="1123" y="252"/>
                </a:lnTo>
                <a:lnTo>
                  <a:pt x="1109" y="277"/>
                </a:lnTo>
                <a:lnTo>
                  <a:pt x="1101" y="262"/>
                </a:lnTo>
                <a:lnTo>
                  <a:pt x="1121" y="232"/>
                </a:lnTo>
                <a:lnTo>
                  <a:pt x="1114" y="195"/>
                </a:lnTo>
                <a:lnTo>
                  <a:pt x="1061" y="145"/>
                </a:lnTo>
                <a:lnTo>
                  <a:pt x="1015" y="164"/>
                </a:lnTo>
                <a:lnTo>
                  <a:pt x="969" y="183"/>
                </a:lnTo>
                <a:lnTo>
                  <a:pt x="959" y="209"/>
                </a:lnTo>
                <a:lnTo>
                  <a:pt x="956" y="286"/>
                </a:lnTo>
                <a:lnTo>
                  <a:pt x="903" y="326"/>
                </a:lnTo>
                <a:lnTo>
                  <a:pt x="877" y="300"/>
                </a:lnTo>
                <a:lnTo>
                  <a:pt x="849" y="325"/>
                </a:lnTo>
                <a:lnTo>
                  <a:pt x="804" y="316"/>
                </a:lnTo>
                <a:lnTo>
                  <a:pt x="770" y="257"/>
                </a:lnTo>
                <a:lnTo>
                  <a:pt x="749" y="241"/>
                </a:lnTo>
                <a:lnTo>
                  <a:pt x="738" y="246"/>
                </a:lnTo>
                <a:lnTo>
                  <a:pt x="742" y="269"/>
                </a:lnTo>
                <a:lnTo>
                  <a:pt x="718" y="277"/>
                </a:lnTo>
                <a:lnTo>
                  <a:pt x="695" y="279"/>
                </a:lnTo>
                <a:lnTo>
                  <a:pt x="699" y="299"/>
                </a:lnTo>
                <a:lnTo>
                  <a:pt x="686" y="333"/>
                </a:lnTo>
                <a:lnTo>
                  <a:pt x="696" y="350"/>
                </a:lnTo>
                <a:lnTo>
                  <a:pt x="691" y="357"/>
                </a:lnTo>
                <a:lnTo>
                  <a:pt x="613" y="345"/>
                </a:lnTo>
                <a:lnTo>
                  <a:pt x="605" y="357"/>
                </a:lnTo>
                <a:lnTo>
                  <a:pt x="605" y="384"/>
                </a:lnTo>
                <a:lnTo>
                  <a:pt x="593" y="416"/>
                </a:lnTo>
                <a:lnTo>
                  <a:pt x="571" y="398"/>
                </a:lnTo>
                <a:lnTo>
                  <a:pt x="537" y="426"/>
                </a:lnTo>
                <a:lnTo>
                  <a:pt x="532" y="452"/>
                </a:lnTo>
                <a:lnTo>
                  <a:pt x="513" y="486"/>
                </a:lnTo>
                <a:lnTo>
                  <a:pt x="523" y="504"/>
                </a:lnTo>
                <a:lnTo>
                  <a:pt x="523" y="523"/>
                </a:lnTo>
                <a:lnTo>
                  <a:pt x="481" y="582"/>
                </a:lnTo>
                <a:lnTo>
                  <a:pt x="470" y="622"/>
                </a:lnTo>
                <a:lnTo>
                  <a:pt x="441" y="638"/>
                </a:lnTo>
                <a:lnTo>
                  <a:pt x="441" y="692"/>
                </a:lnTo>
                <a:lnTo>
                  <a:pt x="432" y="736"/>
                </a:lnTo>
                <a:lnTo>
                  <a:pt x="402" y="794"/>
                </a:lnTo>
                <a:lnTo>
                  <a:pt x="421" y="823"/>
                </a:lnTo>
                <a:lnTo>
                  <a:pt x="418" y="849"/>
                </a:lnTo>
                <a:lnTo>
                  <a:pt x="410" y="862"/>
                </a:lnTo>
                <a:lnTo>
                  <a:pt x="366" y="862"/>
                </a:lnTo>
                <a:lnTo>
                  <a:pt x="331" y="896"/>
                </a:lnTo>
                <a:lnTo>
                  <a:pt x="322" y="925"/>
                </a:lnTo>
                <a:lnTo>
                  <a:pt x="334" y="958"/>
                </a:lnTo>
                <a:lnTo>
                  <a:pt x="322" y="1009"/>
                </a:lnTo>
                <a:lnTo>
                  <a:pt x="328" y="1034"/>
                </a:lnTo>
                <a:lnTo>
                  <a:pt x="328" y="1086"/>
                </a:lnTo>
                <a:lnTo>
                  <a:pt x="353" y="1111"/>
                </a:lnTo>
                <a:lnTo>
                  <a:pt x="356" y="1130"/>
                </a:lnTo>
                <a:lnTo>
                  <a:pt x="351" y="1145"/>
                </a:lnTo>
                <a:lnTo>
                  <a:pt x="327" y="1164"/>
                </a:lnTo>
                <a:lnTo>
                  <a:pt x="336" y="1176"/>
                </a:lnTo>
                <a:lnTo>
                  <a:pt x="342" y="1204"/>
                </a:lnTo>
                <a:lnTo>
                  <a:pt x="336" y="1229"/>
                </a:lnTo>
                <a:lnTo>
                  <a:pt x="339" y="1249"/>
                </a:lnTo>
                <a:lnTo>
                  <a:pt x="310" y="1266"/>
                </a:lnTo>
                <a:lnTo>
                  <a:pt x="310" y="1278"/>
                </a:lnTo>
                <a:lnTo>
                  <a:pt x="300" y="1297"/>
                </a:lnTo>
                <a:lnTo>
                  <a:pt x="305" y="1320"/>
                </a:lnTo>
                <a:lnTo>
                  <a:pt x="298" y="1352"/>
                </a:lnTo>
                <a:lnTo>
                  <a:pt x="291" y="1357"/>
                </a:lnTo>
                <a:lnTo>
                  <a:pt x="288" y="1349"/>
                </a:lnTo>
                <a:lnTo>
                  <a:pt x="285" y="1360"/>
                </a:lnTo>
                <a:lnTo>
                  <a:pt x="283" y="1339"/>
                </a:lnTo>
                <a:lnTo>
                  <a:pt x="277" y="1332"/>
                </a:lnTo>
                <a:lnTo>
                  <a:pt x="261" y="1326"/>
                </a:lnTo>
                <a:lnTo>
                  <a:pt x="254" y="1283"/>
                </a:lnTo>
                <a:lnTo>
                  <a:pt x="261" y="1269"/>
                </a:lnTo>
                <a:lnTo>
                  <a:pt x="255" y="1266"/>
                </a:lnTo>
                <a:lnTo>
                  <a:pt x="247" y="1271"/>
                </a:lnTo>
                <a:lnTo>
                  <a:pt x="251" y="1298"/>
                </a:lnTo>
                <a:lnTo>
                  <a:pt x="246" y="1300"/>
                </a:lnTo>
                <a:lnTo>
                  <a:pt x="238" y="1283"/>
                </a:lnTo>
                <a:lnTo>
                  <a:pt x="237" y="1298"/>
                </a:lnTo>
                <a:lnTo>
                  <a:pt x="247" y="1320"/>
                </a:lnTo>
                <a:lnTo>
                  <a:pt x="237" y="1342"/>
                </a:lnTo>
                <a:lnTo>
                  <a:pt x="209" y="1340"/>
                </a:lnTo>
                <a:lnTo>
                  <a:pt x="210" y="1348"/>
                </a:lnTo>
                <a:lnTo>
                  <a:pt x="187" y="1379"/>
                </a:lnTo>
                <a:lnTo>
                  <a:pt x="142" y="1420"/>
                </a:lnTo>
                <a:lnTo>
                  <a:pt x="136" y="1410"/>
                </a:lnTo>
                <a:lnTo>
                  <a:pt x="122" y="1430"/>
                </a:lnTo>
                <a:lnTo>
                  <a:pt x="112" y="1433"/>
                </a:lnTo>
                <a:lnTo>
                  <a:pt x="99" y="1428"/>
                </a:lnTo>
                <a:lnTo>
                  <a:pt x="105" y="1422"/>
                </a:lnTo>
                <a:lnTo>
                  <a:pt x="91" y="1422"/>
                </a:lnTo>
                <a:lnTo>
                  <a:pt x="88" y="1428"/>
                </a:lnTo>
                <a:lnTo>
                  <a:pt x="74" y="1428"/>
                </a:lnTo>
                <a:lnTo>
                  <a:pt x="78" y="1403"/>
                </a:lnTo>
                <a:lnTo>
                  <a:pt x="71" y="1413"/>
                </a:lnTo>
                <a:lnTo>
                  <a:pt x="62" y="1411"/>
                </a:lnTo>
                <a:lnTo>
                  <a:pt x="20" y="1374"/>
                </a:lnTo>
                <a:lnTo>
                  <a:pt x="28" y="1348"/>
                </a:lnTo>
                <a:lnTo>
                  <a:pt x="42" y="1352"/>
                </a:lnTo>
                <a:lnTo>
                  <a:pt x="40" y="1342"/>
                </a:lnTo>
                <a:lnTo>
                  <a:pt x="54" y="1325"/>
                </a:lnTo>
                <a:lnTo>
                  <a:pt x="54" y="1315"/>
                </a:lnTo>
                <a:lnTo>
                  <a:pt x="49" y="1317"/>
                </a:lnTo>
                <a:lnTo>
                  <a:pt x="59" y="1301"/>
                </a:lnTo>
                <a:lnTo>
                  <a:pt x="14" y="1318"/>
                </a:lnTo>
                <a:lnTo>
                  <a:pt x="11" y="1305"/>
                </a:lnTo>
                <a:lnTo>
                  <a:pt x="22" y="1288"/>
                </a:lnTo>
                <a:lnTo>
                  <a:pt x="39" y="1288"/>
                </a:lnTo>
                <a:lnTo>
                  <a:pt x="62" y="1272"/>
                </a:lnTo>
                <a:lnTo>
                  <a:pt x="32" y="1271"/>
                </a:lnTo>
                <a:lnTo>
                  <a:pt x="57" y="1244"/>
                </a:lnTo>
                <a:lnTo>
                  <a:pt x="53" y="1237"/>
                </a:lnTo>
                <a:lnTo>
                  <a:pt x="70" y="1215"/>
                </a:lnTo>
                <a:lnTo>
                  <a:pt x="74" y="1227"/>
                </a:lnTo>
                <a:lnTo>
                  <a:pt x="78" y="1212"/>
                </a:lnTo>
                <a:lnTo>
                  <a:pt x="91" y="1207"/>
                </a:lnTo>
                <a:lnTo>
                  <a:pt x="70" y="1199"/>
                </a:lnTo>
                <a:lnTo>
                  <a:pt x="62" y="1207"/>
                </a:lnTo>
                <a:lnTo>
                  <a:pt x="32" y="1249"/>
                </a:lnTo>
                <a:lnTo>
                  <a:pt x="22" y="1264"/>
                </a:lnTo>
                <a:lnTo>
                  <a:pt x="19" y="1255"/>
                </a:lnTo>
                <a:lnTo>
                  <a:pt x="32" y="1249"/>
                </a:lnTo>
                <a:close/>
                <a:moveTo>
                  <a:pt x="961" y="6"/>
                </a:moveTo>
                <a:lnTo>
                  <a:pt x="969" y="23"/>
                </a:lnTo>
                <a:lnTo>
                  <a:pt x="935" y="15"/>
                </a:lnTo>
                <a:lnTo>
                  <a:pt x="952" y="0"/>
                </a:lnTo>
                <a:lnTo>
                  <a:pt x="961" y="6"/>
                </a:lnTo>
                <a:close/>
                <a:moveTo>
                  <a:pt x="872" y="82"/>
                </a:moveTo>
                <a:lnTo>
                  <a:pt x="869" y="85"/>
                </a:lnTo>
                <a:lnTo>
                  <a:pt x="862" y="57"/>
                </a:lnTo>
                <a:lnTo>
                  <a:pt x="876" y="64"/>
                </a:lnTo>
                <a:lnTo>
                  <a:pt x="877" y="81"/>
                </a:lnTo>
                <a:lnTo>
                  <a:pt x="872" y="82"/>
                </a:lnTo>
                <a:close/>
                <a:moveTo>
                  <a:pt x="846" y="110"/>
                </a:moveTo>
                <a:lnTo>
                  <a:pt x="834" y="113"/>
                </a:lnTo>
                <a:lnTo>
                  <a:pt x="826" y="93"/>
                </a:lnTo>
                <a:lnTo>
                  <a:pt x="849" y="77"/>
                </a:lnTo>
                <a:lnTo>
                  <a:pt x="857" y="93"/>
                </a:lnTo>
                <a:lnTo>
                  <a:pt x="846" y="110"/>
                </a:lnTo>
                <a:close/>
                <a:moveTo>
                  <a:pt x="800" y="65"/>
                </a:moveTo>
                <a:lnTo>
                  <a:pt x="825" y="56"/>
                </a:lnTo>
                <a:lnTo>
                  <a:pt x="835" y="67"/>
                </a:lnTo>
                <a:lnTo>
                  <a:pt x="825" y="84"/>
                </a:lnTo>
                <a:lnTo>
                  <a:pt x="795" y="91"/>
                </a:lnTo>
                <a:lnTo>
                  <a:pt x="786" y="73"/>
                </a:lnTo>
                <a:lnTo>
                  <a:pt x="800" y="65"/>
                </a:lnTo>
                <a:close/>
                <a:moveTo>
                  <a:pt x="818" y="124"/>
                </a:moveTo>
                <a:lnTo>
                  <a:pt x="804" y="110"/>
                </a:lnTo>
                <a:lnTo>
                  <a:pt x="821" y="110"/>
                </a:lnTo>
                <a:lnTo>
                  <a:pt x="826" y="121"/>
                </a:lnTo>
                <a:lnTo>
                  <a:pt x="818" y="124"/>
                </a:lnTo>
                <a:close/>
                <a:moveTo>
                  <a:pt x="724" y="125"/>
                </a:moveTo>
                <a:lnTo>
                  <a:pt x="729" y="130"/>
                </a:lnTo>
                <a:lnTo>
                  <a:pt x="727" y="147"/>
                </a:lnTo>
                <a:lnTo>
                  <a:pt x="713" y="142"/>
                </a:lnTo>
                <a:lnTo>
                  <a:pt x="724" y="125"/>
                </a:lnTo>
                <a:close/>
                <a:moveTo>
                  <a:pt x="682" y="132"/>
                </a:moveTo>
                <a:lnTo>
                  <a:pt x="695" y="144"/>
                </a:lnTo>
                <a:lnTo>
                  <a:pt x="679" y="145"/>
                </a:lnTo>
                <a:lnTo>
                  <a:pt x="671" y="121"/>
                </a:lnTo>
                <a:lnTo>
                  <a:pt x="682" y="132"/>
                </a:lnTo>
                <a:close/>
                <a:moveTo>
                  <a:pt x="639" y="150"/>
                </a:moveTo>
                <a:lnTo>
                  <a:pt x="671" y="157"/>
                </a:lnTo>
                <a:lnTo>
                  <a:pt x="656" y="181"/>
                </a:lnTo>
                <a:lnTo>
                  <a:pt x="639" y="167"/>
                </a:lnTo>
                <a:lnTo>
                  <a:pt x="639" y="150"/>
                </a:lnTo>
                <a:close/>
                <a:moveTo>
                  <a:pt x="610" y="195"/>
                </a:moveTo>
                <a:lnTo>
                  <a:pt x="630" y="189"/>
                </a:lnTo>
                <a:lnTo>
                  <a:pt x="634" y="172"/>
                </a:lnTo>
                <a:lnTo>
                  <a:pt x="645" y="184"/>
                </a:lnTo>
                <a:lnTo>
                  <a:pt x="637" y="206"/>
                </a:lnTo>
                <a:lnTo>
                  <a:pt x="617" y="215"/>
                </a:lnTo>
                <a:lnTo>
                  <a:pt x="603" y="211"/>
                </a:lnTo>
                <a:lnTo>
                  <a:pt x="610" y="195"/>
                </a:lnTo>
                <a:close/>
                <a:moveTo>
                  <a:pt x="551" y="260"/>
                </a:moveTo>
                <a:lnTo>
                  <a:pt x="546" y="255"/>
                </a:lnTo>
                <a:lnTo>
                  <a:pt x="552" y="254"/>
                </a:lnTo>
                <a:lnTo>
                  <a:pt x="551" y="240"/>
                </a:lnTo>
                <a:lnTo>
                  <a:pt x="574" y="226"/>
                </a:lnTo>
                <a:lnTo>
                  <a:pt x="577" y="221"/>
                </a:lnTo>
                <a:lnTo>
                  <a:pt x="574" y="211"/>
                </a:lnTo>
                <a:lnTo>
                  <a:pt x="586" y="211"/>
                </a:lnTo>
                <a:lnTo>
                  <a:pt x="597" y="238"/>
                </a:lnTo>
                <a:lnTo>
                  <a:pt x="593" y="263"/>
                </a:lnTo>
                <a:lnTo>
                  <a:pt x="547" y="280"/>
                </a:lnTo>
                <a:lnTo>
                  <a:pt x="543" y="274"/>
                </a:lnTo>
                <a:lnTo>
                  <a:pt x="554" y="263"/>
                </a:lnTo>
                <a:lnTo>
                  <a:pt x="551" y="260"/>
                </a:lnTo>
                <a:close/>
                <a:moveTo>
                  <a:pt x="458" y="435"/>
                </a:moveTo>
                <a:lnTo>
                  <a:pt x="452" y="426"/>
                </a:lnTo>
                <a:lnTo>
                  <a:pt x="476" y="427"/>
                </a:lnTo>
                <a:lnTo>
                  <a:pt x="456" y="450"/>
                </a:lnTo>
                <a:lnTo>
                  <a:pt x="447" y="447"/>
                </a:lnTo>
                <a:lnTo>
                  <a:pt x="458" y="435"/>
                </a:lnTo>
                <a:close/>
                <a:moveTo>
                  <a:pt x="496" y="260"/>
                </a:moveTo>
                <a:lnTo>
                  <a:pt x="503" y="245"/>
                </a:lnTo>
                <a:lnTo>
                  <a:pt x="515" y="250"/>
                </a:lnTo>
                <a:lnTo>
                  <a:pt x="498" y="283"/>
                </a:lnTo>
                <a:lnTo>
                  <a:pt x="484" y="282"/>
                </a:lnTo>
                <a:lnTo>
                  <a:pt x="496" y="260"/>
                </a:lnTo>
                <a:close/>
                <a:moveTo>
                  <a:pt x="435" y="326"/>
                </a:moveTo>
                <a:lnTo>
                  <a:pt x="452" y="300"/>
                </a:lnTo>
                <a:lnTo>
                  <a:pt x="464" y="308"/>
                </a:lnTo>
                <a:lnTo>
                  <a:pt x="464" y="291"/>
                </a:lnTo>
                <a:lnTo>
                  <a:pt x="475" y="308"/>
                </a:lnTo>
                <a:lnTo>
                  <a:pt x="476" y="331"/>
                </a:lnTo>
                <a:lnTo>
                  <a:pt x="458" y="339"/>
                </a:lnTo>
                <a:lnTo>
                  <a:pt x="455" y="331"/>
                </a:lnTo>
                <a:lnTo>
                  <a:pt x="462" y="319"/>
                </a:lnTo>
                <a:lnTo>
                  <a:pt x="438" y="336"/>
                </a:lnTo>
                <a:lnTo>
                  <a:pt x="435" y="326"/>
                </a:lnTo>
                <a:close/>
                <a:moveTo>
                  <a:pt x="489" y="294"/>
                </a:moveTo>
                <a:lnTo>
                  <a:pt x="496" y="292"/>
                </a:lnTo>
                <a:lnTo>
                  <a:pt x="503" y="317"/>
                </a:lnTo>
                <a:lnTo>
                  <a:pt x="496" y="339"/>
                </a:lnTo>
                <a:lnTo>
                  <a:pt x="515" y="316"/>
                </a:lnTo>
                <a:lnTo>
                  <a:pt x="517" y="300"/>
                </a:lnTo>
                <a:lnTo>
                  <a:pt x="530" y="314"/>
                </a:lnTo>
                <a:lnTo>
                  <a:pt x="530" y="333"/>
                </a:lnTo>
                <a:lnTo>
                  <a:pt x="506" y="357"/>
                </a:lnTo>
                <a:lnTo>
                  <a:pt x="503" y="350"/>
                </a:lnTo>
                <a:lnTo>
                  <a:pt x="487" y="372"/>
                </a:lnTo>
                <a:lnTo>
                  <a:pt x="484" y="351"/>
                </a:lnTo>
                <a:lnTo>
                  <a:pt x="452" y="384"/>
                </a:lnTo>
                <a:lnTo>
                  <a:pt x="447" y="376"/>
                </a:lnTo>
                <a:lnTo>
                  <a:pt x="427" y="385"/>
                </a:lnTo>
                <a:lnTo>
                  <a:pt x="435" y="365"/>
                </a:lnTo>
                <a:lnTo>
                  <a:pt x="473" y="350"/>
                </a:lnTo>
                <a:lnTo>
                  <a:pt x="489" y="294"/>
                </a:lnTo>
                <a:close/>
                <a:moveTo>
                  <a:pt x="159" y="908"/>
                </a:moveTo>
                <a:lnTo>
                  <a:pt x="181" y="895"/>
                </a:lnTo>
                <a:lnTo>
                  <a:pt x="190" y="895"/>
                </a:lnTo>
                <a:lnTo>
                  <a:pt x="193" y="907"/>
                </a:lnTo>
                <a:lnTo>
                  <a:pt x="166" y="919"/>
                </a:lnTo>
                <a:lnTo>
                  <a:pt x="159" y="908"/>
                </a:lnTo>
                <a:close/>
                <a:moveTo>
                  <a:pt x="12" y="1334"/>
                </a:moveTo>
                <a:lnTo>
                  <a:pt x="11" y="1315"/>
                </a:lnTo>
                <a:lnTo>
                  <a:pt x="6" y="1332"/>
                </a:lnTo>
                <a:lnTo>
                  <a:pt x="12" y="1334"/>
                </a:lnTo>
                <a:close/>
                <a:moveTo>
                  <a:pt x="20" y="1281"/>
                </a:moveTo>
                <a:lnTo>
                  <a:pt x="20" y="1266"/>
                </a:lnTo>
                <a:lnTo>
                  <a:pt x="14" y="1261"/>
                </a:lnTo>
                <a:lnTo>
                  <a:pt x="12" y="1276"/>
                </a:lnTo>
                <a:lnTo>
                  <a:pt x="20" y="1281"/>
                </a:lnTo>
                <a:close/>
                <a:moveTo>
                  <a:pt x="40" y="1044"/>
                </a:moveTo>
                <a:lnTo>
                  <a:pt x="45" y="1029"/>
                </a:lnTo>
                <a:lnTo>
                  <a:pt x="37" y="1031"/>
                </a:lnTo>
                <a:lnTo>
                  <a:pt x="40" y="1044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11" name="Freeform 200"/>
          <p:cNvSpPr>
            <a:spLocks noChangeAspect="1" noEditPoints="1"/>
          </p:cNvSpPr>
          <p:nvPr/>
        </p:nvSpPr>
        <p:spPr bwMode="gray">
          <a:xfrm>
            <a:off x="4654550" y="1668463"/>
            <a:ext cx="292100" cy="671512"/>
          </a:xfrm>
          <a:custGeom>
            <a:avLst/>
            <a:gdLst>
              <a:gd name="T0" fmla="*/ 2147483647 w 601"/>
              <a:gd name="T1" fmla="*/ 2147483647 h 1374"/>
              <a:gd name="T2" fmla="*/ 2147483647 w 601"/>
              <a:gd name="T3" fmla="*/ 2147483647 h 1374"/>
              <a:gd name="T4" fmla="*/ 2147483647 w 601"/>
              <a:gd name="T5" fmla="*/ 2147483647 h 1374"/>
              <a:gd name="T6" fmla="*/ 2147483647 w 601"/>
              <a:gd name="T7" fmla="*/ 2147483647 h 1374"/>
              <a:gd name="T8" fmla="*/ 2147483647 w 601"/>
              <a:gd name="T9" fmla="*/ 2147483647 h 1374"/>
              <a:gd name="T10" fmla="*/ 2147483647 w 601"/>
              <a:gd name="T11" fmla="*/ 2147483647 h 1374"/>
              <a:gd name="T12" fmla="*/ 2147483647 w 601"/>
              <a:gd name="T13" fmla="*/ 2147483647 h 1374"/>
              <a:gd name="T14" fmla="*/ 2147483647 w 601"/>
              <a:gd name="T15" fmla="*/ 2147483647 h 1374"/>
              <a:gd name="T16" fmla="*/ 2147483647 w 601"/>
              <a:gd name="T17" fmla="*/ 2147483647 h 1374"/>
              <a:gd name="T18" fmla="*/ 2147483647 w 601"/>
              <a:gd name="T19" fmla="*/ 2147483647 h 1374"/>
              <a:gd name="T20" fmla="*/ 2147483647 w 601"/>
              <a:gd name="T21" fmla="*/ 2147483647 h 1374"/>
              <a:gd name="T22" fmla="*/ 2147483647 w 601"/>
              <a:gd name="T23" fmla="*/ 2147483647 h 1374"/>
              <a:gd name="T24" fmla="*/ 2147483647 w 601"/>
              <a:gd name="T25" fmla="*/ 2147483647 h 1374"/>
              <a:gd name="T26" fmla="*/ 2147483647 w 601"/>
              <a:gd name="T27" fmla="*/ 2147483647 h 1374"/>
              <a:gd name="T28" fmla="*/ 2147483647 w 601"/>
              <a:gd name="T29" fmla="*/ 2147483647 h 1374"/>
              <a:gd name="T30" fmla="*/ 2147483647 w 601"/>
              <a:gd name="T31" fmla="*/ 2147483647 h 1374"/>
              <a:gd name="T32" fmla="*/ 2147483647 w 601"/>
              <a:gd name="T33" fmla="*/ 2147483647 h 1374"/>
              <a:gd name="T34" fmla="*/ 2147483647 w 601"/>
              <a:gd name="T35" fmla="*/ 2147483647 h 1374"/>
              <a:gd name="T36" fmla="*/ 2147483647 w 601"/>
              <a:gd name="T37" fmla="*/ 2147483647 h 1374"/>
              <a:gd name="T38" fmla="*/ 2147483647 w 601"/>
              <a:gd name="T39" fmla="*/ 2147483647 h 1374"/>
              <a:gd name="T40" fmla="*/ 2147483647 w 601"/>
              <a:gd name="T41" fmla="*/ 2147483647 h 1374"/>
              <a:gd name="T42" fmla="*/ 2147483647 w 601"/>
              <a:gd name="T43" fmla="*/ 2147483647 h 1374"/>
              <a:gd name="T44" fmla="*/ 2147483647 w 601"/>
              <a:gd name="T45" fmla="*/ 2147483647 h 1374"/>
              <a:gd name="T46" fmla="*/ 2147483647 w 601"/>
              <a:gd name="T47" fmla="*/ 2147483647 h 1374"/>
              <a:gd name="T48" fmla="*/ 2147483647 w 601"/>
              <a:gd name="T49" fmla="*/ 2147483647 h 1374"/>
              <a:gd name="T50" fmla="*/ 2147483647 w 601"/>
              <a:gd name="T51" fmla="*/ 2147483647 h 1374"/>
              <a:gd name="T52" fmla="*/ 2147483647 w 601"/>
              <a:gd name="T53" fmla="*/ 2147483647 h 1374"/>
              <a:gd name="T54" fmla="*/ 2147483647 w 601"/>
              <a:gd name="T55" fmla="*/ 2147483647 h 1374"/>
              <a:gd name="T56" fmla="*/ 2147483647 w 601"/>
              <a:gd name="T57" fmla="*/ 2147483647 h 1374"/>
              <a:gd name="T58" fmla="*/ 2147483647 w 601"/>
              <a:gd name="T59" fmla="*/ 2147483647 h 1374"/>
              <a:gd name="T60" fmla="*/ 2147483647 w 601"/>
              <a:gd name="T61" fmla="*/ 2147483647 h 1374"/>
              <a:gd name="T62" fmla="*/ 2147483647 w 601"/>
              <a:gd name="T63" fmla="*/ 2147483647 h 1374"/>
              <a:gd name="T64" fmla="*/ 2147483647 w 601"/>
              <a:gd name="T65" fmla="*/ 2147483647 h 1374"/>
              <a:gd name="T66" fmla="*/ 2147483647 w 601"/>
              <a:gd name="T67" fmla="*/ 2147483647 h 1374"/>
              <a:gd name="T68" fmla="*/ 2147483647 w 601"/>
              <a:gd name="T69" fmla="*/ 2147483647 h 1374"/>
              <a:gd name="T70" fmla="*/ 2147483647 w 601"/>
              <a:gd name="T71" fmla="*/ 2147483647 h 1374"/>
              <a:gd name="T72" fmla="*/ 2147483647 w 601"/>
              <a:gd name="T73" fmla="*/ 2147483647 h 1374"/>
              <a:gd name="T74" fmla="*/ 0 w 601"/>
              <a:gd name="T75" fmla="*/ 2147483647 h 1374"/>
              <a:gd name="T76" fmla="*/ 2147483647 w 601"/>
              <a:gd name="T77" fmla="*/ 2147483647 h 1374"/>
              <a:gd name="T78" fmla="*/ 2147483647 w 601"/>
              <a:gd name="T79" fmla="*/ 2147483647 h 1374"/>
              <a:gd name="T80" fmla="*/ 2147483647 w 601"/>
              <a:gd name="T81" fmla="*/ 2147483647 h 1374"/>
              <a:gd name="T82" fmla="*/ 2147483647 w 601"/>
              <a:gd name="T83" fmla="*/ 2147483647 h 1374"/>
              <a:gd name="T84" fmla="*/ 2147483647 w 601"/>
              <a:gd name="T85" fmla="*/ 2147483647 h 1374"/>
              <a:gd name="T86" fmla="*/ 2147483647 w 601"/>
              <a:gd name="T87" fmla="*/ 2147483647 h 1374"/>
              <a:gd name="T88" fmla="*/ 2147483647 w 601"/>
              <a:gd name="T89" fmla="*/ 2147483647 h 1374"/>
              <a:gd name="T90" fmla="*/ 2147483647 w 601"/>
              <a:gd name="T91" fmla="*/ 2147483647 h 1374"/>
              <a:gd name="T92" fmla="*/ 2147483647 w 601"/>
              <a:gd name="T93" fmla="*/ 2147483647 h 1374"/>
              <a:gd name="T94" fmla="*/ 2147483647 w 601"/>
              <a:gd name="T95" fmla="*/ 2147483647 h 1374"/>
              <a:gd name="T96" fmla="*/ 2147483647 w 601"/>
              <a:gd name="T97" fmla="*/ 2147483647 h 1374"/>
              <a:gd name="T98" fmla="*/ 2147483647 w 601"/>
              <a:gd name="T99" fmla="*/ 2147483647 h 1374"/>
              <a:gd name="T100" fmla="*/ 2147483647 w 601"/>
              <a:gd name="T101" fmla="*/ 2147483647 h 1374"/>
              <a:gd name="T102" fmla="*/ 2147483647 w 601"/>
              <a:gd name="T103" fmla="*/ 2147483647 h 1374"/>
              <a:gd name="T104" fmla="*/ 2147483647 w 601"/>
              <a:gd name="T105" fmla="*/ 2147483647 h 1374"/>
              <a:gd name="T106" fmla="*/ 2147483647 w 601"/>
              <a:gd name="T107" fmla="*/ 2147483647 h 1374"/>
              <a:gd name="T108" fmla="*/ 2147483647 w 601"/>
              <a:gd name="T109" fmla="*/ 2147483647 h 1374"/>
              <a:gd name="T110" fmla="*/ 2147483647 w 601"/>
              <a:gd name="T111" fmla="*/ 2147483647 h 1374"/>
              <a:gd name="T112" fmla="*/ 2147483647 w 601"/>
              <a:gd name="T113" fmla="*/ 2147483647 h 1374"/>
              <a:gd name="T114" fmla="*/ 2147483647 w 601"/>
              <a:gd name="T115" fmla="*/ 2147483647 h 1374"/>
              <a:gd name="T116" fmla="*/ 2147483647 w 601"/>
              <a:gd name="T117" fmla="*/ 2147483647 h 1374"/>
              <a:gd name="T118" fmla="*/ 2147483647 w 601"/>
              <a:gd name="T119" fmla="*/ 2147483647 h 1374"/>
              <a:gd name="T120" fmla="*/ 2147483647 w 601"/>
              <a:gd name="T121" fmla="*/ 2147483647 h 1374"/>
              <a:gd name="T122" fmla="*/ 2147483647 w 601"/>
              <a:gd name="T123" fmla="*/ 2147483647 h 1374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601"/>
              <a:gd name="T187" fmla="*/ 0 h 1374"/>
              <a:gd name="T188" fmla="*/ 601 w 601"/>
              <a:gd name="T189" fmla="*/ 1374 h 1374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601" h="1374">
                <a:moveTo>
                  <a:pt x="599" y="376"/>
                </a:moveTo>
                <a:lnTo>
                  <a:pt x="601" y="387"/>
                </a:lnTo>
                <a:lnTo>
                  <a:pt x="594" y="395"/>
                </a:lnTo>
                <a:lnTo>
                  <a:pt x="581" y="384"/>
                </a:lnTo>
                <a:lnTo>
                  <a:pt x="559" y="387"/>
                </a:lnTo>
                <a:lnTo>
                  <a:pt x="556" y="396"/>
                </a:lnTo>
                <a:lnTo>
                  <a:pt x="523" y="381"/>
                </a:lnTo>
                <a:lnTo>
                  <a:pt x="517" y="399"/>
                </a:lnTo>
                <a:lnTo>
                  <a:pt x="517" y="413"/>
                </a:lnTo>
                <a:lnTo>
                  <a:pt x="500" y="399"/>
                </a:lnTo>
                <a:lnTo>
                  <a:pt x="508" y="420"/>
                </a:lnTo>
                <a:lnTo>
                  <a:pt x="477" y="442"/>
                </a:lnTo>
                <a:lnTo>
                  <a:pt x="484" y="464"/>
                </a:lnTo>
                <a:lnTo>
                  <a:pt x="464" y="500"/>
                </a:lnTo>
                <a:lnTo>
                  <a:pt x="484" y="543"/>
                </a:lnTo>
                <a:lnTo>
                  <a:pt x="475" y="555"/>
                </a:lnTo>
                <a:lnTo>
                  <a:pt x="475" y="542"/>
                </a:lnTo>
                <a:lnTo>
                  <a:pt x="472" y="546"/>
                </a:lnTo>
                <a:lnTo>
                  <a:pt x="434" y="610"/>
                </a:lnTo>
                <a:lnTo>
                  <a:pt x="396" y="636"/>
                </a:lnTo>
                <a:lnTo>
                  <a:pt x="389" y="631"/>
                </a:lnTo>
                <a:lnTo>
                  <a:pt x="366" y="659"/>
                </a:lnTo>
                <a:lnTo>
                  <a:pt x="350" y="657"/>
                </a:lnTo>
                <a:lnTo>
                  <a:pt x="345" y="678"/>
                </a:lnTo>
                <a:lnTo>
                  <a:pt x="332" y="690"/>
                </a:lnTo>
                <a:lnTo>
                  <a:pt x="335" y="695"/>
                </a:lnTo>
                <a:lnTo>
                  <a:pt x="330" y="704"/>
                </a:lnTo>
                <a:lnTo>
                  <a:pt x="316" y="712"/>
                </a:lnTo>
                <a:lnTo>
                  <a:pt x="308" y="698"/>
                </a:lnTo>
                <a:lnTo>
                  <a:pt x="310" y="730"/>
                </a:lnTo>
                <a:lnTo>
                  <a:pt x="299" y="743"/>
                </a:lnTo>
                <a:lnTo>
                  <a:pt x="286" y="737"/>
                </a:lnTo>
                <a:lnTo>
                  <a:pt x="286" y="749"/>
                </a:lnTo>
                <a:lnTo>
                  <a:pt x="294" y="763"/>
                </a:lnTo>
                <a:lnTo>
                  <a:pt x="286" y="796"/>
                </a:lnTo>
                <a:lnTo>
                  <a:pt x="290" y="821"/>
                </a:lnTo>
                <a:lnTo>
                  <a:pt x="276" y="814"/>
                </a:lnTo>
                <a:lnTo>
                  <a:pt x="274" y="833"/>
                </a:lnTo>
                <a:lnTo>
                  <a:pt x="281" y="897"/>
                </a:lnTo>
                <a:lnTo>
                  <a:pt x="277" y="913"/>
                </a:lnTo>
                <a:lnTo>
                  <a:pt x="285" y="914"/>
                </a:lnTo>
                <a:lnTo>
                  <a:pt x="282" y="933"/>
                </a:lnTo>
                <a:lnTo>
                  <a:pt x="240" y="958"/>
                </a:lnTo>
                <a:lnTo>
                  <a:pt x="235" y="964"/>
                </a:lnTo>
                <a:lnTo>
                  <a:pt x="264" y="958"/>
                </a:lnTo>
                <a:lnTo>
                  <a:pt x="279" y="947"/>
                </a:lnTo>
                <a:lnTo>
                  <a:pt x="294" y="919"/>
                </a:lnTo>
                <a:lnTo>
                  <a:pt x="301" y="928"/>
                </a:lnTo>
                <a:lnTo>
                  <a:pt x="315" y="927"/>
                </a:lnTo>
                <a:lnTo>
                  <a:pt x="319" y="943"/>
                </a:lnTo>
                <a:lnTo>
                  <a:pt x="339" y="952"/>
                </a:lnTo>
                <a:lnTo>
                  <a:pt x="332" y="955"/>
                </a:lnTo>
                <a:lnTo>
                  <a:pt x="356" y="987"/>
                </a:lnTo>
                <a:lnTo>
                  <a:pt x="339" y="1021"/>
                </a:lnTo>
                <a:lnTo>
                  <a:pt x="311" y="1035"/>
                </a:lnTo>
                <a:lnTo>
                  <a:pt x="299" y="1021"/>
                </a:lnTo>
                <a:lnTo>
                  <a:pt x="279" y="1024"/>
                </a:lnTo>
                <a:lnTo>
                  <a:pt x="271" y="1018"/>
                </a:lnTo>
                <a:lnTo>
                  <a:pt x="239" y="1024"/>
                </a:lnTo>
                <a:lnTo>
                  <a:pt x="243" y="1028"/>
                </a:lnTo>
                <a:lnTo>
                  <a:pt x="276" y="1035"/>
                </a:lnTo>
                <a:lnTo>
                  <a:pt x="282" y="1045"/>
                </a:lnTo>
                <a:lnTo>
                  <a:pt x="342" y="1038"/>
                </a:lnTo>
                <a:lnTo>
                  <a:pt x="336" y="1048"/>
                </a:lnTo>
                <a:lnTo>
                  <a:pt x="327" y="1043"/>
                </a:lnTo>
                <a:lnTo>
                  <a:pt x="330" y="1055"/>
                </a:lnTo>
                <a:lnTo>
                  <a:pt x="311" y="1075"/>
                </a:lnTo>
                <a:lnTo>
                  <a:pt x="301" y="1075"/>
                </a:lnTo>
                <a:lnTo>
                  <a:pt x="301" y="1065"/>
                </a:lnTo>
                <a:lnTo>
                  <a:pt x="294" y="1063"/>
                </a:lnTo>
                <a:lnTo>
                  <a:pt x="290" y="1080"/>
                </a:lnTo>
                <a:lnTo>
                  <a:pt x="268" y="1097"/>
                </a:lnTo>
                <a:lnTo>
                  <a:pt x="235" y="1099"/>
                </a:lnTo>
                <a:lnTo>
                  <a:pt x="231" y="1102"/>
                </a:lnTo>
                <a:lnTo>
                  <a:pt x="259" y="1108"/>
                </a:lnTo>
                <a:lnTo>
                  <a:pt x="262" y="1112"/>
                </a:lnTo>
                <a:lnTo>
                  <a:pt x="245" y="1114"/>
                </a:lnTo>
                <a:lnTo>
                  <a:pt x="242" y="1116"/>
                </a:lnTo>
                <a:lnTo>
                  <a:pt x="257" y="1129"/>
                </a:lnTo>
                <a:lnTo>
                  <a:pt x="256" y="1162"/>
                </a:lnTo>
                <a:lnTo>
                  <a:pt x="245" y="1163"/>
                </a:lnTo>
                <a:lnTo>
                  <a:pt x="252" y="1182"/>
                </a:lnTo>
                <a:lnTo>
                  <a:pt x="247" y="1190"/>
                </a:lnTo>
                <a:lnTo>
                  <a:pt x="252" y="1204"/>
                </a:lnTo>
                <a:lnTo>
                  <a:pt x="243" y="1224"/>
                </a:lnTo>
                <a:lnTo>
                  <a:pt x="240" y="1263"/>
                </a:lnTo>
                <a:lnTo>
                  <a:pt x="220" y="1314"/>
                </a:lnTo>
                <a:lnTo>
                  <a:pt x="171" y="1309"/>
                </a:lnTo>
                <a:lnTo>
                  <a:pt x="160" y="1324"/>
                </a:lnTo>
                <a:lnTo>
                  <a:pt x="151" y="1320"/>
                </a:lnTo>
                <a:lnTo>
                  <a:pt x="143" y="1343"/>
                </a:lnTo>
                <a:lnTo>
                  <a:pt x="146" y="1360"/>
                </a:lnTo>
                <a:lnTo>
                  <a:pt x="137" y="1374"/>
                </a:lnTo>
                <a:lnTo>
                  <a:pt x="78" y="1374"/>
                </a:lnTo>
                <a:lnTo>
                  <a:pt x="86" y="1354"/>
                </a:lnTo>
                <a:lnTo>
                  <a:pt x="62" y="1309"/>
                </a:lnTo>
                <a:lnTo>
                  <a:pt x="76" y="1307"/>
                </a:lnTo>
                <a:lnTo>
                  <a:pt x="70" y="1294"/>
                </a:lnTo>
                <a:lnTo>
                  <a:pt x="83" y="1289"/>
                </a:lnTo>
                <a:lnTo>
                  <a:pt x="83" y="1281"/>
                </a:lnTo>
                <a:lnTo>
                  <a:pt x="53" y="1247"/>
                </a:lnTo>
                <a:lnTo>
                  <a:pt x="42" y="1210"/>
                </a:lnTo>
                <a:lnTo>
                  <a:pt x="34" y="1210"/>
                </a:lnTo>
                <a:lnTo>
                  <a:pt x="37" y="1171"/>
                </a:lnTo>
                <a:lnTo>
                  <a:pt x="27" y="1173"/>
                </a:lnTo>
                <a:lnTo>
                  <a:pt x="27" y="1151"/>
                </a:lnTo>
                <a:lnTo>
                  <a:pt x="13" y="1146"/>
                </a:lnTo>
                <a:lnTo>
                  <a:pt x="24" y="1134"/>
                </a:lnTo>
                <a:lnTo>
                  <a:pt x="19" y="1133"/>
                </a:lnTo>
                <a:lnTo>
                  <a:pt x="22" y="1125"/>
                </a:lnTo>
                <a:lnTo>
                  <a:pt x="11" y="1134"/>
                </a:lnTo>
                <a:lnTo>
                  <a:pt x="11" y="1125"/>
                </a:lnTo>
                <a:lnTo>
                  <a:pt x="5" y="1114"/>
                </a:lnTo>
                <a:lnTo>
                  <a:pt x="0" y="1072"/>
                </a:lnTo>
                <a:lnTo>
                  <a:pt x="5" y="1062"/>
                </a:lnTo>
                <a:lnTo>
                  <a:pt x="7" y="1083"/>
                </a:lnTo>
                <a:lnTo>
                  <a:pt x="10" y="1072"/>
                </a:lnTo>
                <a:lnTo>
                  <a:pt x="13" y="1080"/>
                </a:lnTo>
                <a:lnTo>
                  <a:pt x="20" y="1075"/>
                </a:lnTo>
                <a:lnTo>
                  <a:pt x="27" y="1043"/>
                </a:lnTo>
                <a:lnTo>
                  <a:pt x="22" y="1020"/>
                </a:lnTo>
                <a:lnTo>
                  <a:pt x="32" y="1001"/>
                </a:lnTo>
                <a:lnTo>
                  <a:pt x="32" y="989"/>
                </a:lnTo>
                <a:lnTo>
                  <a:pt x="61" y="972"/>
                </a:lnTo>
                <a:lnTo>
                  <a:pt x="58" y="952"/>
                </a:lnTo>
                <a:lnTo>
                  <a:pt x="64" y="927"/>
                </a:lnTo>
                <a:lnTo>
                  <a:pt x="58" y="899"/>
                </a:lnTo>
                <a:lnTo>
                  <a:pt x="49" y="887"/>
                </a:lnTo>
                <a:lnTo>
                  <a:pt x="73" y="868"/>
                </a:lnTo>
                <a:lnTo>
                  <a:pt x="78" y="853"/>
                </a:lnTo>
                <a:lnTo>
                  <a:pt x="75" y="834"/>
                </a:lnTo>
                <a:lnTo>
                  <a:pt x="50" y="809"/>
                </a:lnTo>
                <a:lnTo>
                  <a:pt x="50" y="757"/>
                </a:lnTo>
                <a:lnTo>
                  <a:pt x="44" y="732"/>
                </a:lnTo>
                <a:lnTo>
                  <a:pt x="56" y="681"/>
                </a:lnTo>
                <a:lnTo>
                  <a:pt x="44" y="648"/>
                </a:lnTo>
                <a:lnTo>
                  <a:pt x="53" y="619"/>
                </a:lnTo>
                <a:lnTo>
                  <a:pt x="88" y="585"/>
                </a:lnTo>
                <a:lnTo>
                  <a:pt x="132" y="585"/>
                </a:lnTo>
                <a:lnTo>
                  <a:pt x="140" y="572"/>
                </a:lnTo>
                <a:lnTo>
                  <a:pt x="143" y="546"/>
                </a:lnTo>
                <a:lnTo>
                  <a:pt x="124" y="517"/>
                </a:lnTo>
                <a:lnTo>
                  <a:pt x="154" y="459"/>
                </a:lnTo>
                <a:lnTo>
                  <a:pt x="163" y="415"/>
                </a:lnTo>
                <a:lnTo>
                  <a:pt x="163" y="361"/>
                </a:lnTo>
                <a:lnTo>
                  <a:pt x="192" y="345"/>
                </a:lnTo>
                <a:lnTo>
                  <a:pt x="203" y="305"/>
                </a:lnTo>
                <a:lnTo>
                  <a:pt x="245" y="246"/>
                </a:lnTo>
                <a:lnTo>
                  <a:pt x="245" y="227"/>
                </a:lnTo>
                <a:lnTo>
                  <a:pt x="235" y="209"/>
                </a:lnTo>
                <a:lnTo>
                  <a:pt x="254" y="175"/>
                </a:lnTo>
                <a:lnTo>
                  <a:pt x="259" y="149"/>
                </a:lnTo>
                <a:lnTo>
                  <a:pt x="293" y="121"/>
                </a:lnTo>
                <a:lnTo>
                  <a:pt x="315" y="139"/>
                </a:lnTo>
                <a:lnTo>
                  <a:pt x="327" y="107"/>
                </a:lnTo>
                <a:lnTo>
                  <a:pt x="327" y="80"/>
                </a:lnTo>
                <a:lnTo>
                  <a:pt x="335" y="68"/>
                </a:lnTo>
                <a:lnTo>
                  <a:pt x="413" y="80"/>
                </a:lnTo>
                <a:lnTo>
                  <a:pt x="418" y="73"/>
                </a:lnTo>
                <a:lnTo>
                  <a:pt x="408" y="56"/>
                </a:lnTo>
                <a:lnTo>
                  <a:pt x="421" y="22"/>
                </a:lnTo>
                <a:lnTo>
                  <a:pt x="417" y="2"/>
                </a:lnTo>
                <a:lnTo>
                  <a:pt x="440" y="0"/>
                </a:lnTo>
                <a:lnTo>
                  <a:pt x="505" y="68"/>
                </a:lnTo>
                <a:lnTo>
                  <a:pt x="548" y="90"/>
                </a:lnTo>
                <a:lnTo>
                  <a:pt x="577" y="139"/>
                </a:lnTo>
                <a:lnTo>
                  <a:pt x="573" y="186"/>
                </a:lnTo>
                <a:lnTo>
                  <a:pt x="581" y="217"/>
                </a:lnTo>
                <a:lnTo>
                  <a:pt x="576" y="234"/>
                </a:lnTo>
                <a:lnTo>
                  <a:pt x="594" y="286"/>
                </a:lnTo>
                <a:lnTo>
                  <a:pt x="594" y="305"/>
                </a:lnTo>
                <a:lnTo>
                  <a:pt x="582" y="330"/>
                </a:lnTo>
                <a:lnTo>
                  <a:pt x="599" y="376"/>
                </a:lnTo>
                <a:close/>
                <a:moveTo>
                  <a:pt x="322" y="1246"/>
                </a:moveTo>
                <a:lnTo>
                  <a:pt x="358" y="1207"/>
                </a:lnTo>
                <a:lnTo>
                  <a:pt x="353" y="1182"/>
                </a:lnTo>
                <a:lnTo>
                  <a:pt x="362" y="1165"/>
                </a:lnTo>
                <a:lnTo>
                  <a:pt x="345" y="1165"/>
                </a:lnTo>
                <a:lnTo>
                  <a:pt x="324" y="1193"/>
                </a:lnTo>
                <a:lnTo>
                  <a:pt x="322" y="1224"/>
                </a:lnTo>
                <a:lnTo>
                  <a:pt x="328" y="1235"/>
                </a:lnTo>
                <a:lnTo>
                  <a:pt x="322" y="1246"/>
                </a:lnTo>
                <a:close/>
                <a:moveTo>
                  <a:pt x="240" y="1303"/>
                </a:moveTo>
                <a:lnTo>
                  <a:pt x="251" y="1287"/>
                </a:lnTo>
                <a:lnTo>
                  <a:pt x="273" y="1212"/>
                </a:lnTo>
                <a:lnTo>
                  <a:pt x="245" y="1272"/>
                </a:lnTo>
                <a:lnTo>
                  <a:pt x="240" y="1303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12" name="Freeform 201"/>
          <p:cNvSpPr>
            <a:spLocks noChangeAspect="1" noEditPoints="1"/>
          </p:cNvSpPr>
          <p:nvPr/>
        </p:nvSpPr>
        <p:spPr bwMode="gray">
          <a:xfrm>
            <a:off x="4846638" y="1604963"/>
            <a:ext cx="265112" cy="546100"/>
          </a:xfrm>
          <a:custGeom>
            <a:avLst/>
            <a:gdLst>
              <a:gd name="T0" fmla="*/ 2147483647 w 545"/>
              <a:gd name="T1" fmla="*/ 2147483647 h 1124"/>
              <a:gd name="T2" fmla="*/ 2147483647 w 545"/>
              <a:gd name="T3" fmla="*/ 2147483647 h 1124"/>
              <a:gd name="T4" fmla="*/ 2147483647 w 545"/>
              <a:gd name="T5" fmla="*/ 2147483647 h 1124"/>
              <a:gd name="T6" fmla="*/ 2147483647 w 545"/>
              <a:gd name="T7" fmla="*/ 2147483647 h 1124"/>
              <a:gd name="T8" fmla="*/ 2147483647 w 545"/>
              <a:gd name="T9" fmla="*/ 2147483647 h 1124"/>
              <a:gd name="T10" fmla="*/ 2147483647 w 545"/>
              <a:gd name="T11" fmla="*/ 2147483647 h 1124"/>
              <a:gd name="T12" fmla="*/ 2147483647 w 545"/>
              <a:gd name="T13" fmla="*/ 2147483647 h 1124"/>
              <a:gd name="T14" fmla="*/ 2147483647 w 545"/>
              <a:gd name="T15" fmla="*/ 2147483647 h 1124"/>
              <a:gd name="T16" fmla="*/ 2147483647 w 545"/>
              <a:gd name="T17" fmla="*/ 2147483647 h 1124"/>
              <a:gd name="T18" fmla="*/ 2147483647 w 545"/>
              <a:gd name="T19" fmla="*/ 2147483647 h 1124"/>
              <a:gd name="T20" fmla="*/ 2147483647 w 545"/>
              <a:gd name="T21" fmla="*/ 2147483647 h 1124"/>
              <a:gd name="T22" fmla="*/ 2147483647 w 545"/>
              <a:gd name="T23" fmla="*/ 2147483647 h 1124"/>
              <a:gd name="T24" fmla="*/ 2147483647 w 545"/>
              <a:gd name="T25" fmla="*/ 2147483647 h 1124"/>
              <a:gd name="T26" fmla="*/ 2147483647 w 545"/>
              <a:gd name="T27" fmla="*/ 2147483647 h 1124"/>
              <a:gd name="T28" fmla="*/ 2147483647 w 545"/>
              <a:gd name="T29" fmla="*/ 2147483647 h 1124"/>
              <a:gd name="T30" fmla="*/ 2147483647 w 545"/>
              <a:gd name="T31" fmla="*/ 2147483647 h 1124"/>
              <a:gd name="T32" fmla="*/ 2147483647 w 545"/>
              <a:gd name="T33" fmla="*/ 2147483647 h 1124"/>
              <a:gd name="T34" fmla="*/ 2147483647 w 545"/>
              <a:gd name="T35" fmla="*/ 2147483647 h 1124"/>
              <a:gd name="T36" fmla="*/ 2147483647 w 545"/>
              <a:gd name="T37" fmla="*/ 2147483647 h 1124"/>
              <a:gd name="T38" fmla="*/ 2147483647 w 545"/>
              <a:gd name="T39" fmla="*/ 2147483647 h 1124"/>
              <a:gd name="T40" fmla="*/ 2147483647 w 545"/>
              <a:gd name="T41" fmla="*/ 2147483647 h 1124"/>
              <a:gd name="T42" fmla="*/ 2147483647 w 545"/>
              <a:gd name="T43" fmla="*/ 2147483647 h 1124"/>
              <a:gd name="T44" fmla="*/ 2147483647 w 545"/>
              <a:gd name="T45" fmla="*/ 2147483647 h 1124"/>
              <a:gd name="T46" fmla="*/ 2147483647 w 545"/>
              <a:gd name="T47" fmla="*/ 2147483647 h 1124"/>
              <a:gd name="T48" fmla="*/ 2147483647 w 545"/>
              <a:gd name="T49" fmla="*/ 2147483647 h 1124"/>
              <a:gd name="T50" fmla="*/ 2147483647 w 545"/>
              <a:gd name="T51" fmla="*/ 2147483647 h 1124"/>
              <a:gd name="T52" fmla="*/ 2147483647 w 545"/>
              <a:gd name="T53" fmla="*/ 2147483647 h 1124"/>
              <a:gd name="T54" fmla="*/ 2147483647 w 545"/>
              <a:gd name="T55" fmla="*/ 2147483647 h 1124"/>
              <a:gd name="T56" fmla="*/ 2147483647 w 545"/>
              <a:gd name="T57" fmla="*/ 2147483647 h 1124"/>
              <a:gd name="T58" fmla="*/ 2147483647 w 545"/>
              <a:gd name="T59" fmla="*/ 2147483647 h 1124"/>
              <a:gd name="T60" fmla="*/ 2147483647 w 545"/>
              <a:gd name="T61" fmla="*/ 2147483647 h 1124"/>
              <a:gd name="T62" fmla="*/ 2147483647 w 545"/>
              <a:gd name="T63" fmla="*/ 2147483647 h 1124"/>
              <a:gd name="T64" fmla="*/ 2147483647 w 545"/>
              <a:gd name="T65" fmla="*/ 2147483647 h 1124"/>
              <a:gd name="T66" fmla="*/ 2147483647 w 545"/>
              <a:gd name="T67" fmla="*/ 2147483647 h 1124"/>
              <a:gd name="T68" fmla="*/ 2147483647 w 545"/>
              <a:gd name="T69" fmla="*/ 2147483647 h 1124"/>
              <a:gd name="T70" fmla="*/ 2147483647 w 545"/>
              <a:gd name="T71" fmla="*/ 2147483647 h 1124"/>
              <a:gd name="T72" fmla="*/ 2147483647 w 545"/>
              <a:gd name="T73" fmla="*/ 2147483647 h 1124"/>
              <a:gd name="T74" fmla="*/ 2147483647 w 545"/>
              <a:gd name="T75" fmla="*/ 2147483647 h 1124"/>
              <a:gd name="T76" fmla="*/ 2147483647 w 545"/>
              <a:gd name="T77" fmla="*/ 0 h 1124"/>
              <a:gd name="T78" fmla="*/ 2147483647 w 545"/>
              <a:gd name="T79" fmla="*/ 2147483647 h 1124"/>
              <a:gd name="T80" fmla="*/ 2147483647 w 545"/>
              <a:gd name="T81" fmla="*/ 2147483647 h 1124"/>
              <a:gd name="T82" fmla="*/ 2147483647 w 545"/>
              <a:gd name="T83" fmla="*/ 2147483647 h 1124"/>
              <a:gd name="T84" fmla="*/ 2147483647 w 545"/>
              <a:gd name="T85" fmla="*/ 2147483647 h 1124"/>
              <a:gd name="T86" fmla="*/ 2147483647 w 545"/>
              <a:gd name="T87" fmla="*/ 2147483647 h 1124"/>
              <a:gd name="T88" fmla="*/ 2147483647 w 545"/>
              <a:gd name="T89" fmla="*/ 2147483647 h 1124"/>
              <a:gd name="T90" fmla="*/ 2147483647 w 545"/>
              <a:gd name="T91" fmla="*/ 2147483647 h 1124"/>
              <a:gd name="T92" fmla="*/ 2147483647 w 545"/>
              <a:gd name="T93" fmla="*/ 2147483647 h 1124"/>
              <a:gd name="T94" fmla="*/ 2147483647 w 545"/>
              <a:gd name="T95" fmla="*/ 2147483647 h 1124"/>
              <a:gd name="T96" fmla="*/ 2147483647 w 545"/>
              <a:gd name="T97" fmla="*/ 2147483647 h 1124"/>
              <a:gd name="T98" fmla="*/ 2147483647 w 545"/>
              <a:gd name="T99" fmla="*/ 2147483647 h 1124"/>
              <a:gd name="T100" fmla="*/ 2147483647 w 545"/>
              <a:gd name="T101" fmla="*/ 2147483647 h 1124"/>
              <a:gd name="T102" fmla="*/ 0 w 545"/>
              <a:gd name="T103" fmla="*/ 2147483647 h 1124"/>
              <a:gd name="T104" fmla="*/ 2147483647 w 545"/>
              <a:gd name="T105" fmla="*/ 2147483647 h 1124"/>
              <a:gd name="T106" fmla="*/ 2147483647 w 545"/>
              <a:gd name="T107" fmla="*/ 2147483647 h 1124"/>
              <a:gd name="T108" fmla="*/ 2147483647 w 545"/>
              <a:gd name="T109" fmla="*/ 2147483647 h 112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545"/>
              <a:gd name="T166" fmla="*/ 0 h 1124"/>
              <a:gd name="T167" fmla="*/ 545 w 545"/>
              <a:gd name="T168" fmla="*/ 1124 h 1124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545" h="1124">
                <a:moveTo>
                  <a:pt x="45" y="132"/>
                </a:moveTo>
                <a:lnTo>
                  <a:pt x="110" y="200"/>
                </a:lnTo>
                <a:lnTo>
                  <a:pt x="153" y="222"/>
                </a:lnTo>
                <a:lnTo>
                  <a:pt x="182" y="271"/>
                </a:lnTo>
                <a:lnTo>
                  <a:pt x="178" y="318"/>
                </a:lnTo>
                <a:lnTo>
                  <a:pt x="186" y="349"/>
                </a:lnTo>
                <a:lnTo>
                  <a:pt x="181" y="366"/>
                </a:lnTo>
                <a:lnTo>
                  <a:pt x="199" y="418"/>
                </a:lnTo>
                <a:lnTo>
                  <a:pt x="199" y="437"/>
                </a:lnTo>
                <a:lnTo>
                  <a:pt x="187" y="462"/>
                </a:lnTo>
                <a:lnTo>
                  <a:pt x="204" y="508"/>
                </a:lnTo>
                <a:lnTo>
                  <a:pt x="229" y="520"/>
                </a:lnTo>
                <a:lnTo>
                  <a:pt x="232" y="523"/>
                </a:lnTo>
                <a:lnTo>
                  <a:pt x="260" y="564"/>
                </a:lnTo>
                <a:lnTo>
                  <a:pt x="266" y="576"/>
                </a:lnTo>
                <a:lnTo>
                  <a:pt x="263" y="599"/>
                </a:lnTo>
                <a:lnTo>
                  <a:pt x="272" y="616"/>
                </a:lnTo>
                <a:lnTo>
                  <a:pt x="266" y="615"/>
                </a:lnTo>
                <a:lnTo>
                  <a:pt x="266" y="630"/>
                </a:lnTo>
                <a:lnTo>
                  <a:pt x="233" y="632"/>
                </a:lnTo>
                <a:lnTo>
                  <a:pt x="224" y="661"/>
                </a:lnTo>
                <a:lnTo>
                  <a:pt x="178" y="718"/>
                </a:lnTo>
                <a:lnTo>
                  <a:pt x="144" y="771"/>
                </a:lnTo>
                <a:lnTo>
                  <a:pt x="122" y="797"/>
                </a:lnTo>
                <a:lnTo>
                  <a:pt x="96" y="796"/>
                </a:lnTo>
                <a:lnTo>
                  <a:pt x="91" y="808"/>
                </a:lnTo>
                <a:lnTo>
                  <a:pt x="97" y="816"/>
                </a:lnTo>
                <a:lnTo>
                  <a:pt x="94" y="818"/>
                </a:lnTo>
                <a:lnTo>
                  <a:pt x="80" y="819"/>
                </a:lnTo>
                <a:lnTo>
                  <a:pt x="62" y="855"/>
                </a:lnTo>
                <a:lnTo>
                  <a:pt x="72" y="894"/>
                </a:lnTo>
                <a:lnTo>
                  <a:pt x="71" y="916"/>
                </a:lnTo>
                <a:lnTo>
                  <a:pt x="93" y="969"/>
                </a:lnTo>
                <a:lnTo>
                  <a:pt x="80" y="969"/>
                </a:lnTo>
                <a:lnTo>
                  <a:pt x="82" y="997"/>
                </a:lnTo>
                <a:lnTo>
                  <a:pt x="72" y="1017"/>
                </a:lnTo>
                <a:lnTo>
                  <a:pt x="76" y="1036"/>
                </a:lnTo>
                <a:lnTo>
                  <a:pt x="82" y="1039"/>
                </a:lnTo>
                <a:lnTo>
                  <a:pt x="77" y="1050"/>
                </a:lnTo>
                <a:lnTo>
                  <a:pt x="127" y="1070"/>
                </a:lnTo>
                <a:lnTo>
                  <a:pt x="127" y="1080"/>
                </a:lnTo>
                <a:lnTo>
                  <a:pt x="133" y="1085"/>
                </a:lnTo>
                <a:lnTo>
                  <a:pt x="147" y="1077"/>
                </a:lnTo>
                <a:lnTo>
                  <a:pt x="147" y="1092"/>
                </a:lnTo>
                <a:lnTo>
                  <a:pt x="161" y="1113"/>
                </a:lnTo>
                <a:lnTo>
                  <a:pt x="150" y="1124"/>
                </a:lnTo>
                <a:lnTo>
                  <a:pt x="162" y="1121"/>
                </a:lnTo>
                <a:lnTo>
                  <a:pt x="170" y="1104"/>
                </a:lnTo>
                <a:lnTo>
                  <a:pt x="178" y="1116"/>
                </a:lnTo>
                <a:lnTo>
                  <a:pt x="216" y="1105"/>
                </a:lnTo>
                <a:lnTo>
                  <a:pt x="232" y="1092"/>
                </a:lnTo>
                <a:lnTo>
                  <a:pt x="263" y="1084"/>
                </a:lnTo>
                <a:lnTo>
                  <a:pt x="271" y="1071"/>
                </a:lnTo>
                <a:lnTo>
                  <a:pt x="274" y="1080"/>
                </a:lnTo>
                <a:lnTo>
                  <a:pt x="289" y="1075"/>
                </a:lnTo>
                <a:lnTo>
                  <a:pt x="288" y="1067"/>
                </a:lnTo>
                <a:lnTo>
                  <a:pt x="370" y="1056"/>
                </a:lnTo>
                <a:lnTo>
                  <a:pt x="475" y="957"/>
                </a:lnTo>
                <a:lnTo>
                  <a:pt x="543" y="850"/>
                </a:lnTo>
                <a:lnTo>
                  <a:pt x="545" y="818"/>
                </a:lnTo>
                <a:lnTo>
                  <a:pt x="490" y="748"/>
                </a:lnTo>
                <a:lnTo>
                  <a:pt x="507" y="691"/>
                </a:lnTo>
                <a:lnTo>
                  <a:pt x="487" y="664"/>
                </a:lnTo>
                <a:lnTo>
                  <a:pt x="482" y="633"/>
                </a:lnTo>
                <a:lnTo>
                  <a:pt x="469" y="629"/>
                </a:lnTo>
                <a:lnTo>
                  <a:pt x="469" y="579"/>
                </a:lnTo>
                <a:lnTo>
                  <a:pt x="486" y="523"/>
                </a:lnTo>
                <a:lnTo>
                  <a:pt x="444" y="393"/>
                </a:lnTo>
                <a:lnTo>
                  <a:pt x="481" y="315"/>
                </a:lnTo>
                <a:lnTo>
                  <a:pt x="477" y="296"/>
                </a:lnTo>
                <a:lnTo>
                  <a:pt x="452" y="253"/>
                </a:lnTo>
                <a:lnTo>
                  <a:pt x="419" y="239"/>
                </a:lnTo>
                <a:lnTo>
                  <a:pt x="411" y="188"/>
                </a:lnTo>
                <a:lnTo>
                  <a:pt x="436" y="132"/>
                </a:lnTo>
                <a:lnTo>
                  <a:pt x="428" y="117"/>
                </a:lnTo>
                <a:lnTo>
                  <a:pt x="448" y="87"/>
                </a:lnTo>
                <a:lnTo>
                  <a:pt x="441" y="50"/>
                </a:lnTo>
                <a:lnTo>
                  <a:pt x="388" y="0"/>
                </a:lnTo>
                <a:lnTo>
                  <a:pt x="342" y="19"/>
                </a:lnTo>
                <a:lnTo>
                  <a:pt x="296" y="38"/>
                </a:lnTo>
                <a:lnTo>
                  <a:pt x="286" y="64"/>
                </a:lnTo>
                <a:lnTo>
                  <a:pt x="283" y="141"/>
                </a:lnTo>
                <a:lnTo>
                  <a:pt x="230" y="181"/>
                </a:lnTo>
                <a:lnTo>
                  <a:pt x="204" y="155"/>
                </a:lnTo>
                <a:lnTo>
                  <a:pt x="176" y="180"/>
                </a:lnTo>
                <a:lnTo>
                  <a:pt x="131" y="171"/>
                </a:lnTo>
                <a:lnTo>
                  <a:pt x="97" y="112"/>
                </a:lnTo>
                <a:lnTo>
                  <a:pt x="76" y="96"/>
                </a:lnTo>
                <a:lnTo>
                  <a:pt x="65" y="101"/>
                </a:lnTo>
                <a:lnTo>
                  <a:pt x="69" y="124"/>
                </a:lnTo>
                <a:lnTo>
                  <a:pt x="45" y="132"/>
                </a:lnTo>
                <a:close/>
                <a:moveTo>
                  <a:pt x="136" y="1107"/>
                </a:moveTo>
                <a:lnTo>
                  <a:pt x="144" y="1084"/>
                </a:lnTo>
                <a:lnTo>
                  <a:pt x="128" y="1092"/>
                </a:lnTo>
                <a:lnTo>
                  <a:pt x="123" y="1105"/>
                </a:lnTo>
                <a:lnTo>
                  <a:pt x="136" y="1107"/>
                </a:lnTo>
                <a:close/>
                <a:moveTo>
                  <a:pt x="99" y="1092"/>
                </a:moveTo>
                <a:lnTo>
                  <a:pt x="91" y="1096"/>
                </a:lnTo>
                <a:lnTo>
                  <a:pt x="99" y="1099"/>
                </a:lnTo>
                <a:lnTo>
                  <a:pt x="99" y="1092"/>
                </a:lnTo>
                <a:close/>
                <a:moveTo>
                  <a:pt x="17" y="1075"/>
                </a:moveTo>
                <a:lnTo>
                  <a:pt x="3" y="1075"/>
                </a:lnTo>
                <a:lnTo>
                  <a:pt x="6" y="1085"/>
                </a:lnTo>
                <a:lnTo>
                  <a:pt x="0" y="1084"/>
                </a:lnTo>
                <a:lnTo>
                  <a:pt x="0" y="1099"/>
                </a:lnTo>
                <a:lnTo>
                  <a:pt x="18" y="1109"/>
                </a:lnTo>
                <a:lnTo>
                  <a:pt x="22" y="1104"/>
                </a:lnTo>
                <a:lnTo>
                  <a:pt x="13" y="1093"/>
                </a:lnTo>
                <a:lnTo>
                  <a:pt x="20" y="1085"/>
                </a:lnTo>
                <a:lnTo>
                  <a:pt x="17" y="1075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13" name="Freeform 202"/>
          <p:cNvSpPr>
            <a:spLocks noChangeAspect="1" noEditPoints="1"/>
          </p:cNvSpPr>
          <p:nvPr/>
        </p:nvSpPr>
        <p:spPr bwMode="gray">
          <a:xfrm>
            <a:off x="4586288" y="2243138"/>
            <a:ext cx="155575" cy="127000"/>
          </a:xfrm>
          <a:custGeom>
            <a:avLst/>
            <a:gdLst>
              <a:gd name="T0" fmla="*/ 2147483647 w 320"/>
              <a:gd name="T1" fmla="*/ 2147483647 h 259"/>
              <a:gd name="T2" fmla="*/ 2147483647 w 320"/>
              <a:gd name="T3" fmla="*/ 2147483647 h 259"/>
              <a:gd name="T4" fmla="*/ 2147483647 w 320"/>
              <a:gd name="T5" fmla="*/ 2147483647 h 259"/>
              <a:gd name="T6" fmla="*/ 2147483647 w 320"/>
              <a:gd name="T7" fmla="*/ 2147483647 h 259"/>
              <a:gd name="T8" fmla="*/ 2147483647 w 320"/>
              <a:gd name="T9" fmla="*/ 2147483647 h 259"/>
              <a:gd name="T10" fmla="*/ 2147483647 w 320"/>
              <a:gd name="T11" fmla="*/ 2147483647 h 259"/>
              <a:gd name="T12" fmla="*/ 2147483647 w 320"/>
              <a:gd name="T13" fmla="*/ 2147483647 h 259"/>
              <a:gd name="T14" fmla="*/ 2147483647 w 320"/>
              <a:gd name="T15" fmla="*/ 2147483647 h 259"/>
              <a:gd name="T16" fmla="*/ 2147483647 w 320"/>
              <a:gd name="T17" fmla="*/ 2147483647 h 259"/>
              <a:gd name="T18" fmla="*/ 2147483647 w 320"/>
              <a:gd name="T19" fmla="*/ 2147483647 h 259"/>
              <a:gd name="T20" fmla="*/ 2147483647 w 320"/>
              <a:gd name="T21" fmla="*/ 2147483647 h 259"/>
              <a:gd name="T22" fmla="*/ 2147483647 w 320"/>
              <a:gd name="T23" fmla="*/ 2147483647 h 259"/>
              <a:gd name="T24" fmla="*/ 2147483647 w 320"/>
              <a:gd name="T25" fmla="*/ 2147483647 h 259"/>
              <a:gd name="T26" fmla="*/ 2147483647 w 320"/>
              <a:gd name="T27" fmla="*/ 2147483647 h 259"/>
              <a:gd name="T28" fmla="*/ 2147483647 w 320"/>
              <a:gd name="T29" fmla="*/ 2147483647 h 259"/>
              <a:gd name="T30" fmla="*/ 2147483647 w 320"/>
              <a:gd name="T31" fmla="*/ 2147483647 h 259"/>
              <a:gd name="T32" fmla="*/ 2147483647 w 320"/>
              <a:gd name="T33" fmla="*/ 2147483647 h 259"/>
              <a:gd name="T34" fmla="*/ 2147483647 w 320"/>
              <a:gd name="T35" fmla="*/ 2147483647 h 259"/>
              <a:gd name="T36" fmla="*/ 2147483647 w 320"/>
              <a:gd name="T37" fmla="*/ 2147483647 h 259"/>
              <a:gd name="T38" fmla="*/ 2147483647 w 320"/>
              <a:gd name="T39" fmla="*/ 2147483647 h 259"/>
              <a:gd name="T40" fmla="*/ 2147483647 w 320"/>
              <a:gd name="T41" fmla="*/ 2147483647 h 259"/>
              <a:gd name="T42" fmla="*/ 2147483647 w 320"/>
              <a:gd name="T43" fmla="*/ 2147483647 h 259"/>
              <a:gd name="T44" fmla="*/ 2147483647 w 320"/>
              <a:gd name="T45" fmla="*/ 2147483647 h 259"/>
              <a:gd name="T46" fmla="*/ 2147483647 w 320"/>
              <a:gd name="T47" fmla="*/ 2147483647 h 259"/>
              <a:gd name="T48" fmla="*/ 2147483647 w 320"/>
              <a:gd name="T49" fmla="*/ 2147483647 h 259"/>
              <a:gd name="T50" fmla="*/ 2147483647 w 320"/>
              <a:gd name="T51" fmla="*/ 2147483647 h 259"/>
              <a:gd name="T52" fmla="*/ 2147483647 w 320"/>
              <a:gd name="T53" fmla="*/ 2147483647 h 259"/>
              <a:gd name="T54" fmla="*/ 2147483647 w 320"/>
              <a:gd name="T55" fmla="*/ 2147483647 h 259"/>
              <a:gd name="T56" fmla="*/ 2147483647 w 320"/>
              <a:gd name="T57" fmla="*/ 2147483647 h 259"/>
              <a:gd name="T58" fmla="*/ 2147483647 w 320"/>
              <a:gd name="T59" fmla="*/ 2147483647 h 259"/>
              <a:gd name="T60" fmla="*/ 2147483647 w 320"/>
              <a:gd name="T61" fmla="*/ 2147483647 h 259"/>
              <a:gd name="T62" fmla="*/ 2147483647 w 320"/>
              <a:gd name="T63" fmla="*/ 2147483647 h 259"/>
              <a:gd name="T64" fmla="*/ 2147483647 w 320"/>
              <a:gd name="T65" fmla="*/ 2147483647 h 259"/>
              <a:gd name="T66" fmla="*/ 2147483647 w 320"/>
              <a:gd name="T67" fmla="*/ 2147483647 h 259"/>
              <a:gd name="T68" fmla="*/ 2147483647 w 320"/>
              <a:gd name="T69" fmla="*/ 2147483647 h 259"/>
              <a:gd name="T70" fmla="*/ 2147483647 w 320"/>
              <a:gd name="T71" fmla="*/ 2147483647 h 259"/>
              <a:gd name="T72" fmla="*/ 2147483647 w 320"/>
              <a:gd name="T73" fmla="*/ 2147483647 h 259"/>
              <a:gd name="T74" fmla="*/ 2147483647 w 320"/>
              <a:gd name="T75" fmla="*/ 2147483647 h 259"/>
              <a:gd name="T76" fmla="*/ 2147483647 w 320"/>
              <a:gd name="T77" fmla="*/ 2147483647 h 259"/>
              <a:gd name="T78" fmla="*/ 0 w 320"/>
              <a:gd name="T79" fmla="*/ 2147483647 h 259"/>
              <a:gd name="T80" fmla="*/ 2147483647 w 320"/>
              <a:gd name="T81" fmla="*/ 2147483647 h 259"/>
              <a:gd name="T82" fmla="*/ 2147483647 w 320"/>
              <a:gd name="T83" fmla="*/ 2147483647 h 259"/>
              <a:gd name="T84" fmla="*/ 2147483647 w 320"/>
              <a:gd name="T85" fmla="*/ 2147483647 h 259"/>
              <a:gd name="T86" fmla="*/ 2147483647 w 320"/>
              <a:gd name="T87" fmla="*/ 2147483647 h 259"/>
              <a:gd name="T88" fmla="*/ 2147483647 w 320"/>
              <a:gd name="T89" fmla="*/ 2147483647 h 259"/>
              <a:gd name="T90" fmla="*/ 2147483647 w 320"/>
              <a:gd name="T91" fmla="*/ 2147483647 h 259"/>
              <a:gd name="T92" fmla="*/ 2147483647 w 320"/>
              <a:gd name="T93" fmla="*/ 2147483647 h 259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320"/>
              <a:gd name="T142" fmla="*/ 0 h 259"/>
              <a:gd name="T143" fmla="*/ 320 w 320"/>
              <a:gd name="T144" fmla="*/ 259 h 259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320" h="259">
                <a:moveTo>
                  <a:pt x="156" y="146"/>
                </a:moveTo>
                <a:lnTo>
                  <a:pt x="176" y="147"/>
                </a:lnTo>
                <a:lnTo>
                  <a:pt x="171" y="161"/>
                </a:lnTo>
                <a:lnTo>
                  <a:pt x="175" y="171"/>
                </a:lnTo>
                <a:lnTo>
                  <a:pt x="183" y="150"/>
                </a:lnTo>
                <a:lnTo>
                  <a:pt x="186" y="161"/>
                </a:lnTo>
                <a:lnTo>
                  <a:pt x="183" y="169"/>
                </a:lnTo>
                <a:lnTo>
                  <a:pt x="186" y="171"/>
                </a:lnTo>
                <a:lnTo>
                  <a:pt x="188" y="150"/>
                </a:lnTo>
                <a:lnTo>
                  <a:pt x="181" y="144"/>
                </a:lnTo>
                <a:lnTo>
                  <a:pt x="201" y="133"/>
                </a:lnTo>
                <a:lnTo>
                  <a:pt x="212" y="149"/>
                </a:lnTo>
                <a:lnTo>
                  <a:pt x="217" y="171"/>
                </a:lnTo>
                <a:lnTo>
                  <a:pt x="197" y="184"/>
                </a:lnTo>
                <a:lnTo>
                  <a:pt x="205" y="204"/>
                </a:lnTo>
                <a:lnTo>
                  <a:pt x="193" y="208"/>
                </a:lnTo>
                <a:lnTo>
                  <a:pt x="192" y="225"/>
                </a:lnTo>
                <a:lnTo>
                  <a:pt x="173" y="221"/>
                </a:lnTo>
                <a:lnTo>
                  <a:pt x="169" y="218"/>
                </a:lnTo>
                <a:lnTo>
                  <a:pt x="175" y="211"/>
                </a:lnTo>
                <a:lnTo>
                  <a:pt x="152" y="209"/>
                </a:lnTo>
                <a:lnTo>
                  <a:pt x="144" y="198"/>
                </a:lnTo>
                <a:lnTo>
                  <a:pt x="147" y="178"/>
                </a:lnTo>
                <a:lnTo>
                  <a:pt x="135" y="167"/>
                </a:lnTo>
                <a:lnTo>
                  <a:pt x="163" y="155"/>
                </a:lnTo>
                <a:lnTo>
                  <a:pt x="156" y="146"/>
                </a:lnTo>
                <a:close/>
                <a:moveTo>
                  <a:pt x="132" y="220"/>
                </a:moveTo>
                <a:lnTo>
                  <a:pt x="135" y="211"/>
                </a:lnTo>
                <a:lnTo>
                  <a:pt x="138" y="223"/>
                </a:lnTo>
                <a:lnTo>
                  <a:pt x="125" y="249"/>
                </a:lnTo>
                <a:lnTo>
                  <a:pt x="122" y="237"/>
                </a:lnTo>
                <a:lnTo>
                  <a:pt x="132" y="220"/>
                </a:lnTo>
                <a:close/>
                <a:moveTo>
                  <a:pt x="150" y="228"/>
                </a:moveTo>
                <a:lnTo>
                  <a:pt x="159" y="237"/>
                </a:lnTo>
                <a:lnTo>
                  <a:pt x="169" y="234"/>
                </a:lnTo>
                <a:lnTo>
                  <a:pt x="176" y="252"/>
                </a:lnTo>
                <a:lnTo>
                  <a:pt x="158" y="255"/>
                </a:lnTo>
                <a:lnTo>
                  <a:pt x="141" y="243"/>
                </a:lnTo>
                <a:lnTo>
                  <a:pt x="144" y="237"/>
                </a:lnTo>
                <a:lnTo>
                  <a:pt x="141" y="232"/>
                </a:lnTo>
                <a:lnTo>
                  <a:pt x="150" y="228"/>
                </a:lnTo>
                <a:close/>
                <a:moveTo>
                  <a:pt x="176" y="228"/>
                </a:moveTo>
                <a:lnTo>
                  <a:pt x="189" y="237"/>
                </a:lnTo>
                <a:lnTo>
                  <a:pt x="184" y="259"/>
                </a:lnTo>
                <a:lnTo>
                  <a:pt x="173" y="229"/>
                </a:lnTo>
                <a:lnTo>
                  <a:pt x="176" y="228"/>
                </a:lnTo>
                <a:close/>
                <a:moveTo>
                  <a:pt x="320" y="225"/>
                </a:moveTo>
                <a:lnTo>
                  <a:pt x="319" y="211"/>
                </a:lnTo>
                <a:lnTo>
                  <a:pt x="305" y="203"/>
                </a:lnTo>
                <a:lnTo>
                  <a:pt x="303" y="218"/>
                </a:lnTo>
                <a:lnTo>
                  <a:pt x="320" y="225"/>
                </a:lnTo>
                <a:close/>
                <a:moveTo>
                  <a:pt x="28" y="234"/>
                </a:moveTo>
                <a:lnTo>
                  <a:pt x="66" y="235"/>
                </a:lnTo>
                <a:lnTo>
                  <a:pt x="74" y="234"/>
                </a:lnTo>
                <a:lnTo>
                  <a:pt x="62" y="220"/>
                </a:lnTo>
                <a:lnTo>
                  <a:pt x="71" y="208"/>
                </a:lnTo>
                <a:lnTo>
                  <a:pt x="70" y="184"/>
                </a:lnTo>
                <a:lnTo>
                  <a:pt x="76" y="175"/>
                </a:lnTo>
                <a:lnTo>
                  <a:pt x="70" y="167"/>
                </a:lnTo>
                <a:lnTo>
                  <a:pt x="87" y="167"/>
                </a:lnTo>
                <a:lnTo>
                  <a:pt x="82" y="155"/>
                </a:lnTo>
                <a:lnTo>
                  <a:pt x="102" y="147"/>
                </a:lnTo>
                <a:lnTo>
                  <a:pt x="104" y="127"/>
                </a:lnTo>
                <a:lnTo>
                  <a:pt x="110" y="135"/>
                </a:lnTo>
                <a:lnTo>
                  <a:pt x="129" y="120"/>
                </a:lnTo>
                <a:lnTo>
                  <a:pt x="127" y="105"/>
                </a:lnTo>
                <a:lnTo>
                  <a:pt x="96" y="107"/>
                </a:lnTo>
                <a:lnTo>
                  <a:pt x="95" y="98"/>
                </a:lnTo>
                <a:lnTo>
                  <a:pt x="99" y="91"/>
                </a:lnTo>
                <a:lnTo>
                  <a:pt x="91" y="91"/>
                </a:lnTo>
                <a:lnTo>
                  <a:pt x="98" y="87"/>
                </a:lnTo>
                <a:lnTo>
                  <a:pt x="102" y="56"/>
                </a:lnTo>
                <a:lnTo>
                  <a:pt x="110" y="40"/>
                </a:lnTo>
                <a:lnTo>
                  <a:pt x="107" y="17"/>
                </a:lnTo>
                <a:lnTo>
                  <a:pt x="108" y="0"/>
                </a:lnTo>
                <a:lnTo>
                  <a:pt x="85" y="13"/>
                </a:lnTo>
                <a:lnTo>
                  <a:pt x="59" y="45"/>
                </a:lnTo>
                <a:lnTo>
                  <a:pt x="24" y="53"/>
                </a:lnTo>
                <a:lnTo>
                  <a:pt x="11" y="70"/>
                </a:lnTo>
                <a:lnTo>
                  <a:pt x="0" y="113"/>
                </a:lnTo>
                <a:lnTo>
                  <a:pt x="3" y="181"/>
                </a:lnTo>
                <a:lnTo>
                  <a:pt x="19" y="184"/>
                </a:lnTo>
                <a:lnTo>
                  <a:pt x="28" y="198"/>
                </a:lnTo>
                <a:lnTo>
                  <a:pt x="28" y="234"/>
                </a:lnTo>
                <a:close/>
                <a:moveTo>
                  <a:pt x="93" y="183"/>
                </a:moveTo>
                <a:lnTo>
                  <a:pt x="115" y="183"/>
                </a:lnTo>
                <a:lnTo>
                  <a:pt x="118" y="174"/>
                </a:lnTo>
                <a:lnTo>
                  <a:pt x="132" y="203"/>
                </a:lnTo>
                <a:lnTo>
                  <a:pt x="129" y="218"/>
                </a:lnTo>
                <a:lnTo>
                  <a:pt x="96" y="220"/>
                </a:lnTo>
                <a:lnTo>
                  <a:pt x="99" y="213"/>
                </a:lnTo>
                <a:lnTo>
                  <a:pt x="87" y="208"/>
                </a:lnTo>
                <a:lnTo>
                  <a:pt x="79" y="186"/>
                </a:lnTo>
                <a:lnTo>
                  <a:pt x="93" y="183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14" name="Freeform 203"/>
          <p:cNvSpPr>
            <a:spLocks noChangeAspect="1" noEditPoints="1"/>
          </p:cNvSpPr>
          <p:nvPr/>
        </p:nvSpPr>
        <p:spPr bwMode="gray">
          <a:xfrm>
            <a:off x="4540250" y="2359025"/>
            <a:ext cx="200025" cy="268288"/>
          </a:xfrm>
          <a:custGeom>
            <a:avLst/>
            <a:gdLst>
              <a:gd name="T0" fmla="*/ 2147483647 w 413"/>
              <a:gd name="T1" fmla="*/ 2147483647 h 552"/>
              <a:gd name="T2" fmla="*/ 2147483647 w 413"/>
              <a:gd name="T3" fmla="*/ 2147483647 h 552"/>
              <a:gd name="T4" fmla="*/ 2147483647 w 413"/>
              <a:gd name="T5" fmla="*/ 2147483647 h 552"/>
              <a:gd name="T6" fmla="*/ 2147483647 w 413"/>
              <a:gd name="T7" fmla="*/ 2147483647 h 552"/>
              <a:gd name="T8" fmla="*/ 2147483647 w 413"/>
              <a:gd name="T9" fmla="*/ 2147483647 h 552"/>
              <a:gd name="T10" fmla="*/ 2147483647 w 413"/>
              <a:gd name="T11" fmla="*/ 2147483647 h 552"/>
              <a:gd name="T12" fmla="*/ 2147483647 w 413"/>
              <a:gd name="T13" fmla="*/ 2147483647 h 552"/>
              <a:gd name="T14" fmla="*/ 2147483647 w 413"/>
              <a:gd name="T15" fmla="*/ 2147483647 h 552"/>
              <a:gd name="T16" fmla="*/ 2147483647 w 413"/>
              <a:gd name="T17" fmla="*/ 2147483647 h 552"/>
              <a:gd name="T18" fmla="*/ 2147483647 w 413"/>
              <a:gd name="T19" fmla="*/ 2147483647 h 552"/>
              <a:gd name="T20" fmla="*/ 2147483647 w 413"/>
              <a:gd name="T21" fmla="*/ 2147483647 h 552"/>
              <a:gd name="T22" fmla="*/ 2147483647 w 413"/>
              <a:gd name="T23" fmla="*/ 2147483647 h 552"/>
              <a:gd name="T24" fmla="*/ 2147483647 w 413"/>
              <a:gd name="T25" fmla="*/ 2147483647 h 552"/>
              <a:gd name="T26" fmla="*/ 2147483647 w 413"/>
              <a:gd name="T27" fmla="*/ 2147483647 h 552"/>
              <a:gd name="T28" fmla="*/ 0 w 413"/>
              <a:gd name="T29" fmla="*/ 2147483647 h 552"/>
              <a:gd name="T30" fmla="*/ 2147483647 w 413"/>
              <a:gd name="T31" fmla="*/ 2147483647 h 552"/>
              <a:gd name="T32" fmla="*/ 2147483647 w 413"/>
              <a:gd name="T33" fmla="*/ 2147483647 h 552"/>
              <a:gd name="T34" fmla="*/ 2147483647 w 413"/>
              <a:gd name="T35" fmla="*/ 2147483647 h 552"/>
              <a:gd name="T36" fmla="*/ 2147483647 w 413"/>
              <a:gd name="T37" fmla="*/ 2147483647 h 552"/>
              <a:gd name="T38" fmla="*/ 2147483647 w 413"/>
              <a:gd name="T39" fmla="*/ 2147483647 h 552"/>
              <a:gd name="T40" fmla="*/ 2147483647 w 413"/>
              <a:gd name="T41" fmla="*/ 2147483647 h 552"/>
              <a:gd name="T42" fmla="*/ 2147483647 w 413"/>
              <a:gd name="T43" fmla="*/ 2147483647 h 552"/>
              <a:gd name="T44" fmla="*/ 2147483647 w 413"/>
              <a:gd name="T45" fmla="*/ 2147483647 h 552"/>
              <a:gd name="T46" fmla="*/ 2147483647 w 413"/>
              <a:gd name="T47" fmla="*/ 2147483647 h 552"/>
              <a:gd name="T48" fmla="*/ 2147483647 w 413"/>
              <a:gd name="T49" fmla="*/ 2147483647 h 552"/>
              <a:gd name="T50" fmla="*/ 2147483647 w 413"/>
              <a:gd name="T51" fmla="*/ 2147483647 h 552"/>
              <a:gd name="T52" fmla="*/ 2147483647 w 413"/>
              <a:gd name="T53" fmla="*/ 2147483647 h 552"/>
              <a:gd name="T54" fmla="*/ 2147483647 w 413"/>
              <a:gd name="T55" fmla="*/ 2147483647 h 552"/>
              <a:gd name="T56" fmla="*/ 2147483647 w 413"/>
              <a:gd name="T57" fmla="*/ 2147483647 h 552"/>
              <a:gd name="T58" fmla="*/ 2147483647 w 413"/>
              <a:gd name="T59" fmla="*/ 0 h 552"/>
              <a:gd name="T60" fmla="*/ 2147483647 w 413"/>
              <a:gd name="T61" fmla="*/ 2147483647 h 552"/>
              <a:gd name="T62" fmla="*/ 2147483647 w 413"/>
              <a:gd name="T63" fmla="*/ 2147483647 h 552"/>
              <a:gd name="T64" fmla="*/ 2147483647 w 413"/>
              <a:gd name="T65" fmla="*/ 2147483647 h 552"/>
              <a:gd name="T66" fmla="*/ 2147483647 w 413"/>
              <a:gd name="T67" fmla="*/ 2147483647 h 552"/>
              <a:gd name="T68" fmla="*/ 2147483647 w 413"/>
              <a:gd name="T69" fmla="*/ 2147483647 h 552"/>
              <a:gd name="T70" fmla="*/ 2147483647 w 413"/>
              <a:gd name="T71" fmla="*/ 2147483647 h 552"/>
              <a:gd name="T72" fmla="*/ 2147483647 w 413"/>
              <a:gd name="T73" fmla="*/ 2147483647 h 552"/>
              <a:gd name="T74" fmla="*/ 2147483647 w 413"/>
              <a:gd name="T75" fmla="*/ 2147483647 h 552"/>
              <a:gd name="T76" fmla="*/ 2147483647 w 413"/>
              <a:gd name="T77" fmla="*/ 2147483647 h 552"/>
              <a:gd name="T78" fmla="*/ 2147483647 w 413"/>
              <a:gd name="T79" fmla="*/ 2147483647 h 552"/>
              <a:gd name="T80" fmla="*/ 2147483647 w 413"/>
              <a:gd name="T81" fmla="*/ 2147483647 h 552"/>
              <a:gd name="T82" fmla="*/ 2147483647 w 413"/>
              <a:gd name="T83" fmla="*/ 2147483647 h 552"/>
              <a:gd name="T84" fmla="*/ 2147483647 w 413"/>
              <a:gd name="T85" fmla="*/ 2147483647 h 552"/>
              <a:gd name="T86" fmla="*/ 2147483647 w 413"/>
              <a:gd name="T87" fmla="*/ 2147483647 h 552"/>
              <a:gd name="T88" fmla="*/ 2147483647 w 413"/>
              <a:gd name="T89" fmla="*/ 2147483647 h 552"/>
              <a:gd name="T90" fmla="*/ 2147483647 w 413"/>
              <a:gd name="T91" fmla="*/ 2147483647 h 552"/>
              <a:gd name="T92" fmla="*/ 2147483647 w 413"/>
              <a:gd name="T93" fmla="*/ 2147483647 h 552"/>
              <a:gd name="T94" fmla="*/ 2147483647 w 413"/>
              <a:gd name="T95" fmla="*/ 2147483647 h 552"/>
              <a:gd name="T96" fmla="*/ 2147483647 w 413"/>
              <a:gd name="T97" fmla="*/ 2147483647 h 552"/>
              <a:gd name="T98" fmla="*/ 2147483647 w 413"/>
              <a:gd name="T99" fmla="*/ 2147483647 h 552"/>
              <a:gd name="T100" fmla="*/ 2147483647 w 413"/>
              <a:gd name="T101" fmla="*/ 2147483647 h 552"/>
              <a:gd name="T102" fmla="*/ 2147483647 w 413"/>
              <a:gd name="T103" fmla="*/ 2147483647 h 552"/>
              <a:gd name="T104" fmla="*/ 2147483647 w 413"/>
              <a:gd name="T105" fmla="*/ 2147483647 h 552"/>
              <a:gd name="T106" fmla="*/ 2147483647 w 413"/>
              <a:gd name="T107" fmla="*/ 2147483647 h 55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413"/>
              <a:gd name="T163" fmla="*/ 0 h 552"/>
              <a:gd name="T164" fmla="*/ 413 w 413"/>
              <a:gd name="T165" fmla="*/ 552 h 552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413" h="552">
                <a:moveTo>
                  <a:pt x="362" y="456"/>
                </a:moveTo>
                <a:lnTo>
                  <a:pt x="360" y="463"/>
                </a:lnTo>
                <a:lnTo>
                  <a:pt x="346" y="470"/>
                </a:lnTo>
                <a:lnTo>
                  <a:pt x="339" y="486"/>
                </a:lnTo>
                <a:lnTo>
                  <a:pt x="320" y="492"/>
                </a:lnTo>
                <a:lnTo>
                  <a:pt x="317" y="503"/>
                </a:lnTo>
                <a:lnTo>
                  <a:pt x="324" y="536"/>
                </a:lnTo>
                <a:lnTo>
                  <a:pt x="317" y="540"/>
                </a:lnTo>
                <a:lnTo>
                  <a:pt x="314" y="532"/>
                </a:lnTo>
                <a:lnTo>
                  <a:pt x="292" y="529"/>
                </a:lnTo>
                <a:lnTo>
                  <a:pt x="244" y="548"/>
                </a:lnTo>
                <a:lnTo>
                  <a:pt x="212" y="540"/>
                </a:lnTo>
                <a:lnTo>
                  <a:pt x="199" y="552"/>
                </a:lnTo>
                <a:lnTo>
                  <a:pt x="179" y="540"/>
                </a:lnTo>
                <a:lnTo>
                  <a:pt x="163" y="544"/>
                </a:lnTo>
                <a:lnTo>
                  <a:pt x="131" y="532"/>
                </a:lnTo>
                <a:lnTo>
                  <a:pt x="80" y="541"/>
                </a:lnTo>
                <a:lnTo>
                  <a:pt x="74" y="536"/>
                </a:lnTo>
                <a:lnTo>
                  <a:pt x="71" y="503"/>
                </a:lnTo>
                <a:lnTo>
                  <a:pt x="82" y="472"/>
                </a:lnTo>
                <a:lnTo>
                  <a:pt x="97" y="441"/>
                </a:lnTo>
                <a:lnTo>
                  <a:pt x="36" y="426"/>
                </a:lnTo>
                <a:lnTo>
                  <a:pt x="14" y="401"/>
                </a:lnTo>
                <a:lnTo>
                  <a:pt x="17" y="385"/>
                </a:lnTo>
                <a:lnTo>
                  <a:pt x="11" y="373"/>
                </a:lnTo>
                <a:lnTo>
                  <a:pt x="12" y="362"/>
                </a:lnTo>
                <a:lnTo>
                  <a:pt x="6" y="359"/>
                </a:lnTo>
                <a:lnTo>
                  <a:pt x="14" y="337"/>
                </a:lnTo>
                <a:lnTo>
                  <a:pt x="4" y="316"/>
                </a:lnTo>
                <a:lnTo>
                  <a:pt x="0" y="295"/>
                </a:lnTo>
                <a:lnTo>
                  <a:pt x="6" y="283"/>
                </a:lnTo>
                <a:lnTo>
                  <a:pt x="3" y="229"/>
                </a:lnTo>
                <a:lnTo>
                  <a:pt x="29" y="233"/>
                </a:lnTo>
                <a:lnTo>
                  <a:pt x="34" y="215"/>
                </a:lnTo>
                <a:lnTo>
                  <a:pt x="48" y="201"/>
                </a:lnTo>
                <a:lnTo>
                  <a:pt x="49" y="190"/>
                </a:lnTo>
                <a:lnTo>
                  <a:pt x="34" y="184"/>
                </a:lnTo>
                <a:lnTo>
                  <a:pt x="32" y="175"/>
                </a:lnTo>
                <a:lnTo>
                  <a:pt x="45" y="167"/>
                </a:lnTo>
                <a:lnTo>
                  <a:pt x="53" y="130"/>
                </a:lnTo>
                <a:lnTo>
                  <a:pt x="66" y="127"/>
                </a:lnTo>
                <a:lnTo>
                  <a:pt x="53" y="114"/>
                </a:lnTo>
                <a:lnTo>
                  <a:pt x="62" y="99"/>
                </a:lnTo>
                <a:lnTo>
                  <a:pt x="83" y="94"/>
                </a:lnTo>
                <a:lnTo>
                  <a:pt x="97" y="96"/>
                </a:lnTo>
                <a:lnTo>
                  <a:pt x="104" y="114"/>
                </a:lnTo>
                <a:lnTo>
                  <a:pt x="108" y="114"/>
                </a:lnTo>
                <a:lnTo>
                  <a:pt x="108" y="106"/>
                </a:lnTo>
                <a:lnTo>
                  <a:pt x="116" y="108"/>
                </a:lnTo>
                <a:lnTo>
                  <a:pt x="125" y="125"/>
                </a:lnTo>
                <a:lnTo>
                  <a:pt x="119" y="108"/>
                </a:lnTo>
                <a:lnTo>
                  <a:pt x="122" y="89"/>
                </a:lnTo>
                <a:lnTo>
                  <a:pt x="146" y="80"/>
                </a:lnTo>
                <a:lnTo>
                  <a:pt x="134" y="72"/>
                </a:lnTo>
                <a:lnTo>
                  <a:pt x="139" y="62"/>
                </a:lnTo>
                <a:lnTo>
                  <a:pt x="134" y="48"/>
                </a:lnTo>
                <a:lnTo>
                  <a:pt x="125" y="45"/>
                </a:lnTo>
                <a:lnTo>
                  <a:pt x="139" y="31"/>
                </a:lnTo>
                <a:lnTo>
                  <a:pt x="125" y="8"/>
                </a:lnTo>
                <a:lnTo>
                  <a:pt x="125" y="0"/>
                </a:lnTo>
                <a:lnTo>
                  <a:pt x="163" y="1"/>
                </a:lnTo>
                <a:lnTo>
                  <a:pt x="159" y="4"/>
                </a:lnTo>
                <a:lnTo>
                  <a:pt x="178" y="9"/>
                </a:lnTo>
                <a:lnTo>
                  <a:pt x="184" y="18"/>
                </a:lnTo>
                <a:lnTo>
                  <a:pt x="178" y="31"/>
                </a:lnTo>
                <a:lnTo>
                  <a:pt x="188" y="42"/>
                </a:lnTo>
                <a:lnTo>
                  <a:pt x="196" y="37"/>
                </a:lnTo>
                <a:lnTo>
                  <a:pt x="210" y="45"/>
                </a:lnTo>
                <a:lnTo>
                  <a:pt x="232" y="43"/>
                </a:lnTo>
                <a:lnTo>
                  <a:pt x="221" y="74"/>
                </a:lnTo>
                <a:lnTo>
                  <a:pt x="253" y="74"/>
                </a:lnTo>
                <a:lnTo>
                  <a:pt x="249" y="69"/>
                </a:lnTo>
                <a:lnTo>
                  <a:pt x="263" y="59"/>
                </a:lnTo>
                <a:lnTo>
                  <a:pt x="278" y="54"/>
                </a:lnTo>
                <a:lnTo>
                  <a:pt x="278" y="60"/>
                </a:lnTo>
                <a:lnTo>
                  <a:pt x="303" y="34"/>
                </a:lnTo>
                <a:lnTo>
                  <a:pt x="311" y="35"/>
                </a:lnTo>
                <a:lnTo>
                  <a:pt x="295" y="48"/>
                </a:lnTo>
                <a:lnTo>
                  <a:pt x="320" y="40"/>
                </a:lnTo>
                <a:lnTo>
                  <a:pt x="334" y="55"/>
                </a:lnTo>
                <a:lnTo>
                  <a:pt x="349" y="60"/>
                </a:lnTo>
                <a:lnTo>
                  <a:pt x="360" y="82"/>
                </a:lnTo>
                <a:lnTo>
                  <a:pt x="379" y="89"/>
                </a:lnTo>
                <a:lnTo>
                  <a:pt x="387" y="111"/>
                </a:lnTo>
                <a:lnTo>
                  <a:pt x="387" y="125"/>
                </a:lnTo>
                <a:lnTo>
                  <a:pt x="376" y="162"/>
                </a:lnTo>
                <a:lnTo>
                  <a:pt x="390" y="170"/>
                </a:lnTo>
                <a:lnTo>
                  <a:pt x="396" y="220"/>
                </a:lnTo>
                <a:lnTo>
                  <a:pt x="399" y="250"/>
                </a:lnTo>
                <a:lnTo>
                  <a:pt x="413" y="269"/>
                </a:lnTo>
                <a:lnTo>
                  <a:pt x="405" y="308"/>
                </a:lnTo>
                <a:lnTo>
                  <a:pt x="380" y="287"/>
                </a:lnTo>
                <a:lnTo>
                  <a:pt x="376" y="306"/>
                </a:lnTo>
                <a:lnTo>
                  <a:pt x="297" y="345"/>
                </a:lnTo>
                <a:lnTo>
                  <a:pt x="294" y="356"/>
                </a:lnTo>
                <a:lnTo>
                  <a:pt x="278" y="345"/>
                </a:lnTo>
                <a:lnTo>
                  <a:pt x="277" y="356"/>
                </a:lnTo>
                <a:lnTo>
                  <a:pt x="294" y="370"/>
                </a:lnTo>
                <a:lnTo>
                  <a:pt x="295" y="396"/>
                </a:lnTo>
                <a:lnTo>
                  <a:pt x="303" y="405"/>
                </a:lnTo>
                <a:lnTo>
                  <a:pt x="362" y="456"/>
                </a:lnTo>
                <a:close/>
                <a:moveTo>
                  <a:pt x="351" y="35"/>
                </a:moveTo>
                <a:lnTo>
                  <a:pt x="353" y="48"/>
                </a:lnTo>
                <a:lnTo>
                  <a:pt x="329" y="43"/>
                </a:lnTo>
                <a:lnTo>
                  <a:pt x="329" y="28"/>
                </a:lnTo>
                <a:lnTo>
                  <a:pt x="345" y="34"/>
                </a:lnTo>
                <a:lnTo>
                  <a:pt x="336" y="18"/>
                </a:lnTo>
                <a:lnTo>
                  <a:pt x="353" y="25"/>
                </a:lnTo>
                <a:lnTo>
                  <a:pt x="351" y="35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15" name="Freeform 204"/>
          <p:cNvSpPr>
            <a:spLocks noChangeAspect="1" noEditPoints="1"/>
          </p:cNvSpPr>
          <p:nvPr/>
        </p:nvSpPr>
        <p:spPr bwMode="gray">
          <a:xfrm>
            <a:off x="4244975" y="2039938"/>
            <a:ext cx="12700" cy="41275"/>
          </a:xfrm>
          <a:custGeom>
            <a:avLst/>
            <a:gdLst>
              <a:gd name="T0" fmla="*/ 2147483647 w 28"/>
              <a:gd name="T1" fmla="*/ 2147483647 h 84"/>
              <a:gd name="T2" fmla="*/ 2147483647 w 28"/>
              <a:gd name="T3" fmla="*/ 2147483647 h 84"/>
              <a:gd name="T4" fmla="*/ 2147483647 w 28"/>
              <a:gd name="T5" fmla="*/ 0 h 84"/>
              <a:gd name="T6" fmla="*/ 0 w 28"/>
              <a:gd name="T7" fmla="*/ 2147483647 h 84"/>
              <a:gd name="T8" fmla="*/ 2147483647 w 28"/>
              <a:gd name="T9" fmla="*/ 2147483647 h 84"/>
              <a:gd name="T10" fmla="*/ 2147483647 w 28"/>
              <a:gd name="T11" fmla="*/ 2147483647 h 84"/>
              <a:gd name="T12" fmla="*/ 2147483647 w 28"/>
              <a:gd name="T13" fmla="*/ 2147483647 h 84"/>
              <a:gd name="T14" fmla="*/ 2147483647 w 28"/>
              <a:gd name="T15" fmla="*/ 2147483647 h 84"/>
              <a:gd name="T16" fmla="*/ 2147483647 w 28"/>
              <a:gd name="T17" fmla="*/ 2147483647 h 84"/>
              <a:gd name="T18" fmla="*/ 2147483647 w 28"/>
              <a:gd name="T19" fmla="*/ 2147483647 h 84"/>
              <a:gd name="T20" fmla="*/ 2147483647 w 28"/>
              <a:gd name="T21" fmla="*/ 2147483647 h 84"/>
              <a:gd name="T22" fmla="*/ 2147483647 w 28"/>
              <a:gd name="T23" fmla="*/ 2147483647 h 84"/>
              <a:gd name="T24" fmla="*/ 2147483647 w 28"/>
              <a:gd name="T25" fmla="*/ 2147483647 h 8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8"/>
              <a:gd name="T40" fmla="*/ 0 h 84"/>
              <a:gd name="T41" fmla="*/ 28 w 28"/>
              <a:gd name="T42" fmla="*/ 84 h 84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8" h="84">
                <a:moveTo>
                  <a:pt x="21" y="32"/>
                </a:moveTo>
                <a:lnTo>
                  <a:pt x="11" y="7"/>
                </a:lnTo>
                <a:lnTo>
                  <a:pt x="3" y="0"/>
                </a:lnTo>
                <a:lnTo>
                  <a:pt x="0" y="9"/>
                </a:lnTo>
                <a:lnTo>
                  <a:pt x="21" y="32"/>
                </a:lnTo>
                <a:close/>
                <a:moveTo>
                  <a:pt x="17" y="64"/>
                </a:moveTo>
                <a:lnTo>
                  <a:pt x="14" y="80"/>
                </a:lnTo>
                <a:lnTo>
                  <a:pt x="23" y="84"/>
                </a:lnTo>
                <a:lnTo>
                  <a:pt x="17" y="64"/>
                </a:lnTo>
                <a:close/>
                <a:moveTo>
                  <a:pt x="28" y="50"/>
                </a:moveTo>
                <a:lnTo>
                  <a:pt x="28" y="41"/>
                </a:lnTo>
                <a:lnTo>
                  <a:pt x="20" y="41"/>
                </a:lnTo>
                <a:lnTo>
                  <a:pt x="28" y="50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16" name="Freeform 205"/>
          <p:cNvSpPr>
            <a:spLocks noChangeAspect="1" noEditPoints="1"/>
          </p:cNvSpPr>
          <p:nvPr/>
        </p:nvSpPr>
        <p:spPr bwMode="gray">
          <a:xfrm>
            <a:off x="4895850" y="2159000"/>
            <a:ext cx="142875" cy="87313"/>
          </a:xfrm>
          <a:custGeom>
            <a:avLst/>
            <a:gdLst>
              <a:gd name="T0" fmla="*/ 2147483647 w 295"/>
              <a:gd name="T1" fmla="*/ 2147483647 h 181"/>
              <a:gd name="T2" fmla="*/ 2147483647 w 295"/>
              <a:gd name="T3" fmla="*/ 2147483647 h 181"/>
              <a:gd name="T4" fmla="*/ 2147483647 w 295"/>
              <a:gd name="T5" fmla="*/ 2147483647 h 181"/>
              <a:gd name="T6" fmla="*/ 2147483647 w 295"/>
              <a:gd name="T7" fmla="*/ 2147483647 h 181"/>
              <a:gd name="T8" fmla="*/ 2147483647 w 295"/>
              <a:gd name="T9" fmla="*/ 2147483647 h 181"/>
              <a:gd name="T10" fmla="*/ 2147483647 w 295"/>
              <a:gd name="T11" fmla="*/ 2147483647 h 181"/>
              <a:gd name="T12" fmla="*/ 2147483647 w 295"/>
              <a:gd name="T13" fmla="*/ 2147483647 h 181"/>
              <a:gd name="T14" fmla="*/ 2147483647 w 295"/>
              <a:gd name="T15" fmla="*/ 2147483647 h 181"/>
              <a:gd name="T16" fmla="*/ 2147483647 w 295"/>
              <a:gd name="T17" fmla="*/ 2147483647 h 181"/>
              <a:gd name="T18" fmla="*/ 2147483647 w 295"/>
              <a:gd name="T19" fmla="*/ 2147483647 h 181"/>
              <a:gd name="T20" fmla="*/ 2147483647 w 295"/>
              <a:gd name="T21" fmla="*/ 2147483647 h 181"/>
              <a:gd name="T22" fmla="*/ 2147483647 w 295"/>
              <a:gd name="T23" fmla="*/ 2147483647 h 181"/>
              <a:gd name="T24" fmla="*/ 2147483647 w 295"/>
              <a:gd name="T25" fmla="*/ 2147483647 h 181"/>
              <a:gd name="T26" fmla="*/ 2147483647 w 295"/>
              <a:gd name="T27" fmla="*/ 0 h 181"/>
              <a:gd name="T28" fmla="*/ 2147483647 w 295"/>
              <a:gd name="T29" fmla="*/ 2147483647 h 181"/>
              <a:gd name="T30" fmla="*/ 2147483647 w 295"/>
              <a:gd name="T31" fmla="*/ 2147483647 h 181"/>
              <a:gd name="T32" fmla="*/ 2147483647 w 295"/>
              <a:gd name="T33" fmla="*/ 2147483647 h 181"/>
              <a:gd name="T34" fmla="*/ 2147483647 w 295"/>
              <a:gd name="T35" fmla="*/ 2147483647 h 181"/>
              <a:gd name="T36" fmla="*/ 2147483647 w 295"/>
              <a:gd name="T37" fmla="*/ 2147483647 h 181"/>
              <a:gd name="T38" fmla="*/ 2147483647 w 295"/>
              <a:gd name="T39" fmla="*/ 2147483647 h 181"/>
              <a:gd name="T40" fmla="*/ 2147483647 w 295"/>
              <a:gd name="T41" fmla="*/ 2147483647 h 181"/>
              <a:gd name="T42" fmla="*/ 2147483647 w 295"/>
              <a:gd name="T43" fmla="*/ 2147483647 h 181"/>
              <a:gd name="T44" fmla="*/ 2147483647 w 295"/>
              <a:gd name="T45" fmla="*/ 2147483647 h 181"/>
              <a:gd name="T46" fmla="*/ 2147483647 w 295"/>
              <a:gd name="T47" fmla="*/ 2147483647 h 181"/>
              <a:gd name="T48" fmla="*/ 2147483647 w 295"/>
              <a:gd name="T49" fmla="*/ 2147483647 h 181"/>
              <a:gd name="T50" fmla="*/ 2147483647 w 295"/>
              <a:gd name="T51" fmla="*/ 2147483647 h 181"/>
              <a:gd name="T52" fmla="*/ 2147483647 w 295"/>
              <a:gd name="T53" fmla="*/ 2147483647 h 181"/>
              <a:gd name="T54" fmla="*/ 2147483647 w 295"/>
              <a:gd name="T55" fmla="*/ 2147483647 h 181"/>
              <a:gd name="T56" fmla="*/ 2147483647 w 295"/>
              <a:gd name="T57" fmla="*/ 2147483647 h 181"/>
              <a:gd name="T58" fmla="*/ 2147483647 w 295"/>
              <a:gd name="T59" fmla="*/ 2147483647 h 181"/>
              <a:gd name="T60" fmla="*/ 2147483647 w 295"/>
              <a:gd name="T61" fmla="*/ 2147483647 h 181"/>
              <a:gd name="T62" fmla="*/ 2147483647 w 295"/>
              <a:gd name="T63" fmla="*/ 2147483647 h 181"/>
              <a:gd name="T64" fmla="*/ 2147483647 w 295"/>
              <a:gd name="T65" fmla="*/ 2147483647 h 181"/>
              <a:gd name="T66" fmla="*/ 2147483647 w 295"/>
              <a:gd name="T67" fmla="*/ 2147483647 h 181"/>
              <a:gd name="T68" fmla="*/ 2147483647 w 295"/>
              <a:gd name="T69" fmla="*/ 2147483647 h 181"/>
              <a:gd name="T70" fmla="*/ 2147483647 w 295"/>
              <a:gd name="T71" fmla="*/ 2147483647 h 181"/>
              <a:gd name="T72" fmla="*/ 2147483647 w 295"/>
              <a:gd name="T73" fmla="*/ 2147483647 h 181"/>
              <a:gd name="T74" fmla="*/ 2147483647 w 295"/>
              <a:gd name="T75" fmla="*/ 2147483647 h 181"/>
              <a:gd name="T76" fmla="*/ 0 w 295"/>
              <a:gd name="T77" fmla="*/ 2147483647 h 181"/>
              <a:gd name="T78" fmla="*/ 0 w 295"/>
              <a:gd name="T79" fmla="*/ 2147483647 h 181"/>
              <a:gd name="T80" fmla="*/ 2147483647 w 295"/>
              <a:gd name="T81" fmla="*/ 2147483647 h 181"/>
              <a:gd name="T82" fmla="*/ 2147483647 w 295"/>
              <a:gd name="T83" fmla="*/ 2147483647 h 181"/>
              <a:gd name="T84" fmla="*/ 2147483647 w 295"/>
              <a:gd name="T85" fmla="*/ 2147483647 h 181"/>
              <a:gd name="T86" fmla="*/ 2147483647 w 295"/>
              <a:gd name="T87" fmla="*/ 2147483647 h 181"/>
              <a:gd name="T88" fmla="*/ 2147483647 w 295"/>
              <a:gd name="T89" fmla="*/ 2147483647 h 181"/>
              <a:gd name="T90" fmla="*/ 2147483647 w 295"/>
              <a:gd name="T91" fmla="*/ 2147483647 h 181"/>
              <a:gd name="T92" fmla="*/ 2147483647 w 295"/>
              <a:gd name="T93" fmla="*/ 2147483647 h 181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295"/>
              <a:gd name="T142" fmla="*/ 0 h 181"/>
              <a:gd name="T143" fmla="*/ 295 w 295"/>
              <a:gd name="T144" fmla="*/ 181 h 181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295" h="181">
                <a:moveTo>
                  <a:pt x="116" y="156"/>
                </a:moveTo>
                <a:lnTo>
                  <a:pt x="122" y="115"/>
                </a:lnTo>
                <a:lnTo>
                  <a:pt x="111" y="115"/>
                </a:lnTo>
                <a:lnTo>
                  <a:pt x="101" y="126"/>
                </a:lnTo>
                <a:lnTo>
                  <a:pt x="85" y="118"/>
                </a:lnTo>
                <a:lnTo>
                  <a:pt x="76" y="92"/>
                </a:lnTo>
                <a:lnTo>
                  <a:pt x="87" y="82"/>
                </a:lnTo>
                <a:lnTo>
                  <a:pt x="74" y="76"/>
                </a:lnTo>
                <a:lnTo>
                  <a:pt x="76" y="41"/>
                </a:lnTo>
                <a:lnTo>
                  <a:pt x="118" y="17"/>
                </a:lnTo>
                <a:lnTo>
                  <a:pt x="135" y="19"/>
                </a:lnTo>
                <a:lnTo>
                  <a:pt x="136" y="11"/>
                </a:lnTo>
                <a:lnTo>
                  <a:pt x="164" y="14"/>
                </a:lnTo>
                <a:lnTo>
                  <a:pt x="175" y="0"/>
                </a:lnTo>
                <a:lnTo>
                  <a:pt x="238" y="21"/>
                </a:lnTo>
                <a:lnTo>
                  <a:pt x="274" y="22"/>
                </a:lnTo>
                <a:lnTo>
                  <a:pt x="283" y="19"/>
                </a:lnTo>
                <a:lnTo>
                  <a:pt x="283" y="8"/>
                </a:lnTo>
                <a:lnTo>
                  <a:pt x="295" y="22"/>
                </a:lnTo>
                <a:lnTo>
                  <a:pt x="277" y="51"/>
                </a:lnTo>
                <a:lnTo>
                  <a:pt x="238" y="65"/>
                </a:lnTo>
                <a:lnTo>
                  <a:pt x="274" y="155"/>
                </a:lnTo>
                <a:lnTo>
                  <a:pt x="258" y="181"/>
                </a:lnTo>
                <a:lnTo>
                  <a:pt x="218" y="181"/>
                </a:lnTo>
                <a:lnTo>
                  <a:pt x="195" y="158"/>
                </a:lnTo>
                <a:lnTo>
                  <a:pt x="158" y="141"/>
                </a:lnTo>
                <a:lnTo>
                  <a:pt x="116" y="156"/>
                </a:lnTo>
                <a:close/>
                <a:moveTo>
                  <a:pt x="42" y="59"/>
                </a:moveTo>
                <a:lnTo>
                  <a:pt x="33" y="51"/>
                </a:lnTo>
                <a:lnTo>
                  <a:pt x="25" y="65"/>
                </a:lnTo>
                <a:lnTo>
                  <a:pt x="8" y="70"/>
                </a:lnTo>
                <a:lnTo>
                  <a:pt x="11" y="75"/>
                </a:lnTo>
                <a:lnTo>
                  <a:pt x="20" y="72"/>
                </a:lnTo>
                <a:lnTo>
                  <a:pt x="26" y="87"/>
                </a:lnTo>
                <a:lnTo>
                  <a:pt x="50" y="73"/>
                </a:lnTo>
                <a:lnTo>
                  <a:pt x="50" y="65"/>
                </a:lnTo>
                <a:lnTo>
                  <a:pt x="42" y="59"/>
                </a:lnTo>
                <a:close/>
                <a:moveTo>
                  <a:pt x="51" y="95"/>
                </a:moveTo>
                <a:lnTo>
                  <a:pt x="0" y="104"/>
                </a:lnTo>
                <a:lnTo>
                  <a:pt x="0" y="124"/>
                </a:lnTo>
                <a:lnTo>
                  <a:pt x="11" y="132"/>
                </a:lnTo>
                <a:lnTo>
                  <a:pt x="6" y="147"/>
                </a:lnTo>
                <a:lnTo>
                  <a:pt x="6" y="152"/>
                </a:lnTo>
                <a:lnTo>
                  <a:pt x="21" y="122"/>
                </a:lnTo>
                <a:lnTo>
                  <a:pt x="36" y="127"/>
                </a:lnTo>
                <a:lnTo>
                  <a:pt x="63" y="109"/>
                </a:lnTo>
                <a:lnTo>
                  <a:pt x="51" y="95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17" name="Freeform 206"/>
          <p:cNvSpPr>
            <a:spLocks noChangeAspect="1" noEditPoints="1"/>
          </p:cNvSpPr>
          <p:nvPr/>
        </p:nvSpPr>
        <p:spPr bwMode="gray">
          <a:xfrm>
            <a:off x="4486275" y="2416175"/>
            <a:ext cx="79375" cy="96838"/>
          </a:xfrm>
          <a:custGeom>
            <a:avLst/>
            <a:gdLst>
              <a:gd name="T0" fmla="*/ 2147483647 w 163"/>
              <a:gd name="T1" fmla="*/ 2147483647 h 200"/>
              <a:gd name="T2" fmla="*/ 2147483647 w 163"/>
              <a:gd name="T3" fmla="*/ 0 h 200"/>
              <a:gd name="T4" fmla="*/ 2147483647 w 163"/>
              <a:gd name="T5" fmla="*/ 2147483647 h 200"/>
              <a:gd name="T6" fmla="*/ 2147483647 w 163"/>
              <a:gd name="T7" fmla="*/ 2147483647 h 200"/>
              <a:gd name="T8" fmla="*/ 2147483647 w 163"/>
              <a:gd name="T9" fmla="*/ 2147483647 h 200"/>
              <a:gd name="T10" fmla="*/ 2147483647 w 163"/>
              <a:gd name="T11" fmla="*/ 2147483647 h 200"/>
              <a:gd name="T12" fmla="*/ 2147483647 w 163"/>
              <a:gd name="T13" fmla="*/ 2147483647 h 200"/>
              <a:gd name="T14" fmla="*/ 2147483647 w 163"/>
              <a:gd name="T15" fmla="*/ 2147483647 h 200"/>
              <a:gd name="T16" fmla="*/ 2147483647 w 163"/>
              <a:gd name="T17" fmla="*/ 2147483647 h 200"/>
              <a:gd name="T18" fmla="*/ 2147483647 w 163"/>
              <a:gd name="T19" fmla="*/ 2147483647 h 200"/>
              <a:gd name="T20" fmla="*/ 2147483647 w 163"/>
              <a:gd name="T21" fmla="*/ 2147483647 h 200"/>
              <a:gd name="T22" fmla="*/ 2147483647 w 163"/>
              <a:gd name="T23" fmla="*/ 2147483647 h 200"/>
              <a:gd name="T24" fmla="*/ 2147483647 w 163"/>
              <a:gd name="T25" fmla="*/ 2147483647 h 200"/>
              <a:gd name="T26" fmla="*/ 2147483647 w 163"/>
              <a:gd name="T27" fmla="*/ 2147483647 h 200"/>
              <a:gd name="T28" fmla="*/ 2147483647 w 163"/>
              <a:gd name="T29" fmla="*/ 2147483647 h 200"/>
              <a:gd name="T30" fmla="*/ 2147483647 w 163"/>
              <a:gd name="T31" fmla="*/ 2147483647 h 200"/>
              <a:gd name="T32" fmla="*/ 2147483647 w 163"/>
              <a:gd name="T33" fmla="*/ 2147483647 h 200"/>
              <a:gd name="T34" fmla="*/ 2147483647 w 163"/>
              <a:gd name="T35" fmla="*/ 2147483647 h 200"/>
              <a:gd name="T36" fmla="*/ 2147483647 w 163"/>
              <a:gd name="T37" fmla="*/ 2147483647 h 200"/>
              <a:gd name="T38" fmla="*/ 2147483647 w 163"/>
              <a:gd name="T39" fmla="*/ 2147483647 h 200"/>
              <a:gd name="T40" fmla="*/ 2147483647 w 163"/>
              <a:gd name="T41" fmla="*/ 2147483647 h 200"/>
              <a:gd name="T42" fmla="*/ 0 w 163"/>
              <a:gd name="T43" fmla="*/ 2147483647 h 200"/>
              <a:gd name="T44" fmla="*/ 2147483647 w 163"/>
              <a:gd name="T45" fmla="*/ 2147483647 h 200"/>
              <a:gd name="T46" fmla="*/ 2147483647 w 163"/>
              <a:gd name="T47" fmla="*/ 2147483647 h 200"/>
              <a:gd name="T48" fmla="*/ 2147483647 w 163"/>
              <a:gd name="T49" fmla="*/ 2147483647 h 200"/>
              <a:gd name="T50" fmla="*/ 2147483647 w 163"/>
              <a:gd name="T51" fmla="*/ 2147483647 h 200"/>
              <a:gd name="T52" fmla="*/ 2147483647 w 163"/>
              <a:gd name="T53" fmla="*/ 2147483647 h 200"/>
              <a:gd name="T54" fmla="*/ 2147483647 w 163"/>
              <a:gd name="T55" fmla="*/ 2147483647 h 200"/>
              <a:gd name="T56" fmla="*/ 2147483647 w 163"/>
              <a:gd name="T57" fmla="*/ 2147483647 h 200"/>
              <a:gd name="T58" fmla="*/ 2147483647 w 163"/>
              <a:gd name="T59" fmla="*/ 2147483647 h 200"/>
              <a:gd name="T60" fmla="*/ 2147483647 w 163"/>
              <a:gd name="T61" fmla="*/ 2147483647 h 200"/>
              <a:gd name="T62" fmla="*/ 2147483647 w 163"/>
              <a:gd name="T63" fmla="*/ 2147483647 h 200"/>
              <a:gd name="T64" fmla="*/ 2147483647 w 163"/>
              <a:gd name="T65" fmla="*/ 2147483647 h 200"/>
              <a:gd name="T66" fmla="*/ 2147483647 w 163"/>
              <a:gd name="T67" fmla="*/ 2147483647 h 200"/>
              <a:gd name="T68" fmla="*/ 2147483647 w 163"/>
              <a:gd name="T69" fmla="*/ 2147483647 h 200"/>
              <a:gd name="T70" fmla="*/ 2147483647 w 163"/>
              <a:gd name="T71" fmla="*/ 2147483647 h 200"/>
              <a:gd name="T72" fmla="*/ 2147483647 w 163"/>
              <a:gd name="T73" fmla="*/ 2147483647 h 200"/>
              <a:gd name="T74" fmla="*/ 2147483647 w 163"/>
              <a:gd name="T75" fmla="*/ 2147483647 h 200"/>
              <a:gd name="T76" fmla="*/ 2147483647 w 163"/>
              <a:gd name="T77" fmla="*/ 2147483647 h 200"/>
              <a:gd name="T78" fmla="*/ 2147483647 w 163"/>
              <a:gd name="T79" fmla="*/ 2147483647 h 200"/>
              <a:gd name="T80" fmla="*/ 2147483647 w 163"/>
              <a:gd name="T81" fmla="*/ 2147483647 h 200"/>
              <a:gd name="T82" fmla="*/ 2147483647 w 163"/>
              <a:gd name="T83" fmla="*/ 2147483647 h 200"/>
              <a:gd name="T84" fmla="*/ 2147483647 w 163"/>
              <a:gd name="T85" fmla="*/ 2147483647 h 200"/>
              <a:gd name="T86" fmla="*/ 2147483647 w 163"/>
              <a:gd name="T87" fmla="*/ 2147483647 h 200"/>
              <a:gd name="T88" fmla="*/ 2147483647 w 163"/>
              <a:gd name="T89" fmla="*/ 2147483647 h 200"/>
              <a:gd name="T90" fmla="*/ 2147483647 w 163"/>
              <a:gd name="T91" fmla="*/ 2147483647 h 200"/>
              <a:gd name="T92" fmla="*/ 2147483647 w 163"/>
              <a:gd name="T93" fmla="*/ 2147483647 h 200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163"/>
              <a:gd name="T142" fmla="*/ 0 h 200"/>
              <a:gd name="T143" fmla="*/ 163 w 163"/>
              <a:gd name="T144" fmla="*/ 200 h 200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163" h="200">
                <a:moveTo>
                  <a:pt x="163" y="14"/>
                </a:moveTo>
                <a:lnTo>
                  <a:pt x="146" y="0"/>
                </a:lnTo>
                <a:lnTo>
                  <a:pt x="107" y="3"/>
                </a:lnTo>
                <a:lnTo>
                  <a:pt x="90" y="15"/>
                </a:lnTo>
                <a:lnTo>
                  <a:pt x="87" y="39"/>
                </a:lnTo>
                <a:lnTo>
                  <a:pt x="97" y="45"/>
                </a:lnTo>
                <a:lnTo>
                  <a:pt x="91" y="63"/>
                </a:lnTo>
                <a:lnTo>
                  <a:pt x="83" y="70"/>
                </a:lnTo>
                <a:lnTo>
                  <a:pt x="87" y="87"/>
                </a:lnTo>
                <a:lnTo>
                  <a:pt x="70" y="78"/>
                </a:lnTo>
                <a:lnTo>
                  <a:pt x="70" y="62"/>
                </a:lnTo>
                <a:lnTo>
                  <a:pt x="79" y="54"/>
                </a:lnTo>
                <a:lnTo>
                  <a:pt x="70" y="40"/>
                </a:lnTo>
                <a:lnTo>
                  <a:pt x="62" y="43"/>
                </a:lnTo>
                <a:lnTo>
                  <a:pt x="51" y="88"/>
                </a:lnTo>
                <a:lnTo>
                  <a:pt x="31" y="116"/>
                </a:lnTo>
                <a:lnTo>
                  <a:pt x="32" y="122"/>
                </a:lnTo>
                <a:lnTo>
                  <a:pt x="36" y="127"/>
                </a:lnTo>
                <a:lnTo>
                  <a:pt x="65" y="129"/>
                </a:lnTo>
                <a:lnTo>
                  <a:pt x="19" y="144"/>
                </a:lnTo>
                <a:lnTo>
                  <a:pt x="15" y="150"/>
                </a:lnTo>
                <a:lnTo>
                  <a:pt x="0" y="156"/>
                </a:lnTo>
                <a:lnTo>
                  <a:pt x="14" y="164"/>
                </a:lnTo>
                <a:lnTo>
                  <a:pt x="53" y="149"/>
                </a:lnTo>
                <a:lnTo>
                  <a:pt x="73" y="154"/>
                </a:lnTo>
                <a:lnTo>
                  <a:pt x="97" y="167"/>
                </a:lnTo>
                <a:lnTo>
                  <a:pt x="97" y="195"/>
                </a:lnTo>
                <a:lnTo>
                  <a:pt x="114" y="200"/>
                </a:lnTo>
                <a:lnTo>
                  <a:pt x="110" y="179"/>
                </a:lnTo>
                <a:lnTo>
                  <a:pt x="116" y="167"/>
                </a:lnTo>
                <a:lnTo>
                  <a:pt x="113" y="113"/>
                </a:lnTo>
                <a:lnTo>
                  <a:pt x="139" y="117"/>
                </a:lnTo>
                <a:lnTo>
                  <a:pt x="144" y="99"/>
                </a:lnTo>
                <a:lnTo>
                  <a:pt x="158" y="85"/>
                </a:lnTo>
                <a:lnTo>
                  <a:pt x="159" y="74"/>
                </a:lnTo>
                <a:lnTo>
                  <a:pt x="144" y="68"/>
                </a:lnTo>
                <a:lnTo>
                  <a:pt x="142" y="59"/>
                </a:lnTo>
                <a:lnTo>
                  <a:pt x="155" y="51"/>
                </a:lnTo>
                <a:lnTo>
                  <a:pt x="163" y="14"/>
                </a:lnTo>
                <a:close/>
                <a:moveTo>
                  <a:pt x="68" y="15"/>
                </a:moveTo>
                <a:lnTo>
                  <a:pt x="57" y="37"/>
                </a:lnTo>
                <a:lnTo>
                  <a:pt x="65" y="32"/>
                </a:lnTo>
                <a:lnTo>
                  <a:pt x="68" y="15"/>
                </a:lnTo>
                <a:close/>
                <a:moveTo>
                  <a:pt x="6" y="142"/>
                </a:moveTo>
                <a:lnTo>
                  <a:pt x="6" y="150"/>
                </a:lnTo>
                <a:lnTo>
                  <a:pt x="11" y="147"/>
                </a:lnTo>
                <a:lnTo>
                  <a:pt x="6" y="142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18" name="Freeform 207"/>
          <p:cNvSpPr>
            <a:spLocks noChangeAspect="1" noEditPoints="1"/>
          </p:cNvSpPr>
          <p:nvPr/>
        </p:nvSpPr>
        <p:spPr bwMode="gray">
          <a:xfrm>
            <a:off x="4202113" y="2741613"/>
            <a:ext cx="301625" cy="223837"/>
          </a:xfrm>
          <a:custGeom>
            <a:avLst/>
            <a:gdLst>
              <a:gd name="T0" fmla="*/ 2147483647 w 619"/>
              <a:gd name="T1" fmla="*/ 2147483647 h 459"/>
              <a:gd name="T2" fmla="*/ 2147483647 w 619"/>
              <a:gd name="T3" fmla="*/ 2147483647 h 459"/>
              <a:gd name="T4" fmla="*/ 2147483647 w 619"/>
              <a:gd name="T5" fmla="*/ 2147483647 h 459"/>
              <a:gd name="T6" fmla="*/ 2147483647 w 619"/>
              <a:gd name="T7" fmla="*/ 2147483647 h 459"/>
              <a:gd name="T8" fmla="*/ 2147483647 w 619"/>
              <a:gd name="T9" fmla="*/ 2147483647 h 459"/>
              <a:gd name="T10" fmla="*/ 2147483647 w 619"/>
              <a:gd name="T11" fmla="*/ 2147483647 h 459"/>
              <a:gd name="T12" fmla="*/ 2147483647 w 619"/>
              <a:gd name="T13" fmla="*/ 2147483647 h 459"/>
              <a:gd name="T14" fmla="*/ 2147483647 w 619"/>
              <a:gd name="T15" fmla="*/ 2147483647 h 459"/>
              <a:gd name="T16" fmla="*/ 2147483647 w 619"/>
              <a:gd name="T17" fmla="*/ 2147483647 h 459"/>
              <a:gd name="T18" fmla="*/ 2147483647 w 619"/>
              <a:gd name="T19" fmla="*/ 2147483647 h 459"/>
              <a:gd name="T20" fmla="*/ 2147483647 w 619"/>
              <a:gd name="T21" fmla="*/ 2147483647 h 459"/>
              <a:gd name="T22" fmla="*/ 2147483647 w 619"/>
              <a:gd name="T23" fmla="*/ 2147483647 h 459"/>
              <a:gd name="T24" fmla="*/ 0 w 619"/>
              <a:gd name="T25" fmla="*/ 2147483647 h 459"/>
              <a:gd name="T26" fmla="*/ 2147483647 w 619"/>
              <a:gd name="T27" fmla="*/ 2147483647 h 459"/>
              <a:gd name="T28" fmla="*/ 2147483647 w 619"/>
              <a:gd name="T29" fmla="*/ 0 h 459"/>
              <a:gd name="T30" fmla="*/ 2147483647 w 619"/>
              <a:gd name="T31" fmla="*/ 2147483647 h 459"/>
              <a:gd name="T32" fmla="*/ 2147483647 w 619"/>
              <a:gd name="T33" fmla="*/ 2147483647 h 459"/>
              <a:gd name="T34" fmla="*/ 2147483647 w 619"/>
              <a:gd name="T35" fmla="*/ 2147483647 h 459"/>
              <a:gd name="T36" fmla="*/ 2147483647 w 619"/>
              <a:gd name="T37" fmla="*/ 2147483647 h 459"/>
              <a:gd name="T38" fmla="*/ 2147483647 w 619"/>
              <a:gd name="T39" fmla="*/ 2147483647 h 459"/>
              <a:gd name="T40" fmla="*/ 2147483647 w 619"/>
              <a:gd name="T41" fmla="*/ 2147483647 h 459"/>
              <a:gd name="T42" fmla="*/ 2147483647 w 619"/>
              <a:gd name="T43" fmla="*/ 2147483647 h 459"/>
              <a:gd name="T44" fmla="*/ 2147483647 w 619"/>
              <a:gd name="T45" fmla="*/ 2147483647 h 459"/>
              <a:gd name="T46" fmla="*/ 2147483647 w 619"/>
              <a:gd name="T47" fmla="*/ 2147483647 h 459"/>
              <a:gd name="T48" fmla="*/ 2147483647 w 619"/>
              <a:gd name="T49" fmla="*/ 2147483647 h 459"/>
              <a:gd name="T50" fmla="*/ 2147483647 w 619"/>
              <a:gd name="T51" fmla="*/ 2147483647 h 459"/>
              <a:gd name="T52" fmla="*/ 2147483647 w 619"/>
              <a:gd name="T53" fmla="*/ 2147483647 h 459"/>
              <a:gd name="T54" fmla="*/ 2147483647 w 619"/>
              <a:gd name="T55" fmla="*/ 2147483647 h 459"/>
              <a:gd name="T56" fmla="*/ 2147483647 w 619"/>
              <a:gd name="T57" fmla="*/ 2147483647 h 459"/>
              <a:gd name="T58" fmla="*/ 2147483647 w 619"/>
              <a:gd name="T59" fmla="*/ 2147483647 h 459"/>
              <a:gd name="T60" fmla="*/ 2147483647 w 619"/>
              <a:gd name="T61" fmla="*/ 2147483647 h 459"/>
              <a:gd name="T62" fmla="*/ 2147483647 w 619"/>
              <a:gd name="T63" fmla="*/ 2147483647 h 459"/>
              <a:gd name="T64" fmla="*/ 2147483647 w 619"/>
              <a:gd name="T65" fmla="*/ 2147483647 h 459"/>
              <a:gd name="T66" fmla="*/ 2147483647 w 619"/>
              <a:gd name="T67" fmla="*/ 2147483647 h 459"/>
              <a:gd name="T68" fmla="*/ 2147483647 w 619"/>
              <a:gd name="T69" fmla="*/ 2147483647 h 459"/>
              <a:gd name="T70" fmla="*/ 2147483647 w 619"/>
              <a:gd name="T71" fmla="*/ 2147483647 h 459"/>
              <a:gd name="T72" fmla="*/ 2147483647 w 619"/>
              <a:gd name="T73" fmla="*/ 2147483647 h 459"/>
              <a:gd name="T74" fmla="*/ 2147483647 w 619"/>
              <a:gd name="T75" fmla="*/ 2147483647 h 459"/>
              <a:gd name="T76" fmla="*/ 2147483647 w 619"/>
              <a:gd name="T77" fmla="*/ 2147483647 h 459"/>
              <a:gd name="T78" fmla="*/ 2147483647 w 619"/>
              <a:gd name="T79" fmla="*/ 2147483647 h 459"/>
              <a:gd name="T80" fmla="*/ 2147483647 w 619"/>
              <a:gd name="T81" fmla="*/ 2147483647 h 459"/>
              <a:gd name="T82" fmla="*/ 2147483647 w 619"/>
              <a:gd name="T83" fmla="*/ 2147483647 h 459"/>
              <a:gd name="T84" fmla="*/ 2147483647 w 619"/>
              <a:gd name="T85" fmla="*/ 2147483647 h 459"/>
              <a:gd name="T86" fmla="*/ 2147483647 w 619"/>
              <a:gd name="T87" fmla="*/ 2147483647 h 45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619"/>
              <a:gd name="T133" fmla="*/ 0 h 459"/>
              <a:gd name="T134" fmla="*/ 619 w 619"/>
              <a:gd name="T135" fmla="*/ 459 h 459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619" h="459">
                <a:moveTo>
                  <a:pt x="87" y="394"/>
                </a:moveTo>
                <a:lnTo>
                  <a:pt x="82" y="370"/>
                </a:lnTo>
                <a:lnTo>
                  <a:pt x="107" y="345"/>
                </a:lnTo>
                <a:lnTo>
                  <a:pt x="95" y="316"/>
                </a:lnTo>
                <a:lnTo>
                  <a:pt x="104" y="286"/>
                </a:lnTo>
                <a:lnTo>
                  <a:pt x="90" y="254"/>
                </a:lnTo>
                <a:lnTo>
                  <a:pt x="113" y="236"/>
                </a:lnTo>
                <a:lnTo>
                  <a:pt x="108" y="213"/>
                </a:lnTo>
                <a:lnTo>
                  <a:pt x="116" y="169"/>
                </a:lnTo>
                <a:lnTo>
                  <a:pt x="135" y="151"/>
                </a:lnTo>
                <a:lnTo>
                  <a:pt x="141" y="132"/>
                </a:lnTo>
                <a:lnTo>
                  <a:pt x="130" y="117"/>
                </a:lnTo>
                <a:lnTo>
                  <a:pt x="61" y="118"/>
                </a:lnTo>
                <a:lnTo>
                  <a:pt x="54" y="113"/>
                </a:lnTo>
                <a:lnTo>
                  <a:pt x="54" y="103"/>
                </a:lnTo>
                <a:lnTo>
                  <a:pt x="28" y="112"/>
                </a:lnTo>
                <a:lnTo>
                  <a:pt x="22" y="120"/>
                </a:lnTo>
                <a:lnTo>
                  <a:pt x="20" y="109"/>
                </a:lnTo>
                <a:lnTo>
                  <a:pt x="28" y="90"/>
                </a:lnTo>
                <a:lnTo>
                  <a:pt x="22" y="92"/>
                </a:lnTo>
                <a:lnTo>
                  <a:pt x="24" y="84"/>
                </a:lnTo>
                <a:lnTo>
                  <a:pt x="17" y="81"/>
                </a:lnTo>
                <a:lnTo>
                  <a:pt x="22" y="69"/>
                </a:lnTo>
                <a:lnTo>
                  <a:pt x="11" y="66"/>
                </a:lnTo>
                <a:lnTo>
                  <a:pt x="13" y="59"/>
                </a:lnTo>
                <a:lnTo>
                  <a:pt x="0" y="47"/>
                </a:lnTo>
                <a:lnTo>
                  <a:pt x="13" y="30"/>
                </a:lnTo>
                <a:lnTo>
                  <a:pt x="39" y="27"/>
                </a:lnTo>
                <a:lnTo>
                  <a:pt x="51" y="5"/>
                </a:lnTo>
                <a:lnTo>
                  <a:pt x="70" y="0"/>
                </a:lnTo>
                <a:lnTo>
                  <a:pt x="108" y="12"/>
                </a:lnTo>
                <a:lnTo>
                  <a:pt x="150" y="7"/>
                </a:lnTo>
                <a:lnTo>
                  <a:pt x="215" y="19"/>
                </a:lnTo>
                <a:lnTo>
                  <a:pt x="257" y="16"/>
                </a:lnTo>
                <a:lnTo>
                  <a:pt x="342" y="24"/>
                </a:lnTo>
                <a:lnTo>
                  <a:pt x="362" y="42"/>
                </a:lnTo>
                <a:lnTo>
                  <a:pt x="395" y="58"/>
                </a:lnTo>
                <a:lnTo>
                  <a:pt x="444" y="69"/>
                </a:lnTo>
                <a:lnTo>
                  <a:pt x="466" y="61"/>
                </a:lnTo>
                <a:lnTo>
                  <a:pt x="484" y="73"/>
                </a:lnTo>
                <a:lnTo>
                  <a:pt x="492" y="83"/>
                </a:lnTo>
                <a:lnTo>
                  <a:pt x="500" y="78"/>
                </a:lnTo>
                <a:lnTo>
                  <a:pt x="517" y="87"/>
                </a:lnTo>
                <a:lnTo>
                  <a:pt x="567" y="84"/>
                </a:lnTo>
                <a:lnTo>
                  <a:pt x="576" y="93"/>
                </a:lnTo>
                <a:lnTo>
                  <a:pt x="569" y="96"/>
                </a:lnTo>
                <a:lnTo>
                  <a:pt x="573" y="112"/>
                </a:lnTo>
                <a:lnTo>
                  <a:pt x="565" y="121"/>
                </a:lnTo>
                <a:lnTo>
                  <a:pt x="522" y="152"/>
                </a:lnTo>
                <a:lnTo>
                  <a:pt x="472" y="171"/>
                </a:lnTo>
                <a:lnTo>
                  <a:pt x="463" y="183"/>
                </a:lnTo>
                <a:lnTo>
                  <a:pt x="416" y="253"/>
                </a:lnTo>
                <a:lnTo>
                  <a:pt x="410" y="267"/>
                </a:lnTo>
                <a:lnTo>
                  <a:pt x="416" y="290"/>
                </a:lnTo>
                <a:lnTo>
                  <a:pt x="433" y="303"/>
                </a:lnTo>
                <a:lnTo>
                  <a:pt x="430" y="310"/>
                </a:lnTo>
                <a:lnTo>
                  <a:pt x="406" y="330"/>
                </a:lnTo>
                <a:lnTo>
                  <a:pt x="393" y="358"/>
                </a:lnTo>
                <a:lnTo>
                  <a:pt x="391" y="370"/>
                </a:lnTo>
                <a:lnTo>
                  <a:pt x="365" y="374"/>
                </a:lnTo>
                <a:lnTo>
                  <a:pt x="348" y="389"/>
                </a:lnTo>
                <a:lnTo>
                  <a:pt x="335" y="418"/>
                </a:lnTo>
                <a:lnTo>
                  <a:pt x="226" y="423"/>
                </a:lnTo>
                <a:lnTo>
                  <a:pt x="217" y="434"/>
                </a:lnTo>
                <a:lnTo>
                  <a:pt x="197" y="438"/>
                </a:lnTo>
                <a:lnTo>
                  <a:pt x="176" y="459"/>
                </a:lnTo>
                <a:lnTo>
                  <a:pt x="152" y="448"/>
                </a:lnTo>
                <a:lnTo>
                  <a:pt x="135" y="409"/>
                </a:lnTo>
                <a:lnTo>
                  <a:pt x="124" y="401"/>
                </a:lnTo>
                <a:lnTo>
                  <a:pt x="105" y="392"/>
                </a:lnTo>
                <a:lnTo>
                  <a:pt x="87" y="394"/>
                </a:lnTo>
                <a:close/>
                <a:moveTo>
                  <a:pt x="618" y="228"/>
                </a:moveTo>
                <a:lnTo>
                  <a:pt x="619" y="239"/>
                </a:lnTo>
                <a:lnTo>
                  <a:pt x="601" y="230"/>
                </a:lnTo>
                <a:lnTo>
                  <a:pt x="618" y="228"/>
                </a:lnTo>
                <a:close/>
                <a:moveTo>
                  <a:pt x="571" y="234"/>
                </a:moveTo>
                <a:lnTo>
                  <a:pt x="569" y="244"/>
                </a:lnTo>
                <a:lnTo>
                  <a:pt x="580" y="250"/>
                </a:lnTo>
                <a:lnTo>
                  <a:pt x="567" y="273"/>
                </a:lnTo>
                <a:lnTo>
                  <a:pt x="551" y="257"/>
                </a:lnTo>
                <a:lnTo>
                  <a:pt x="540" y="261"/>
                </a:lnTo>
                <a:lnTo>
                  <a:pt x="535" y="254"/>
                </a:lnTo>
                <a:lnTo>
                  <a:pt x="543" y="245"/>
                </a:lnTo>
                <a:lnTo>
                  <a:pt x="571" y="234"/>
                </a:lnTo>
                <a:close/>
                <a:moveTo>
                  <a:pt x="492" y="282"/>
                </a:moveTo>
                <a:lnTo>
                  <a:pt x="496" y="290"/>
                </a:lnTo>
                <a:lnTo>
                  <a:pt x="491" y="295"/>
                </a:lnTo>
                <a:lnTo>
                  <a:pt x="483" y="295"/>
                </a:lnTo>
                <a:lnTo>
                  <a:pt x="492" y="282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19" name="Freeform 208"/>
          <p:cNvSpPr>
            <a:spLocks noChangeAspect="1" noEditPoints="1"/>
          </p:cNvSpPr>
          <p:nvPr/>
        </p:nvSpPr>
        <p:spPr bwMode="gray">
          <a:xfrm>
            <a:off x="4557713" y="2636838"/>
            <a:ext cx="263525" cy="311150"/>
          </a:xfrm>
          <a:custGeom>
            <a:avLst/>
            <a:gdLst>
              <a:gd name="T0" fmla="*/ 2147483647 w 544"/>
              <a:gd name="T1" fmla="*/ 2147483647 h 642"/>
              <a:gd name="T2" fmla="*/ 2147483647 w 544"/>
              <a:gd name="T3" fmla="*/ 2147483647 h 642"/>
              <a:gd name="T4" fmla="*/ 2147483647 w 544"/>
              <a:gd name="T5" fmla="*/ 2147483647 h 642"/>
              <a:gd name="T6" fmla="*/ 2147483647 w 544"/>
              <a:gd name="T7" fmla="*/ 2147483647 h 642"/>
              <a:gd name="T8" fmla="*/ 2147483647 w 544"/>
              <a:gd name="T9" fmla="*/ 2147483647 h 642"/>
              <a:gd name="T10" fmla="*/ 2147483647 w 544"/>
              <a:gd name="T11" fmla="*/ 2147483647 h 642"/>
              <a:gd name="T12" fmla="*/ 2147483647 w 544"/>
              <a:gd name="T13" fmla="*/ 2147483647 h 642"/>
              <a:gd name="T14" fmla="*/ 2147483647 w 544"/>
              <a:gd name="T15" fmla="*/ 2147483647 h 642"/>
              <a:gd name="T16" fmla="*/ 2147483647 w 544"/>
              <a:gd name="T17" fmla="*/ 2147483647 h 642"/>
              <a:gd name="T18" fmla="*/ 2147483647 w 544"/>
              <a:gd name="T19" fmla="*/ 2147483647 h 642"/>
              <a:gd name="T20" fmla="*/ 2147483647 w 544"/>
              <a:gd name="T21" fmla="*/ 2147483647 h 642"/>
              <a:gd name="T22" fmla="*/ 2147483647 w 544"/>
              <a:gd name="T23" fmla="*/ 2147483647 h 642"/>
              <a:gd name="T24" fmla="*/ 2147483647 w 544"/>
              <a:gd name="T25" fmla="*/ 2147483647 h 642"/>
              <a:gd name="T26" fmla="*/ 2147483647 w 544"/>
              <a:gd name="T27" fmla="*/ 2147483647 h 642"/>
              <a:gd name="T28" fmla="*/ 2147483647 w 544"/>
              <a:gd name="T29" fmla="*/ 2147483647 h 642"/>
              <a:gd name="T30" fmla="*/ 2147483647 w 544"/>
              <a:gd name="T31" fmla="*/ 2147483647 h 642"/>
              <a:gd name="T32" fmla="*/ 2147483647 w 544"/>
              <a:gd name="T33" fmla="*/ 2147483647 h 642"/>
              <a:gd name="T34" fmla="*/ 2147483647 w 544"/>
              <a:gd name="T35" fmla="*/ 2147483647 h 642"/>
              <a:gd name="T36" fmla="*/ 2147483647 w 544"/>
              <a:gd name="T37" fmla="*/ 2147483647 h 642"/>
              <a:gd name="T38" fmla="*/ 2147483647 w 544"/>
              <a:gd name="T39" fmla="*/ 2147483647 h 642"/>
              <a:gd name="T40" fmla="*/ 2147483647 w 544"/>
              <a:gd name="T41" fmla="*/ 2147483647 h 642"/>
              <a:gd name="T42" fmla="*/ 2147483647 w 544"/>
              <a:gd name="T43" fmla="*/ 2147483647 h 642"/>
              <a:gd name="T44" fmla="*/ 2147483647 w 544"/>
              <a:gd name="T45" fmla="*/ 2147483647 h 642"/>
              <a:gd name="T46" fmla="*/ 2147483647 w 544"/>
              <a:gd name="T47" fmla="*/ 2147483647 h 642"/>
              <a:gd name="T48" fmla="*/ 2147483647 w 544"/>
              <a:gd name="T49" fmla="*/ 2147483647 h 642"/>
              <a:gd name="T50" fmla="*/ 2147483647 w 544"/>
              <a:gd name="T51" fmla="*/ 2147483647 h 642"/>
              <a:gd name="T52" fmla="*/ 2147483647 w 544"/>
              <a:gd name="T53" fmla="*/ 2147483647 h 642"/>
              <a:gd name="T54" fmla="*/ 2147483647 w 544"/>
              <a:gd name="T55" fmla="*/ 2147483647 h 642"/>
              <a:gd name="T56" fmla="*/ 2147483647 w 544"/>
              <a:gd name="T57" fmla="*/ 2147483647 h 642"/>
              <a:gd name="T58" fmla="*/ 2147483647 w 544"/>
              <a:gd name="T59" fmla="*/ 2147483647 h 642"/>
              <a:gd name="T60" fmla="*/ 2147483647 w 544"/>
              <a:gd name="T61" fmla="*/ 2147483647 h 642"/>
              <a:gd name="T62" fmla="*/ 2147483647 w 544"/>
              <a:gd name="T63" fmla="*/ 2147483647 h 642"/>
              <a:gd name="T64" fmla="*/ 2147483647 w 544"/>
              <a:gd name="T65" fmla="*/ 2147483647 h 642"/>
              <a:gd name="T66" fmla="*/ 2147483647 w 544"/>
              <a:gd name="T67" fmla="*/ 2147483647 h 642"/>
              <a:gd name="T68" fmla="*/ 2147483647 w 544"/>
              <a:gd name="T69" fmla="*/ 2147483647 h 642"/>
              <a:gd name="T70" fmla="*/ 2147483647 w 544"/>
              <a:gd name="T71" fmla="*/ 2147483647 h 642"/>
              <a:gd name="T72" fmla="*/ 2147483647 w 544"/>
              <a:gd name="T73" fmla="*/ 2147483647 h 642"/>
              <a:gd name="T74" fmla="*/ 2147483647 w 544"/>
              <a:gd name="T75" fmla="*/ 2147483647 h 642"/>
              <a:gd name="T76" fmla="*/ 2147483647 w 544"/>
              <a:gd name="T77" fmla="*/ 2147483647 h 642"/>
              <a:gd name="T78" fmla="*/ 2147483647 w 544"/>
              <a:gd name="T79" fmla="*/ 2147483647 h 642"/>
              <a:gd name="T80" fmla="*/ 2147483647 w 544"/>
              <a:gd name="T81" fmla="*/ 2147483647 h 642"/>
              <a:gd name="T82" fmla="*/ 2147483647 w 544"/>
              <a:gd name="T83" fmla="*/ 2147483647 h 642"/>
              <a:gd name="T84" fmla="*/ 0 w 544"/>
              <a:gd name="T85" fmla="*/ 2147483647 h 642"/>
              <a:gd name="T86" fmla="*/ 2147483647 w 544"/>
              <a:gd name="T87" fmla="*/ 2147483647 h 642"/>
              <a:gd name="T88" fmla="*/ 2147483647 w 544"/>
              <a:gd name="T89" fmla="*/ 2147483647 h 642"/>
              <a:gd name="T90" fmla="*/ 2147483647 w 544"/>
              <a:gd name="T91" fmla="*/ 2147483647 h 642"/>
              <a:gd name="T92" fmla="*/ 2147483647 w 544"/>
              <a:gd name="T93" fmla="*/ 2147483647 h 642"/>
              <a:gd name="T94" fmla="*/ 2147483647 w 544"/>
              <a:gd name="T95" fmla="*/ 2147483647 h 642"/>
              <a:gd name="T96" fmla="*/ 2147483647 w 544"/>
              <a:gd name="T97" fmla="*/ 2147483647 h 642"/>
              <a:gd name="T98" fmla="*/ 2147483647 w 544"/>
              <a:gd name="T99" fmla="*/ 2147483647 h 642"/>
              <a:gd name="T100" fmla="*/ 2147483647 w 544"/>
              <a:gd name="T101" fmla="*/ 2147483647 h 642"/>
              <a:gd name="T102" fmla="*/ 2147483647 w 544"/>
              <a:gd name="T103" fmla="*/ 2147483647 h 642"/>
              <a:gd name="T104" fmla="*/ 2147483647 w 544"/>
              <a:gd name="T105" fmla="*/ 2147483647 h 642"/>
              <a:gd name="T106" fmla="*/ 2147483647 w 544"/>
              <a:gd name="T107" fmla="*/ 2147483647 h 642"/>
              <a:gd name="T108" fmla="*/ 2147483647 w 544"/>
              <a:gd name="T109" fmla="*/ 2147483647 h 642"/>
              <a:gd name="T110" fmla="*/ 2147483647 w 544"/>
              <a:gd name="T111" fmla="*/ 2147483647 h 642"/>
              <a:gd name="T112" fmla="*/ 2147483647 w 544"/>
              <a:gd name="T113" fmla="*/ 2147483647 h 642"/>
              <a:gd name="T114" fmla="*/ 2147483647 w 544"/>
              <a:gd name="T115" fmla="*/ 2147483647 h 642"/>
              <a:gd name="T116" fmla="*/ 2147483647 w 544"/>
              <a:gd name="T117" fmla="*/ 2147483647 h 642"/>
              <a:gd name="T118" fmla="*/ 2147483647 w 544"/>
              <a:gd name="T119" fmla="*/ 2147483647 h 642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544"/>
              <a:gd name="T181" fmla="*/ 0 h 642"/>
              <a:gd name="T182" fmla="*/ 544 w 544"/>
              <a:gd name="T183" fmla="*/ 642 h 642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544" h="642">
                <a:moveTo>
                  <a:pt x="39" y="212"/>
                </a:moveTo>
                <a:lnTo>
                  <a:pt x="68" y="206"/>
                </a:lnTo>
                <a:lnTo>
                  <a:pt x="81" y="184"/>
                </a:lnTo>
                <a:lnTo>
                  <a:pt x="97" y="176"/>
                </a:lnTo>
                <a:lnTo>
                  <a:pt x="112" y="178"/>
                </a:lnTo>
                <a:lnTo>
                  <a:pt x="160" y="204"/>
                </a:lnTo>
                <a:lnTo>
                  <a:pt x="177" y="261"/>
                </a:lnTo>
                <a:lnTo>
                  <a:pt x="203" y="288"/>
                </a:lnTo>
                <a:lnTo>
                  <a:pt x="205" y="302"/>
                </a:lnTo>
                <a:lnTo>
                  <a:pt x="219" y="298"/>
                </a:lnTo>
                <a:lnTo>
                  <a:pt x="227" y="305"/>
                </a:lnTo>
                <a:lnTo>
                  <a:pt x="237" y="322"/>
                </a:lnTo>
                <a:lnTo>
                  <a:pt x="245" y="323"/>
                </a:lnTo>
                <a:lnTo>
                  <a:pt x="293" y="371"/>
                </a:lnTo>
                <a:lnTo>
                  <a:pt x="326" y="373"/>
                </a:lnTo>
                <a:lnTo>
                  <a:pt x="340" y="395"/>
                </a:lnTo>
                <a:lnTo>
                  <a:pt x="354" y="402"/>
                </a:lnTo>
                <a:lnTo>
                  <a:pt x="354" y="410"/>
                </a:lnTo>
                <a:lnTo>
                  <a:pt x="374" y="408"/>
                </a:lnTo>
                <a:lnTo>
                  <a:pt x="384" y="436"/>
                </a:lnTo>
                <a:lnTo>
                  <a:pt x="401" y="449"/>
                </a:lnTo>
                <a:lnTo>
                  <a:pt x="411" y="442"/>
                </a:lnTo>
                <a:lnTo>
                  <a:pt x="439" y="517"/>
                </a:lnTo>
                <a:lnTo>
                  <a:pt x="422" y="527"/>
                </a:lnTo>
                <a:lnTo>
                  <a:pt x="423" y="537"/>
                </a:lnTo>
                <a:lnTo>
                  <a:pt x="415" y="554"/>
                </a:lnTo>
                <a:lnTo>
                  <a:pt x="417" y="571"/>
                </a:lnTo>
                <a:lnTo>
                  <a:pt x="431" y="571"/>
                </a:lnTo>
                <a:lnTo>
                  <a:pt x="442" y="551"/>
                </a:lnTo>
                <a:lnTo>
                  <a:pt x="454" y="544"/>
                </a:lnTo>
                <a:lnTo>
                  <a:pt x="459" y="515"/>
                </a:lnTo>
                <a:lnTo>
                  <a:pt x="479" y="505"/>
                </a:lnTo>
                <a:lnTo>
                  <a:pt x="477" y="481"/>
                </a:lnTo>
                <a:lnTo>
                  <a:pt x="452" y="463"/>
                </a:lnTo>
                <a:lnTo>
                  <a:pt x="457" y="439"/>
                </a:lnTo>
                <a:lnTo>
                  <a:pt x="464" y="429"/>
                </a:lnTo>
                <a:lnTo>
                  <a:pt x="482" y="415"/>
                </a:lnTo>
                <a:lnTo>
                  <a:pt x="518" y="433"/>
                </a:lnTo>
                <a:lnTo>
                  <a:pt x="527" y="450"/>
                </a:lnTo>
                <a:lnTo>
                  <a:pt x="536" y="456"/>
                </a:lnTo>
                <a:lnTo>
                  <a:pt x="544" y="441"/>
                </a:lnTo>
                <a:lnTo>
                  <a:pt x="518" y="404"/>
                </a:lnTo>
                <a:lnTo>
                  <a:pt x="426" y="359"/>
                </a:lnTo>
                <a:lnTo>
                  <a:pt x="423" y="353"/>
                </a:lnTo>
                <a:lnTo>
                  <a:pt x="435" y="342"/>
                </a:lnTo>
                <a:lnTo>
                  <a:pt x="435" y="334"/>
                </a:lnTo>
                <a:lnTo>
                  <a:pt x="431" y="328"/>
                </a:lnTo>
                <a:lnTo>
                  <a:pt x="392" y="331"/>
                </a:lnTo>
                <a:lnTo>
                  <a:pt x="391" y="337"/>
                </a:lnTo>
                <a:lnTo>
                  <a:pt x="369" y="319"/>
                </a:lnTo>
                <a:lnTo>
                  <a:pt x="340" y="288"/>
                </a:lnTo>
                <a:lnTo>
                  <a:pt x="315" y="226"/>
                </a:lnTo>
                <a:lnTo>
                  <a:pt x="264" y="193"/>
                </a:lnTo>
                <a:lnTo>
                  <a:pt x="258" y="178"/>
                </a:lnTo>
                <a:lnTo>
                  <a:pt x="258" y="163"/>
                </a:lnTo>
                <a:lnTo>
                  <a:pt x="266" y="144"/>
                </a:lnTo>
                <a:lnTo>
                  <a:pt x="266" y="139"/>
                </a:lnTo>
                <a:lnTo>
                  <a:pt x="258" y="131"/>
                </a:lnTo>
                <a:lnTo>
                  <a:pt x="256" y="113"/>
                </a:lnTo>
                <a:lnTo>
                  <a:pt x="301" y="91"/>
                </a:lnTo>
                <a:lnTo>
                  <a:pt x="321" y="90"/>
                </a:lnTo>
                <a:lnTo>
                  <a:pt x="320" y="104"/>
                </a:lnTo>
                <a:lnTo>
                  <a:pt x="332" y="97"/>
                </a:lnTo>
                <a:lnTo>
                  <a:pt x="317" y="83"/>
                </a:lnTo>
                <a:lnTo>
                  <a:pt x="313" y="71"/>
                </a:lnTo>
                <a:lnTo>
                  <a:pt x="315" y="58"/>
                </a:lnTo>
                <a:lnTo>
                  <a:pt x="309" y="58"/>
                </a:lnTo>
                <a:lnTo>
                  <a:pt x="320" y="40"/>
                </a:lnTo>
                <a:lnTo>
                  <a:pt x="264" y="26"/>
                </a:lnTo>
                <a:lnTo>
                  <a:pt x="254" y="19"/>
                </a:lnTo>
                <a:lnTo>
                  <a:pt x="247" y="0"/>
                </a:lnTo>
                <a:lnTo>
                  <a:pt x="185" y="19"/>
                </a:lnTo>
                <a:lnTo>
                  <a:pt x="169" y="15"/>
                </a:lnTo>
                <a:lnTo>
                  <a:pt x="168" y="29"/>
                </a:lnTo>
                <a:lnTo>
                  <a:pt x="156" y="32"/>
                </a:lnTo>
                <a:lnTo>
                  <a:pt x="156" y="53"/>
                </a:lnTo>
                <a:lnTo>
                  <a:pt x="118" y="41"/>
                </a:lnTo>
                <a:lnTo>
                  <a:pt x="103" y="79"/>
                </a:lnTo>
                <a:lnTo>
                  <a:pt x="83" y="62"/>
                </a:lnTo>
                <a:lnTo>
                  <a:pt x="78" y="45"/>
                </a:lnTo>
                <a:lnTo>
                  <a:pt x="51" y="77"/>
                </a:lnTo>
                <a:lnTo>
                  <a:pt x="12" y="82"/>
                </a:lnTo>
                <a:lnTo>
                  <a:pt x="4" y="85"/>
                </a:lnTo>
                <a:lnTo>
                  <a:pt x="15" y="119"/>
                </a:lnTo>
                <a:lnTo>
                  <a:pt x="2" y="133"/>
                </a:lnTo>
                <a:lnTo>
                  <a:pt x="0" y="142"/>
                </a:lnTo>
                <a:lnTo>
                  <a:pt x="10" y="150"/>
                </a:lnTo>
                <a:lnTo>
                  <a:pt x="9" y="173"/>
                </a:lnTo>
                <a:lnTo>
                  <a:pt x="17" y="190"/>
                </a:lnTo>
                <a:lnTo>
                  <a:pt x="38" y="192"/>
                </a:lnTo>
                <a:lnTo>
                  <a:pt x="39" y="212"/>
                </a:lnTo>
                <a:close/>
                <a:moveTo>
                  <a:pt x="112" y="370"/>
                </a:moveTo>
                <a:lnTo>
                  <a:pt x="129" y="379"/>
                </a:lnTo>
                <a:lnTo>
                  <a:pt x="137" y="405"/>
                </a:lnTo>
                <a:lnTo>
                  <a:pt x="135" y="484"/>
                </a:lnTo>
                <a:lnTo>
                  <a:pt x="129" y="498"/>
                </a:lnTo>
                <a:lnTo>
                  <a:pt x="117" y="495"/>
                </a:lnTo>
                <a:lnTo>
                  <a:pt x="110" y="509"/>
                </a:lnTo>
                <a:lnTo>
                  <a:pt x="95" y="515"/>
                </a:lnTo>
                <a:lnTo>
                  <a:pt x="81" y="490"/>
                </a:lnTo>
                <a:lnTo>
                  <a:pt x="78" y="480"/>
                </a:lnTo>
                <a:lnTo>
                  <a:pt x="85" y="455"/>
                </a:lnTo>
                <a:lnTo>
                  <a:pt x="80" y="422"/>
                </a:lnTo>
                <a:lnTo>
                  <a:pt x="69" y="408"/>
                </a:lnTo>
                <a:lnTo>
                  <a:pt x="69" y="391"/>
                </a:lnTo>
                <a:lnTo>
                  <a:pt x="86" y="395"/>
                </a:lnTo>
                <a:lnTo>
                  <a:pt x="112" y="370"/>
                </a:lnTo>
                <a:close/>
                <a:moveTo>
                  <a:pt x="411" y="549"/>
                </a:moveTo>
                <a:lnTo>
                  <a:pt x="388" y="600"/>
                </a:lnTo>
                <a:lnTo>
                  <a:pt x="395" y="622"/>
                </a:lnTo>
                <a:lnTo>
                  <a:pt x="389" y="642"/>
                </a:lnTo>
                <a:lnTo>
                  <a:pt x="366" y="639"/>
                </a:lnTo>
                <a:lnTo>
                  <a:pt x="351" y="623"/>
                </a:lnTo>
                <a:lnTo>
                  <a:pt x="275" y="589"/>
                </a:lnTo>
                <a:lnTo>
                  <a:pt x="267" y="571"/>
                </a:lnTo>
                <a:lnTo>
                  <a:pt x="276" y="555"/>
                </a:lnTo>
                <a:lnTo>
                  <a:pt x="283" y="561"/>
                </a:lnTo>
                <a:lnTo>
                  <a:pt x="301" y="554"/>
                </a:lnTo>
                <a:lnTo>
                  <a:pt x="324" y="568"/>
                </a:lnTo>
                <a:lnTo>
                  <a:pt x="411" y="549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20" name="Freeform 209"/>
          <p:cNvSpPr>
            <a:spLocks noChangeAspect="1" noEditPoints="1"/>
          </p:cNvSpPr>
          <p:nvPr/>
        </p:nvSpPr>
        <p:spPr bwMode="gray">
          <a:xfrm>
            <a:off x="4302125" y="2500313"/>
            <a:ext cx="319088" cy="314325"/>
          </a:xfrm>
          <a:custGeom>
            <a:avLst/>
            <a:gdLst>
              <a:gd name="T0" fmla="*/ 2147483647 w 654"/>
              <a:gd name="T1" fmla="*/ 2147483647 h 645"/>
              <a:gd name="T2" fmla="*/ 2147483647 w 654"/>
              <a:gd name="T3" fmla="*/ 2147483647 h 645"/>
              <a:gd name="T4" fmla="*/ 2147483647 w 654"/>
              <a:gd name="T5" fmla="*/ 2147483647 h 645"/>
              <a:gd name="T6" fmla="*/ 2147483647 w 654"/>
              <a:gd name="T7" fmla="*/ 2147483647 h 645"/>
              <a:gd name="T8" fmla="*/ 2147483647 w 654"/>
              <a:gd name="T9" fmla="*/ 2147483647 h 645"/>
              <a:gd name="T10" fmla="*/ 2147483647 w 654"/>
              <a:gd name="T11" fmla="*/ 2147483647 h 645"/>
              <a:gd name="T12" fmla="*/ 2147483647 w 654"/>
              <a:gd name="T13" fmla="*/ 2147483647 h 645"/>
              <a:gd name="T14" fmla="*/ 2147483647 w 654"/>
              <a:gd name="T15" fmla="*/ 2147483647 h 645"/>
              <a:gd name="T16" fmla="*/ 2147483647 w 654"/>
              <a:gd name="T17" fmla="*/ 2147483647 h 645"/>
              <a:gd name="T18" fmla="*/ 2147483647 w 654"/>
              <a:gd name="T19" fmla="*/ 2147483647 h 645"/>
              <a:gd name="T20" fmla="*/ 2147483647 w 654"/>
              <a:gd name="T21" fmla="*/ 2147483647 h 645"/>
              <a:gd name="T22" fmla="*/ 2147483647 w 654"/>
              <a:gd name="T23" fmla="*/ 2147483647 h 645"/>
              <a:gd name="T24" fmla="*/ 2147483647 w 654"/>
              <a:gd name="T25" fmla="*/ 2147483647 h 645"/>
              <a:gd name="T26" fmla="*/ 2147483647 w 654"/>
              <a:gd name="T27" fmla="*/ 2147483647 h 645"/>
              <a:gd name="T28" fmla="*/ 2147483647 w 654"/>
              <a:gd name="T29" fmla="*/ 2147483647 h 645"/>
              <a:gd name="T30" fmla="*/ 2147483647 w 654"/>
              <a:gd name="T31" fmla="*/ 2147483647 h 645"/>
              <a:gd name="T32" fmla="*/ 2147483647 w 654"/>
              <a:gd name="T33" fmla="*/ 2147483647 h 645"/>
              <a:gd name="T34" fmla="*/ 2147483647 w 654"/>
              <a:gd name="T35" fmla="*/ 2147483647 h 645"/>
              <a:gd name="T36" fmla="*/ 2147483647 w 654"/>
              <a:gd name="T37" fmla="*/ 2147483647 h 645"/>
              <a:gd name="T38" fmla="*/ 2147483647 w 654"/>
              <a:gd name="T39" fmla="*/ 2147483647 h 645"/>
              <a:gd name="T40" fmla="*/ 2147483647 w 654"/>
              <a:gd name="T41" fmla="*/ 2147483647 h 645"/>
              <a:gd name="T42" fmla="*/ 2147483647 w 654"/>
              <a:gd name="T43" fmla="*/ 2147483647 h 645"/>
              <a:gd name="T44" fmla="*/ 2147483647 w 654"/>
              <a:gd name="T45" fmla="*/ 2147483647 h 645"/>
              <a:gd name="T46" fmla="*/ 2147483647 w 654"/>
              <a:gd name="T47" fmla="*/ 2147483647 h 645"/>
              <a:gd name="T48" fmla="*/ 2147483647 w 654"/>
              <a:gd name="T49" fmla="*/ 2147483647 h 645"/>
              <a:gd name="T50" fmla="*/ 2147483647 w 654"/>
              <a:gd name="T51" fmla="*/ 2147483647 h 645"/>
              <a:gd name="T52" fmla="*/ 2147483647 w 654"/>
              <a:gd name="T53" fmla="*/ 2147483647 h 645"/>
              <a:gd name="T54" fmla="*/ 2147483647 w 654"/>
              <a:gd name="T55" fmla="*/ 2147483647 h 645"/>
              <a:gd name="T56" fmla="*/ 2147483647 w 654"/>
              <a:gd name="T57" fmla="*/ 2147483647 h 645"/>
              <a:gd name="T58" fmla="*/ 2147483647 w 654"/>
              <a:gd name="T59" fmla="*/ 2147483647 h 645"/>
              <a:gd name="T60" fmla="*/ 2147483647 w 654"/>
              <a:gd name="T61" fmla="*/ 2147483647 h 645"/>
              <a:gd name="T62" fmla="*/ 2147483647 w 654"/>
              <a:gd name="T63" fmla="*/ 2147483647 h 645"/>
              <a:gd name="T64" fmla="*/ 2147483647 w 654"/>
              <a:gd name="T65" fmla="*/ 2147483647 h 645"/>
              <a:gd name="T66" fmla="*/ 2147483647 w 654"/>
              <a:gd name="T67" fmla="*/ 2147483647 h 645"/>
              <a:gd name="T68" fmla="*/ 2147483647 w 654"/>
              <a:gd name="T69" fmla="*/ 2147483647 h 645"/>
              <a:gd name="T70" fmla="*/ 2147483647 w 654"/>
              <a:gd name="T71" fmla="*/ 2147483647 h 645"/>
              <a:gd name="T72" fmla="*/ 2147483647 w 654"/>
              <a:gd name="T73" fmla="*/ 2147483647 h 645"/>
              <a:gd name="T74" fmla="*/ 2147483647 w 654"/>
              <a:gd name="T75" fmla="*/ 2147483647 h 645"/>
              <a:gd name="T76" fmla="*/ 2147483647 w 654"/>
              <a:gd name="T77" fmla="*/ 2147483647 h 645"/>
              <a:gd name="T78" fmla="*/ 2147483647 w 654"/>
              <a:gd name="T79" fmla="*/ 2147483647 h 645"/>
              <a:gd name="T80" fmla="*/ 2147483647 w 654"/>
              <a:gd name="T81" fmla="*/ 2147483647 h 645"/>
              <a:gd name="T82" fmla="*/ 2147483647 w 654"/>
              <a:gd name="T83" fmla="*/ 2147483647 h 645"/>
              <a:gd name="T84" fmla="*/ 2147483647 w 654"/>
              <a:gd name="T85" fmla="*/ 2147483647 h 645"/>
              <a:gd name="T86" fmla="*/ 2147483647 w 654"/>
              <a:gd name="T87" fmla="*/ 2147483647 h 645"/>
              <a:gd name="T88" fmla="*/ 2147483647 w 654"/>
              <a:gd name="T89" fmla="*/ 2147483647 h 645"/>
              <a:gd name="T90" fmla="*/ 2147483647 w 654"/>
              <a:gd name="T91" fmla="*/ 2147483647 h 645"/>
              <a:gd name="T92" fmla="*/ 2147483647 w 654"/>
              <a:gd name="T93" fmla="*/ 2147483647 h 645"/>
              <a:gd name="T94" fmla="*/ 2147483647 w 654"/>
              <a:gd name="T95" fmla="*/ 2147483647 h 645"/>
              <a:gd name="T96" fmla="*/ 2147483647 w 654"/>
              <a:gd name="T97" fmla="*/ 2147483647 h 645"/>
              <a:gd name="T98" fmla="*/ 2147483647 w 654"/>
              <a:gd name="T99" fmla="*/ 2147483647 h 645"/>
              <a:gd name="T100" fmla="*/ 2147483647 w 654"/>
              <a:gd name="T101" fmla="*/ 0 h 645"/>
              <a:gd name="T102" fmla="*/ 2147483647 w 654"/>
              <a:gd name="T103" fmla="*/ 2147483647 h 645"/>
              <a:gd name="T104" fmla="*/ 2147483647 w 654"/>
              <a:gd name="T105" fmla="*/ 2147483647 h 645"/>
              <a:gd name="T106" fmla="*/ 2147483647 w 654"/>
              <a:gd name="T107" fmla="*/ 2147483647 h 645"/>
              <a:gd name="T108" fmla="*/ 2147483647 w 654"/>
              <a:gd name="T109" fmla="*/ 2147483647 h 645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654"/>
              <a:gd name="T166" fmla="*/ 0 h 645"/>
              <a:gd name="T167" fmla="*/ 654 w 654"/>
              <a:gd name="T168" fmla="*/ 645 h 645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654" h="645">
                <a:moveTo>
                  <a:pt x="342" y="0"/>
                </a:moveTo>
                <a:lnTo>
                  <a:pt x="299" y="15"/>
                </a:lnTo>
                <a:lnTo>
                  <a:pt x="294" y="29"/>
                </a:lnTo>
                <a:lnTo>
                  <a:pt x="292" y="63"/>
                </a:lnTo>
                <a:lnTo>
                  <a:pt x="269" y="82"/>
                </a:lnTo>
                <a:lnTo>
                  <a:pt x="231" y="99"/>
                </a:lnTo>
                <a:lnTo>
                  <a:pt x="226" y="114"/>
                </a:lnTo>
                <a:lnTo>
                  <a:pt x="241" y="119"/>
                </a:lnTo>
                <a:lnTo>
                  <a:pt x="210" y="130"/>
                </a:lnTo>
                <a:lnTo>
                  <a:pt x="172" y="125"/>
                </a:lnTo>
                <a:lnTo>
                  <a:pt x="161" y="111"/>
                </a:lnTo>
                <a:lnTo>
                  <a:pt x="161" y="105"/>
                </a:lnTo>
                <a:lnTo>
                  <a:pt x="133" y="101"/>
                </a:lnTo>
                <a:lnTo>
                  <a:pt x="150" y="169"/>
                </a:lnTo>
                <a:lnTo>
                  <a:pt x="156" y="172"/>
                </a:lnTo>
                <a:lnTo>
                  <a:pt x="151" y="178"/>
                </a:lnTo>
                <a:lnTo>
                  <a:pt x="136" y="172"/>
                </a:lnTo>
                <a:lnTo>
                  <a:pt x="100" y="181"/>
                </a:lnTo>
                <a:lnTo>
                  <a:pt x="80" y="162"/>
                </a:lnTo>
                <a:lnTo>
                  <a:pt x="62" y="162"/>
                </a:lnTo>
                <a:lnTo>
                  <a:pt x="56" y="169"/>
                </a:lnTo>
                <a:lnTo>
                  <a:pt x="3" y="184"/>
                </a:lnTo>
                <a:lnTo>
                  <a:pt x="0" y="198"/>
                </a:lnTo>
                <a:lnTo>
                  <a:pt x="17" y="195"/>
                </a:lnTo>
                <a:lnTo>
                  <a:pt x="9" y="204"/>
                </a:lnTo>
                <a:lnTo>
                  <a:pt x="17" y="213"/>
                </a:lnTo>
                <a:lnTo>
                  <a:pt x="6" y="218"/>
                </a:lnTo>
                <a:lnTo>
                  <a:pt x="20" y="233"/>
                </a:lnTo>
                <a:lnTo>
                  <a:pt x="37" y="230"/>
                </a:lnTo>
                <a:lnTo>
                  <a:pt x="73" y="249"/>
                </a:lnTo>
                <a:lnTo>
                  <a:pt x="105" y="252"/>
                </a:lnTo>
                <a:lnTo>
                  <a:pt x="107" y="267"/>
                </a:lnTo>
                <a:lnTo>
                  <a:pt x="139" y="272"/>
                </a:lnTo>
                <a:lnTo>
                  <a:pt x="122" y="274"/>
                </a:lnTo>
                <a:lnTo>
                  <a:pt x="125" y="299"/>
                </a:lnTo>
                <a:lnTo>
                  <a:pt x="139" y="320"/>
                </a:lnTo>
                <a:lnTo>
                  <a:pt x="170" y="334"/>
                </a:lnTo>
                <a:lnTo>
                  <a:pt x="173" y="360"/>
                </a:lnTo>
                <a:lnTo>
                  <a:pt x="168" y="370"/>
                </a:lnTo>
                <a:lnTo>
                  <a:pt x="187" y="393"/>
                </a:lnTo>
                <a:lnTo>
                  <a:pt x="189" y="402"/>
                </a:lnTo>
                <a:lnTo>
                  <a:pt x="175" y="385"/>
                </a:lnTo>
                <a:lnTo>
                  <a:pt x="168" y="435"/>
                </a:lnTo>
                <a:lnTo>
                  <a:pt x="175" y="441"/>
                </a:lnTo>
                <a:lnTo>
                  <a:pt x="167" y="458"/>
                </a:lnTo>
                <a:lnTo>
                  <a:pt x="156" y="507"/>
                </a:lnTo>
                <a:lnTo>
                  <a:pt x="153" y="518"/>
                </a:lnTo>
                <a:lnTo>
                  <a:pt x="136" y="523"/>
                </a:lnTo>
                <a:lnTo>
                  <a:pt x="156" y="541"/>
                </a:lnTo>
                <a:lnTo>
                  <a:pt x="189" y="557"/>
                </a:lnTo>
                <a:lnTo>
                  <a:pt x="238" y="568"/>
                </a:lnTo>
                <a:lnTo>
                  <a:pt x="260" y="560"/>
                </a:lnTo>
                <a:lnTo>
                  <a:pt x="278" y="572"/>
                </a:lnTo>
                <a:lnTo>
                  <a:pt x="288" y="569"/>
                </a:lnTo>
                <a:lnTo>
                  <a:pt x="294" y="577"/>
                </a:lnTo>
                <a:lnTo>
                  <a:pt x="311" y="586"/>
                </a:lnTo>
                <a:lnTo>
                  <a:pt x="361" y="583"/>
                </a:lnTo>
                <a:lnTo>
                  <a:pt x="356" y="555"/>
                </a:lnTo>
                <a:lnTo>
                  <a:pt x="365" y="535"/>
                </a:lnTo>
                <a:lnTo>
                  <a:pt x="402" y="512"/>
                </a:lnTo>
                <a:lnTo>
                  <a:pt x="432" y="523"/>
                </a:lnTo>
                <a:lnTo>
                  <a:pt x="449" y="521"/>
                </a:lnTo>
                <a:lnTo>
                  <a:pt x="498" y="540"/>
                </a:lnTo>
                <a:lnTo>
                  <a:pt x="518" y="531"/>
                </a:lnTo>
                <a:lnTo>
                  <a:pt x="544" y="503"/>
                </a:lnTo>
                <a:lnTo>
                  <a:pt x="561" y="492"/>
                </a:lnTo>
                <a:lnTo>
                  <a:pt x="560" y="472"/>
                </a:lnTo>
                <a:lnTo>
                  <a:pt x="539" y="470"/>
                </a:lnTo>
                <a:lnTo>
                  <a:pt x="531" y="453"/>
                </a:lnTo>
                <a:lnTo>
                  <a:pt x="532" y="430"/>
                </a:lnTo>
                <a:lnTo>
                  <a:pt x="522" y="422"/>
                </a:lnTo>
                <a:lnTo>
                  <a:pt x="524" y="413"/>
                </a:lnTo>
                <a:lnTo>
                  <a:pt x="537" y="399"/>
                </a:lnTo>
                <a:lnTo>
                  <a:pt x="526" y="365"/>
                </a:lnTo>
                <a:lnTo>
                  <a:pt x="534" y="362"/>
                </a:lnTo>
                <a:lnTo>
                  <a:pt x="532" y="351"/>
                </a:lnTo>
                <a:lnTo>
                  <a:pt x="526" y="350"/>
                </a:lnTo>
                <a:lnTo>
                  <a:pt x="524" y="328"/>
                </a:lnTo>
                <a:lnTo>
                  <a:pt x="507" y="326"/>
                </a:lnTo>
                <a:lnTo>
                  <a:pt x="492" y="343"/>
                </a:lnTo>
                <a:lnTo>
                  <a:pt x="490" y="323"/>
                </a:lnTo>
                <a:lnTo>
                  <a:pt x="514" y="283"/>
                </a:lnTo>
                <a:lnTo>
                  <a:pt x="534" y="261"/>
                </a:lnTo>
                <a:lnTo>
                  <a:pt x="531" y="257"/>
                </a:lnTo>
                <a:lnTo>
                  <a:pt x="534" y="252"/>
                </a:lnTo>
                <a:lnTo>
                  <a:pt x="560" y="245"/>
                </a:lnTo>
                <a:lnTo>
                  <a:pt x="557" y="212"/>
                </a:lnTo>
                <a:lnTo>
                  <a:pt x="568" y="181"/>
                </a:lnTo>
                <a:lnTo>
                  <a:pt x="583" y="150"/>
                </a:lnTo>
                <a:lnTo>
                  <a:pt x="522" y="135"/>
                </a:lnTo>
                <a:lnTo>
                  <a:pt x="500" y="110"/>
                </a:lnTo>
                <a:lnTo>
                  <a:pt x="476" y="108"/>
                </a:lnTo>
                <a:lnTo>
                  <a:pt x="459" y="106"/>
                </a:lnTo>
                <a:lnTo>
                  <a:pt x="444" y="96"/>
                </a:lnTo>
                <a:lnTo>
                  <a:pt x="441" y="69"/>
                </a:lnTo>
                <a:lnTo>
                  <a:pt x="427" y="80"/>
                </a:lnTo>
                <a:lnTo>
                  <a:pt x="410" y="79"/>
                </a:lnTo>
                <a:lnTo>
                  <a:pt x="402" y="54"/>
                </a:lnTo>
                <a:lnTo>
                  <a:pt x="371" y="40"/>
                </a:lnTo>
                <a:lnTo>
                  <a:pt x="363" y="25"/>
                </a:lnTo>
                <a:lnTo>
                  <a:pt x="345" y="21"/>
                </a:lnTo>
                <a:lnTo>
                  <a:pt x="342" y="0"/>
                </a:lnTo>
                <a:close/>
                <a:moveTo>
                  <a:pt x="644" y="543"/>
                </a:moveTo>
                <a:lnTo>
                  <a:pt x="647" y="544"/>
                </a:lnTo>
                <a:lnTo>
                  <a:pt x="654" y="594"/>
                </a:lnTo>
                <a:lnTo>
                  <a:pt x="637" y="645"/>
                </a:lnTo>
                <a:lnTo>
                  <a:pt x="616" y="620"/>
                </a:lnTo>
                <a:lnTo>
                  <a:pt x="610" y="580"/>
                </a:lnTo>
                <a:lnTo>
                  <a:pt x="616" y="568"/>
                </a:lnTo>
                <a:lnTo>
                  <a:pt x="640" y="558"/>
                </a:lnTo>
                <a:lnTo>
                  <a:pt x="644" y="543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21" name="Freeform 210"/>
          <p:cNvSpPr>
            <a:spLocks noChangeAspect="1" noEditPoints="1"/>
          </p:cNvSpPr>
          <p:nvPr/>
        </p:nvSpPr>
        <p:spPr bwMode="gray">
          <a:xfrm>
            <a:off x="4708525" y="2652713"/>
            <a:ext cx="134938" cy="127000"/>
          </a:xfrm>
          <a:custGeom>
            <a:avLst/>
            <a:gdLst>
              <a:gd name="T0" fmla="*/ 2147483647 w 273"/>
              <a:gd name="T1" fmla="*/ 2147483647 h 261"/>
              <a:gd name="T2" fmla="*/ 2147483647 w 273"/>
              <a:gd name="T3" fmla="*/ 2147483647 h 261"/>
              <a:gd name="T4" fmla="*/ 2147483647 w 273"/>
              <a:gd name="T5" fmla="*/ 0 h 261"/>
              <a:gd name="T6" fmla="*/ 2147483647 w 273"/>
              <a:gd name="T7" fmla="*/ 2147483647 h 261"/>
              <a:gd name="T8" fmla="*/ 2147483647 w 273"/>
              <a:gd name="T9" fmla="*/ 2147483647 h 261"/>
              <a:gd name="T10" fmla="*/ 2147483647 w 273"/>
              <a:gd name="T11" fmla="*/ 2147483647 h 261"/>
              <a:gd name="T12" fmla="*/ 2147483647 w 273"/>
              <a:gd name="T13" fmla="*/ 2147483647 h 261"/>
              <a:gd name="T14" fmla="*/ 2147483647 w 273"/>
              <a:gd name="T15" fmla="*/ 2147483647 h 261"/>
              <a:gd name="T16" fmla="*/ 2147483647 w 273"/>
              <a:gd name="T17" fmla="*/ 2147483647 h 261"/>
              <a:gd name="T18" fmla="*/ 2147483647 w 273"/>
              <a:gd name="T19" fmla="*/ 2147483647 h 261"/>
              <a:gd name="T20" fmla="*/ 2147483647 w 273"/>
              <a:gd name="T21" fmla="*/ 2147483647 h 261"/>
              <a:gd name="T22" fmla="*/ 2147483647 w 273"/>
              <a:gd name="T23" fmla="*/ 2147483647 h 261"/>
              <a:gd name="T24" fmla="*/ 2147483647 w 273"/>
              <a:gd name="T25" fmla="*/ 2147483647 h 261"/>
              <a:gd name="T26" fmla="*/ 2147483647 w 273"/>
              <a:gd name="T27" fmla="*/ 2147483647 h 261"/>
              <a:gd name="T28" fmla="*/ 2147483647 w 273"/>
              <a:gd name="T29" fmla="*/ 2147483647 h 261"/>
              <a:gd name="T30" fmla="*/ 2147483647 w 273"/>
              <a:gd name="T31" fmla="*/ 2147483647 h 261"/>
              <a:gd name="T32" fmla="*/ 2147483647 w 273"/>
              <a:gd name="T33" fmla="*/ 2147483647 h 261"/>
              <a:gd name="T34" fmla="*/ 2147483647 w 273"/>
              <a:gd name="T35" fmla="*/ 2147483647 h 261"/>
              <a:gd name="T36" fmla="*/ 2147483647 w 273"/>
              <a:gd name="T37" fmla="*/ 2147483647 h 261"/>
              <a:gd name="T38" fmla="*/ 2147483647 w 273"/>
              <a:gd name="T39" fmla="*/ 2147483647 h 261"/>
              <a:gd name="T40" fmla="*/ 2147483647 w 273"/>
              <a:gd name="T41" fmla="*/ 2147483647 h 261"/>
              <a:gd name="T42" fmla="*/ 2147483647 w 273"/>
              <a:gd name="T43" fmla="*/ 2147483647 h 261"/>
              <a:gd name="T44" fmla="*/ 2147483647 w 273"/>
              <a:gd name="T45" fmla="*/ 2147483647 h 261"/>
              <a:gd name="T46" fmla="*/ 2147483647 w 273"/>
              <a:gd name="T47" fmla="*/ 2147483647 h 261"/>
              <a:gd name="T48" fmla="*/ 2147483647 w 273"/>
              <a:gd name="T49" fmla="*/ 2147483647 h 261"/>
              <a:gd name="T50" fmla="*/ 2147483647 w 273"/>
              <a:gd name="T51" fmla="*/ 2147483647 h 261"/>
              <a:gd name="T52" fmla="*/ 2147483647 w 273"/>
              <a:gd name="T53" fmla="*/ 2147483647 h 261"/>
              <a:gd name="T54" fmla="*/ 2147483647 w 273"/>
              <a:gd name="T55" fmla="*/ 2147483647 h 261"/>
              <a:gd name="T56" fmla="*/ 2147483647 w 273"/>
              <a:gd name="T57" fmla="*/ 2147483647 h 261"/>
              <a:gd name="T58" fmla="*/ 2147483647 w 273"/>
              <a:gd name="T59" fmla="*/ 2147483647 h 261"/>
              <a:gd name="T60" fmla="*/ 2147483647 w 273"/>
              <a:gd name="T61" fmla="*/ 2147483647 h 261"/>
              <a:gd name="T62" fmla="*/ 2147483647 w 273"/>
              <a:gd name="T63" fmla="*/ 2147483647 h 261"/>
              <a:gd name="T64" fmla="*/ 2147483647 w 273"/>
              <a:gd name="T65" fmla="*/ 2147483647 h 261"/>
              <a:gd name="T66" fmla="*/ 2147483647 w 273"/>
              <a:gd name="T67" fmla="*/ 2147483647 h 261"/>
              <a:gd name="T68" fmla="*/ 2147483647 w 273"/>
              <a:gd name="T69" fmla="*/ 2147483647 h 261"/>
              <a:gd name="T70" fmla="*/ 2147483647 w 273"/>
              <a:gd name="T71" fmla="*/ 2147483647 h 261"/>
              <a:gd name="T72" fmla="*/ 2147483647 w 273"/>
              <a:gd name="T73" fmla="*/ 2147483647 h 261"/>
              <a:gd name="T74" fmla="*/ 2147483647 w 273"/>
              <a:gd name="T75" fmla="*/ 2147483647 h 261"/>
              <a:gd name="T76" fmla="*/ 2147483647 w 273"/>
              <a:gd name="T77" fmla="*/ 2147483647 h 261"/>
              <a:gd name="T78" fmla="*/ 2147483647 w 273"/>
              <a:gd name="T79" fmla="*/ 2147483647 h 261"/>
              <a:gd name="T80" fmla="*/ 2147483647 w 273"/>
              <a:gd name="T81" fmla="*/ 2147483647 h 261"/>
              <a:gd name="T82" fmla="*/ 2147483647 w 273"/>
              <a:gd name="T83" fmla="*/ 2147483647 h 261"/>
              <a:gd name="T84" fmla="*/ 2147483647 w 273"/>
              <a:gd name="T85" fmla="*/ 2147483647 h 261"/>
              <a:gd name="T86" fmla="*/ 2147483647 w 273"/>
              <a:gd name="T87" fmla="*/ 2147483647 h 261"/>
              <a:gd name="T88" fmla="*/ 2147483647 w 273"/>
              <a:gd name="T89" fmla="*/ 2147483647 h 261"/>
              <a:gd name="T90" fmla="*/ 2147483647 w 273"/>
              <a:gd name="T91" fmla="*/ 2147483647 h 261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273"/>
              <a:gd name="T139" fmla="*/ 0 h 261"/>
              <a:gd name="T140" fmla="*/ 273 w 273"/>
              <a:gd name="T141" fmla="*/ 261 h 261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273" h="261">
                <a:moveTo>
                  <a:pt x="240" y="43"/>
                </a:moveTo>
                <a:lnTo>
                  <a:pt x="203" y="53"/>
                </a:lnTo>
                <a:lnTo>
                  <a:pt x="181" y="41"/>
                </a:lnTo>
                <a:lnTo>
                  <a:pt x="143" y="6"/>
                </a:lnTo>
                <a:lnTo>
                  <a:pt x="139" y="6"/>
                </a:lnTo>
                <a:lnTo>
                  <a:pt x="127" y="0"/>
                </a:lnTo>
                <a:lnTo>
                  <a:pt x="126" y="14"/>
                </a:lnTo>
                <a:lnTo>
                  <a:pt x="96" y="24"/>
                </a:lnTo>
                <a:lnTo>
                  <a:pt x="95" y="32"/>
                </a:lnTo>
                <a:lnTo>
                  <a:pt x="101" y="37"/>
                </a:lnTo>
                <a:lnTo>
                  <a:pt x="101" y="46"/>
                </a:lnTo>
                <a:lnTo>
                  <a:pt x="79" y="62"/>
                </a:lnTo>
                <a:lnTo>
                  <a:pt x="79" y="80"/>
                </a:lnTo>
                <a:lnTo>
                  <a:pt x="76" y="83"/>
                </a:lnTo>
                <a:lnTo>
                  <a:pt x="65" y="77"/>
                </a:lnTo>
                <a:lnTo>
                  <a:pt x="58" y="80"/>
                </a:lnTo>
                <a:lnTo>
                  <a:pt x="50" y="63"/>
                </a:lnTo>
                <a:lnTo>
                  <a:pt x="39" y="77"/>
                </a:lnTo>
                <a:lnTo>
                  <a:pt x="0" y="73"/>
                </a:lnTo>
                <a:lnTo>
                  <a:pt x="2" y="73"/>
                </a:lnTo>
                <a:lnTo>
                  <a:pt x="4" y="90"/>
                </a:lnTo>
                <a:lnTo>
                  <a:pt x="16" y="113"/>
                </a:lnTo>
                <a:lnTo>
                  <a:pt x="24" y="116"/>
                </a:lnTo>
                <a:lnTo>
                  <a:pt x="39" y="83"/>
                </a:lnTo>
                <a:lnTo>
                  <a:pt x="50" y="87"/>
                </a:lnTo>
                <a:lnTo>
                  <a:pt x="61" y="100"/>
                </a:lnTo>
                <a:lnTo>
                  <a:pt x="71" y="134"/>
                </a:lnTo>
                <a:lnTo>
                  <a:pt x="88" y="147"/>
                </a:lnTo>
                <a:lnTo>
                  <a:pt x="79" y="150"/>
                </a:lnTo>
                <a:lnTo>
                  <a:pt x="78" y="158"/>
                </a:lnTo>
                <a:lnTo>
                  <a:pt x="110" y="183"/>
                </a:lnTo>
                <a:lnTo>
                  <a:pt x="115" y="198"/>
                </a:lnTo>
                <a:lnTo>
                  <a:pt x="156" y="204"/>
                </a:lnTo>
                <a:lnTo>
                  <a:pt x="186" y="230"/>
                </a:lnTo>
                <a:lnTo>
                  <a:pt x="185" y="230"/>
                </a:lnTo>
                <a:lnTo>
                  <a:pt x="192" y="227"/>
                </a:lnTo>
                <a:lnTo>
                  <a:pt x="173" y="207"/>
                </a:lnTo>
                <a:lnTo>
                  <a:pt x="172" y="197"/>
                </a:lnTo>
                <a:lnTo>
                  <a:pt x="122" y="150"/>
                </a:lnTo>
                <a:lnTo>
                  <a:pt x="121" y="131"/>
                </a:lnTo>
                <a:lnTo>
                  <a:pt x="112" y="116"/>
                </a:lnTo>
                <a:lnTo>
                  <a:pt x="102" y="110"/>
                </a:lnTo>
                <a:lnTo>
                  <a:pt x="105" y="87"/>
                </a:lnTo>
                <a:lnTo>
                  <a:pt x="118" y="83"/>
                </a:lnTo>
                <a:lnTo>
                  <a:pt x="130" y="97"/>
                </a:lnTo>
                <a:lnTo>
                  <a:pt x="139" y="83"/>
                </a:lnTo>
                <a:lnTo>
                  <a:pt x="147" y="83"/>
                </a:lnTo>
                <a:lnTo>
                  <a:pt x="160" y="80"/>
                </a:lnTo>
                <a:lnTo>
                  <a:pt x="200" y="96"/>
                </a:lnTo>
                <a:lnTo>
                  <a:pt x="209" y="88"/>
                </a:lnTo>
                <a:lnTo>
                  <a:pt x="239" y="93"/>
                </a:lnTo>
                <a:lnTo>
                  <a:pt x="248" y="108"/>
                </a:lnTo>
                <a:lnTo>
                  <a:pt x="259" y="104"/>
                </a:lnTo>
                <a:lnTo>
                  <a:pt x="262" y="85"/>
                </a:lnTo>
                <a:lnTo>
                  <a:pt x="273" y="83"/>
                </a:lnTo>
                <a:lnTo>
                  <a:pt x="251" y="74"/>
                </a:lnTo>
                <a:lnTo>
                  <a:pt x="256" y="65"/>
                </a:lnTo>
                <a:lnTo>
                  <a:pt x="246" y="63"/>
                </a:lnTo>
                <a:lnTo>
                  <a:pt x="248" y="48"/>
                </a:lnTo>
                <a:lnTo>
                  <a:pt x="240" y="43"/>
                </a:lnTo>
                <a:close/>
                <a:moveTo>
                  <a:pt x="36" y="96"/>
                </a:moveTo>
                <a:lnTo>
                  <a:pt x="44" y="125"/>
                </a:lnTo>
                <a:lnTo>
                  <a:pt x="36" y="113"/>
                </a:lnTo>
                <a:lnTo>
                  <a:pt x="36" y="96"/>
                </a:lnTo>
                <a:close/>
                <a:moveTo>
                  <a:pt x="48" y="90"/>
                </a:moveTo>
                <a:lnTo>
                  <a:pt x="56" y="105"/>
                </a:lnTo>
                <a:lnTo>
                  <a:pt x="42" y="100"/>
                </a:lnTo>
                <a:lnTo>
                  <a:pt x="48" y="90"/>
                </a:lnTo>
                <a:close/>
                <a:moveTo>
                  <a:pt x="134" y="206"/>
                </a:moveTo>
                <a:lnTo>
                  <a:pt x="155" y="210"/>
                </a:lnTo>
                <a:lnTo>
                  <a:pt x="152" y="214"/>
                </a:lnTo>
                <a:lnTo>
                  <a:pt x="136" y="212"/>
                </a:lnTo>
                <a:lnTo>
                  <a:pt x="134" y="206"/>
                </a:lnTo>
                <a:close/>
                <a:moveTo>
                  <a:pt x="186" y="234"/>
                </a:moveTo>
                <a:lnTo>
                  <a:pt x="181" y="234"/>
                </a:lnTo>
                <a:lnTo>
                  <a:pt x="178" y="229"/>
                </a:lnTo>
                <a:lnTo>
                  <a:pt x="168" y="226"/>
                </a:lnTo>
                <a:lnTo>
                  <a:pt x="164" y="229"/>
                </a:lnTo>
                <a:lnTo>
                  <a:pt x="177" y="232"/>
                </a:lnTo>
                <a:lnTo>
                  <a:pt x="190" y="241"/>
                </a:lnTo>
                <a:lnTo>
                  <a:pt x="203" y="243"/>
                </a:lnTo>
                <a:lnTo>
                  <a:pt x="229" y="261"/>
                </a:lnTo>
                <a:lnTo>
                  <a:pt x="229" y="254"/>
                </a:lnTo>
                <a:lnTo>
                  <a:pt x="226" y="254"/>
                </a:lnTo>
                <a:lnTo>
                  <a:pt x="226" y="251"/>
                </a:lnTo>
                <a:lnTo>
                  <a:pt x="219" y="249"/>
                </a:lnTo>
                <a:lnTo>
                  <a:pt x="211" y="243"/>
                </a:lnTo>
                <a:lnTo>
                  <a:pt x="205" y="241"/>
                </a:lnTo>
                <a:lnTo>
                  <a:pt x="198" y="235"/>
                </a:lnTo>
                <a:lnTo>
                  <a:pt x="198" y="232"/>
                </a:lnTo>
                <a:lnTo>
                  <a:pt x="194" y="230"/>
                </a:lnTo>
                <a:lnTo>
                  <a:pt x="186" y="234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22" name="Freeform 211"/>
          <p:cNvSpPr>
            <a:spLocks noChangeAspect="1"/>
          </p:cNvSpPr>
          <p:nvPr/>
        </p:nvSpPr>
        <p:spPr bwMode="gray">
          <a:xfrm>
            <a:off x="3856038" y="1819275"/>
            <a:ext cx="246062" cy="166688"/>
          </a:xfrm>
          <a:custGeom>
            <a:avLst/>
            <a:gdLst>
              <a:gd name="T0" fmla="*/ 2147483647 w 507"/>
              <a:gd name="T1" fmla="*/ 2147483647 h 346"/>
              <a:gd name="T2" fmla="*/ 2147483647 w 507"/>
              <a:gd name="T3" fmla="*/ 2147483647 h 346"/>
              <a:gd name="T4" fmla="*/ 2147483647 w 507"/>
              <a:gd name="T5" fmla="*/ 2147483647 h 346"/>
              <a:gd name="T6" fmla="*/ 2147483647 w 507"/>
              <a:gd name="T7" fmla="*/ 2147483647 h 346"/>
              <a:gd name="T8" fmla="*/ 2147483647 w 507"/>
              <a:gd name="T9" fmla="*/ 2147483647 h 346"/>
              <a:gd name="T10" fmla="*/ 2147483647 w 507"/>
              <a:gd name="T11" fmla="*/ 2147483647 h 346"/>
              <a:gd name="T12" fmla="*/ 2147483647 w 507"/>
              <a:gd name="T13" fmla="*/ 2147483647 h 346"/>
              <a:gd name="T14" fmla="*/ 2147483647 w 507"/>
              <a:gd name="T15" fmla="*/ 2147483647 h 346"/>
              <a:gd name="T16" fmla="*/ 2147483647 w 507"/>
              <a:gd name="T17" fmla="*/ 2147483647 h 346"/>
              <a:gd name="T18" fmla="*/ 2147483647 w 507"/>
              <a:gd name="T19" fmla="*/ 2147483647 h 346"/>
              <a:gd name="T20" fmla="*/ 2147483647 w 507"/>
              <a:gd name="T21" fmla="*/ 2147483647 h 346"/>
              <a:gd name="T22" fmla="*/ 0 w 507"/>
              <a:gd name="T23" fmla="*/ 2147483647 h 346"/>
              <a:gd name="T24" fmla="*/ 2147483647 w 507"/>
              <a:gd name="T25" fmla="*/ 2147483647 h 346"/>
              <a:gd name="T26" fmla="*/ 2147483647 w 507"/>
              <a:gd name="T27" fmla="*/ 2147483647 h 346"/>
              <a:gd name="T28" fmla="*/ 2147483647 w 507"/>
              <a:gd name="T29" fmla="*/ 2147483647 h 346"/>
              <a:gd name="T30" fmla="*/ 2147483647 w 507"/>
              <a:gd name="T31" fmla="*/ 2147483647 h 346"/>
              <a:gd name="T32" fmla="*/ 2147483647 w 507"/>
              <a:gd name="T33" fmla="*/ 2147483647 h 346"/>
              <a:gd name="T34" fmla="*/ 2147483647 w 507"/>
              <a:gd name="T35" fmla="*/ 2147483647 h 346"/>
              <a:gd name="T36" fmla="*/ 2147483647 w 507"/>
              <a:gd name="T37" fmla="*/ 2147483647 h 346"/>
              <a:gd name="T38" fmla="*/ 2147483647 w 507"/>
              <a:gd name="T39" fmla="*/ 2147483647 h 346"/>
              <a:gd name="T40" fmla="*/ 2147483647 w 507"/>
              <a:gd name="T41" fmla="*/ 2147483647 h 346"/>
              <a:gd name="T42" fmla="*/ 2147483647 w 507"/>
              <a:gd name="T43" fmla="*/ 2147483647 h 346"/>
              <a:gd name="T44" fmla="*/ 2147483647 w 507"/>
              <a:gd name="T45" fmla="*/ 2147483647 h 346"/>
              <a:gd name="T46" fmla="*/ 2147483647 w 507"/>
              <a:gd name="T47" fmla="*/ 2147483647 h 346"/>
              <a:gd name="T48" fmla="*/ 2147483647 w 507"/>
              <a:gd name="T49" fmla="*/ 2147483647 h 346"/>
              <a:gd name="T50" fmla="*/ 2147483647 w 507"/>
              <a:gd name="T51" fmla="*/ 2147483647 h 346"/>
              <a:gd name="T52" fmla="*/ 2147483647 w 507"/>
              <a:gd name="T53" fmla="*/ 2147483647 h 346"/>
              <a:gd name="T54" fmla="*/ 2147483647 w 507"/>
              <a:gd name="T55" fmla="*/ 2147483647 h 346"/>
              <a:gd name="T56" fmla="*/ 2147483647 w 507"/>
              <a:gd name="T57" fmla="*/ 2147483647 h 346"/>
              <a:gd name="T58" fmla="*/ 2147483647 w 507"/>
              <a:gd name="T59" fmla="*/ 2147483647 h 346"/>
              <a:gd name="T60" fmla="*/ 2147483647 w 507"/>
              <a:gd name="T61" fmla="*/ 2147483647 h 346"/>
              <a:gd name="T62" fmla="*/ 2147483647 w 507"/>
              <a:gd name="T63" fmla="*/ 2147483647 h 346"/>
              <a:gd name="T64" fmla="*/ 2147483647 w 507"/>
              <a:gd name="T65" fmla="*/ 2147483647 h 346"/>
              <a:gd name="T66" fmla="*/ 2147483647 w 507"/>
              <a:gd name="T67" fmla="*/ 2147483647 h 346"/>
              <a:gd name="T68" fmla="*/ 2147483647 w 507"/>
              <a:gd name="T69" fmla="*/ 2147483647 h 346"/>
              <a:gd name="T70" fmla="*/ 2147483647 w 507"/>
              <a:gd name="T71" fmla="*/ 2147483647 h 346"/>
              <a:gd name="T72" fmla="*/ 2147483647 w 507"/>
              <a:gd name="T73" fmla="*/ 2147483647 h 346"/>
              <a:gd name="T74" fmla="*/ 2147483647 w 507"/>
              <a:gd name="T75" fmla="*/ 2147483647 h 346"/>
              <a:gd name="T76" fmla="*/ 2147483647 w 507"/>
              <a:gd name="T77" fmla="*/ 2147483647 h 346"/>
              <a:gd name="T78" fmla="*/ 2147483647 w 507"/>
              <a:gd name="T79" fmla="*/ 2147483647 h 346"/>
              <a:gd name="T80" fmla="*/ 2147483647 w 507"/>
              <a:gd name="T81" fmla="*/ 2147483647 h 346"/>
              <a:gd name="T82" fmla="*/ 2147483647 w 507"/>
              <a:gd name="T83" fmla="*/ 2147483647 h 346"/>
              <a:gd name="T84" fmla="*/ 2147483647 w 507"/>
              <a:gd name="T85" fmla="*/ 2147483647 h 346"/>
              <a:gd name="T86" fmla="*/ 2147483647 w 507"/>
              <a:gd name="T87" fmla="*/ 0 h 346"/>
              <a:gd name="T88" fmla="*/ 2147483647 w 507"/>
              <a:gd name="T89" fmla="*/ 2147483647 h 346"/>
              <a:gd name="T90" fmla="*/ 2147483647 w 507"/>
              <a:gd name="T91" fmla="*/ 2147483647 h 346"/>
              <a:gd name="T92" fmla="*/ 2147483647 w 507"/>
              <a:gd name="T93" fmla="*/ 2147483647 h 346"/>
              <a:gd name="T94" fmla="*/ 2147483647 w 507"/>
              <a:gd name="T95" fmla="*/ 2147483647 h 346"/>
              <a:gd name="T96" fmla="*/ 2147483647 w 507"/>
              <a:gd name="T97" fmla="*/ 2147483647 h 346"/>
              <a:gd name="T98" fmla="*/ 2147483647 w 507"/>
              <a:gd name="T99" fmla="*/ 2147483647 h 346"/>
              <a:gd name="T100" fmla="*/ 2147483647 w 507"/>
              <a:gd name="T101" fmla="*/ 2147483647 h 346"/>
              <a:gd name="T102" fmla="*/ 2147483647 w 507"/>
              <a:gd name="T103" fmla="*/ 2147483647 h 346"/>
              <a:gd name="T104" fmla="*/ 2147483647 w 507"/>
              <a:gd name="T105" fmla="*/ 2147483647 h 346"/>
              <a:gd name="T106" fmla="*/ 2147483647 w 507"/>
              <a:gd name="T107" fmla="*/ 2147483647 h 346"/>
              <a:gd name="T108" fmla="*/ 2147483647 w 507"/>
              <a:gd name="T109" fmla="*/ 2147483647 h 346"/>
              <a:gd name="T110" fmla="*/ 2147483647 w 507"/>
              <a:gd name="T111" fmla="*/ 2147483647 h 346"/>
              <a:gd name="T112" fmla="*/ 2147483647 w 507"/>
              <a:gd name="T113" fmla="*/ 2147483647 h 346"/>
              <a:gd name="T114" fmla="*/ 2147483647 w 507"/>
              <a:gd name="T115" fmla="*/ 2147483647 h 346"/>
              <a:gd name="T116" fmla="*/ 2147483647 w 507"/>
              <a:gd name="T117" fmla="*/ 2147483647 h 34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507"/>
              <a:gd name="T178" fmla="*/ 0 h 346"/>
              <a:gd name="T179" fmla="*/ 507 w 507"/>
              <a:gd name="T180" fmla="*/ 346 h 34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507" h="346">
                <a:moveTo>
                  <a:pt x="210" y="329"/>
                </a:moveTo>
                <a:lnTo>
                  <a:pt x="154" y="295"/>
                </a:lnTo>
                <a:lnTo>
                  <a:pt x="86" y="300"/>
                </a:lnTo>
                <a:lnTo>
                  <a:pt x="83" y="273"/>
                </a:lnTo>
                <a:lnTo>
                  <a:pt x="94" y="282"/>
                </a:lnTo>
                <a:lnTo>
                  <a:pt x="125" y="262"/>
                </a:lnTo>
                <a:lnTo>
                  <a:pt x="125" y="245"/>
                </a:lnTo>
                <a:lnTo>
                  <a:pt x="110" y="248"/>
                </a:lnTo>
                <a:lnTo>
                  <a:pt x="127" y="219"/>
                </a:lnTo>
                <a:lnTo>
                  <a:pt x="111" y="229"/>
                </a:lnTo>
                <a:lnTo>
                  <a:pt x="91" y="192"/>
                </a:lnTo>
                <a:lnTo>
                  <a:pt x="26" y="197"/>
                </a:lnTo>
                <a:lnTo>
                  <a:pt x="29" y="186"/>
                </a:lnTo>
                <a:lnTo>
                  <a:pt x="79" y="168"/>
                </a:lnTo>
                <a:lnTo>
                  <a:pt x="120" y="172"/>
                </a:lnTo>
                <a:lnTo>
                  <a:pt x="128" y="151"/>
                </a:lnTo>
                <a:lnTo>
                  <a:pt x="119" y="161"/>
                </a:lnTo>
                <a:lnTo>
                  <a:pt x="93" y="157"/>
                </a:lnTo>
                <a:lnTo>
                  <a:pt x="125" y="124"/>
                </a:lnTo>
                <a:lnTo>
                  <a:pt x="105" y="123"/>
                </a:lnTo>
                <a:lnTo>
                  <a:pt x="93" y="107"/>
                </a:lnTo>
                <a:lnTo>
                  <a:pt x="74" y="106"/>
                </a:lnTo>
                <a:lnTo>
                  <a:pt x="40" y="126"/>
                </a:lnTo>
                <a:lnTo>
                  <a:pt x="0" y="123"/>
                </a:lnTo>
                <a:lnTo>
                  <a:pt x="6" y="104"/>
                </a:lnTo>
                <a:lnTo>
                  <a:pt x="26" y="107"/>
                </a:lnTo>
                <a:lnTo>
                  <a:pt x="30" y="101"/>
                </a:lnTo>
                <a:lnTo>
                  <a:pt x="17" y="84"/>
                </a:lnTo>
                <a:lnTo>
                  <a:pt x="43" y="104"/>
                </a:lnTo>
                <a:lnTo>
                  <a:pt x="59" y="101"/>
                </a:lnTo>
                <a:lnTo>
                  <a:pt x="52" y="95"/>
                </a:lnTo>
                <a:lnTo>
                  <a:pt x="57" y="85"/>
                </a:lnTo>
                <a:lnTo>
                  <a:pt x="34" y="78"/>
                </a:lnTo>
                <a:lnTo>
                  <a:pt x="43" y="75"/>
                </a:lnTo>
                <a:lnTo>
                  <a:pt x="30" y="56"/>
                </a:lnTo>
                <a:lnTo>
                  <a:pt x="43" y="64"/>
                </a:lnTo>
                <a:lnTo>
                  <a:pt x="38" y="51"/>
                </a:lnTo>
                <a:lnTo>
                  <a:pt x="49" y="55"/>
                </a:lnTo>
                <a:lnTo>
                  <a:pt x="42" y="45"/>
                </a:lnTo>
                <a:lnTo>
                  <a:pt x="64" y="50"/>
                </a:lnTo>
                <a:lnTo>
                  <a:pt x="68" y="65"/>
                </a:lnTo>
                <a:lnTo>
                  <a:pt x="77" y="59"/>
                </a:lnTo>
                <a:lnTo>
                  <a:pt x="88" y="81"/>
                </a:lnTo>
                <a:lnTo>
                  <a:pt x="91" y="70"/>
                </a:lnTo>
                <a:lnTo>
                  <a:pt x="94" y="81"/>
                </a:lnTo>
                <a:lnTo>
                  <a:pt x="100" y="68"/>
                </a:lnTo>
                <a:lnTo>
                  <a:pt x="94" y="51"/>
                </a:lnTo>
                <a:lnTo>
                  <a:pt x="74" y="39"/>
                </a:lnTo>
                <a:lnTo>
                  <a:pt x="79" y="30"/>
                </a:lnTo>
                <a:lnTo>
                  <a:pt x="94" y="33"/>
                </a:lnTo>
                <a:lnTo>
                  <a:pt x="85" y="22"/>
                </a:lnTo>
                <a:lnTo>
                  <a:pt x="64" y="24"/>
                </a:lnTo>
                <a:lnTo>
                  <a:pt x="66" y="9"/>
                </a:lnTo>
                <a:lnTo>
                  <a:pt x="96" y="14"/>
                </a:lnTo>
                <a:lnTo>
                  <a:pt x="145" y="61"/>
                </a:lnTo>
                <a:lnTo>
                  <a:pt x="137" y="68"/>
                </a:lnTo>
                <a:lnTo>
                  <a:pt x="147" y="73"/>
                </a:lnTo>
                <a:lnTo>
                  <a:pt x="147" y="85"/>
                </a:lnTo>
                <a:lnTo>
                  <a:pt x="139" y="97"/>
                </a:lnTo>
                <a:lnTo>
                  <a:pt x="142" y="106"/>
                </a:lnTo>
                <a:lnTo>
                  <a:pt x="142" y="114"/>
                </a:lnTo>
                <a:lnTo>
                  <a:pt x="147" y="109"/>
                </a:lnTo>
                <a:lnTo>
                  <a:pt x="148" y="119"/>
                </a:lnTo>
                <a:lnTo>
                  <a:pt x="144" y="124"/>
                </a:lnTo>
                <a:lnTo>
                  <a:pt x="152" y="127"/>
                </a:lnTo>
                <a:lnTo>
                  <a:pt x="152" y="148"/>
                </a:lnTo>
                <a:lnTo>
                  <a:pt x="159" y="129"/>
                </a:lnTo>
                <a:lnTo>
                  <a:pt x="169" y="127"/>
                </a:lnTo>
                <a:lnTo>
                  <a:pt x="173" y="101"/>
                </a:lnTo>
                <a:lnTo>
                  <a:pt x="186" y="118"/>
                </a:lnTo>
                <a:lnTo>
                  <a:pt x="191" y="109"/>
                </a:lnTo>
                <a:lnTo>
                  <a:pt x="196" y="84"/>
                </a:lnTo>
                <a:lnTo>
                  <a:pt x="191" y="51"/>
                </a:lnTo>
                <a:lnTo>
                  <a:pt x="196" y="50"/>
                </a:lnTo>
                <a:lnTo>
                  <a:pt x="232" y="92"/>
                </a:lnTo>
                <a:lnTo>
                  <a:pt x="238" y="75"/>
                </a:lnTo>
                <a:lnTo>
                  <a:pt x="235" y="58"/>
                </a:lnTo>
                <a:lnTo>
                  <a:pt x="267" y="39"/>
                </a:lnTo>
                <a:lnTo>
                  <a:pt x="295" y="101"/>
                </a:lnTo>
                <a:lnTo>
                  <a:pt x="298" y="76"/>
                </a:lnTo>
                <a:lnTo>
                  <a:pt x="289" y="45"/>
                </a:lnTo>
                <a:lnTo>
                  <a:pt x="303" y="45"/>
                </a:lnTo>
                <a:lnTo>
                  <a:pt x="318" y="61"/>
                </a:lnTo>
                <a:lnTo>
                  <a:pt x="329" y="56"/>
                </a:lnTo>
                <a:lnTo>
                  <a:pt x="334" y="42"/>
                </a:lnTo>
                <a:lnTo>
                  <a:pt x="372" y="45"/>
                </a:lnTo>
                <a:lnTo>
                  <a:pt x="368" y="7"/>
                </a:lnTo>
                <a:lnTo>
                  <a:pt x="382" y="0"/>
                </a:lnTo>
                <a:lnTo>
                  <a:pt x="405" y="17"/>
                </a:lnTo>
                <a:lnTo>
                  <a:pt x="402" y="33"/>
                </a:lnTo>
                <a:lnTo>
                  <a:pt x="416" y="42"/>
                </a:lnTo>
                <a:lnTo>
                  <a:pt x="456" y="17"/>
                </a:lnTo>
                <a:lnTo>
                  <a:pt x="461" y="21"/>
                </a:lnTo>
                <a:lnTo>
                  <a:pt x="433" y="51"/>
                </a:lnTo>
                <a:lnTo>
                  <a:pt x="435" y="58"/>
                </a:lnTo>
                <a:lnTo>
                  <a:pt x="452" y="55"/>
                </a:lnTo>
                <a:lnTo>
                  <a:pt x="455" y="72"/>
                </a:lnTo>
                <a:lnTo>
                  <a:pt x="450" y="93"/>
                </a:lnTo>
                <a:lnTo>
                  <a:pt x="470" y="90"/>
                </a:lnTo>
                <a:lnTo>
                  <a:pt x="470" y="106"/>
                </a:lnTo>
                <a:lnTo>
                  <a:pt x="484" y="110"/>
                </a:lnTo>
                <a:lnTo>
                  <a:pt x="485" y="99"/>
                </a:lnTo>
                <a:lnTo>
                  <a:pt x="499" y="126"/>
                </a:lnTo>
                <a:lnTo>
                  <a:pt x="492" y="141"/>
                </a:lnTo>
                <a:lnTo>
                  <a:pt x="498" y="153"/>
                </a:lnTo>
                <a:lnTo>
                  <a:pt x="506" y="148"/>
                </a:lnTo>
                <a:lnTo>
                  <a:pt x="507" y="161"/>
                </a:lnTo>
                <a:lnTo>
                  <a:pt x="498" y="183"/>
                </a:lnTo>
                <a:lnTo>
                  <a:pt x="462" y="205"/>
                </a:lnTo>
                <a:lnTo>
                  <a:pt x="461" y="214"/>
                </a:lnTo>
                <a:lnTo>
                  <a:pt x="476" y="209"/>
                </a:lnTo>
                <a:lnTo>
                  <a:pt x="444" y="253"/>
                </a:lnTo>
                <a:lnTo>
                  <a:pt x="423" y="234"/>
                </a:lnTo>
                <a:lnTo>
                  <a:pt x="422" y="246"/>
                </a:lnTo>
                <a:lnTo>
                  <a:pt x="377" y="287"/>
                </a:lnTo>
                <a:lnTo>
                  <a:pt x="345" y="288"/>
                </a:lnTo>
                <a:lnTo>
                  <a:pt x="300" y="334"/>
                </a:lnTo>
                <a:lnTo>
                  <a:pt x="272" y="346"/>
                </a:lnTo>
                <a:lnTo>
                  <a:pt x="210" y="329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23" name="Freeform 212"/>
          <p:cNvSpPr>
            <a:spLocks noChangeAspect="1" noEditPoints="1"/>
          </p:cNvSpPr>
          <p:nvPr/>
        </p:nvSpPr>
        <p:spPr bwMode="gray">
          <a:xfrm>
            <a:off x="5011738" y="1484313"/>
            <a:ext cx="3671887" cy="1331912"/>
          </a:xfrm>
          <a:custGeom>
            <a:avLst/>
            <a:gdLst>
              <a:gd name="T0" fmla="*/ 2147483647 w 7540"/>
              <a:gd name="T1" fmla="*/ 2147483647 h 2736"/>
              <a:gd name="T2" fmla="*/ 2147483647 w 7540"/>
              <a:gd name="T3" fmla="*/ 2147483647 h 2736"/>
              <a:gd name="T4" fmla="*/ 2147483647 w 7540"/>
              <a:gd name="T5" fmla="*/ 2147483647 h 2736"/>
              <a:gd name="T6" fmla="*/ 2147483647 w 7540"/>
              <a:gd name="T7" fmla="*/ 2147483647 h 2736"/>
              <a:gd name="T8" fmla="*/ 2147483647 w 7540"/>
              <a:gd name="T9" fmla="*/ 0 h 2736"/>
              <a:gd name="T10" fmla="*/ 2147483647 w 7540"/>
              <a:gd name="T11" fmla="*/ 2147483647 h 2736"/>
              <a:gd name="T12" fmla="*/ 2147483647 w 7540"/>
              <a:gd name="T13" fmla="*/ 2147483647 h 2736"/>
              <a:gd name="T14" fmla="*/ 2147483647 w 7540"/>
              <a:gd name="T15" fmla="*/ 2147483647 h 2736"/>
              <a:gd name="T16" fmla="*/ 2147483647 w 7540"/>
              <a:gd name="T17" fmla="*/ 2147483647 h 2736"/>
              <a:gd name="T18" fmla="*/ 2147483647 w 7540"/>
              <a:gd name="T19" fmla="*/ 2147483647 h 2736"/>
              <a:gd name="T20" fmla="*/ 2147483647 w 7540"/>
              <a:gd name="T21" fmla="*/ 2147483647 h 2736"/>
              <a:gd name="T22" fmla="*/ 2147483647 w 7540"/>
              <a:gd name="T23" fmla="*/ 2147483647 h 2736"/>
              <a:gd name="T24" fmla="*/ 2147483647 w 7540"/>
              <a:gd name="T25" fmla="*/ 2147483647 h 2736"/>
              <a:gd name="T26" fmla="*/ 2147483647 w 7540"/>
              <a:gd name="T27" fmla="*/ 2147483647 h 2736"/>
              <a:gd name="T28" fmla="*/ 2147483647 w 7540"/>
              <a:gd name="T29" fmla="*/ 2147483647 h 2736"/>
              <a:gd name="T30" fmla="*/ 2147483647 w 7540"/>
              <a:gd name="T31" fmla="*/ 2147483647 h 2736"/>
              <a:gd name="T32" fmla="*/ 2147483647 w 7540"/>
              <a:gd name="T33" fmla="*/ 2147483647 h 2736"/>
              <a:gd name="T34" fmla="*/ 2147483647 w 7540"/>
              <a:gd name="T35" fmla="*/ 2147483647 h 2736"/>
              <a:gd name="T36" fmla="*/ 2147483647 w 7540"/>
              <a:gd name="T37" fmla="*/ 2147483647 h 2736"/>
              <a:gd name="T38" fmla="*/ 2147483647 w 7540"/>
              <a:gd name="T39" fmla="*/ 2147483647 h 2736"/>
              <a:gd name="T40" fmla="*/ 2147483647 w 7540"/>
              <a:gd name="T41" fmla="*/ 2147483647 h 2736"/>
              <a:gd name="T42" fmla="*/ 2147483647 w 7540"/>
              <a:gd name="T43" fmla="*/ 2147483647 h 2736"/>
              <a:gd name="T44" fmla="*/ 2147483647 w 7540"/>
              <a:gd name="T45" fmla="*/ 2147483647 h 2736"/>
              <a:gd name="T46" fmla="*/ 2147483647 w 7540"/>
              <a:gd name="T47" fmla="*/ 2147483647 h 2736"/>
              <a:gd name="T48" fmla="*/ 2147483647 w 7540"/>
              <a:gd name="T49" fmla="*/ 2147483647 h 2736"/>
              <a:gd name="T50" fmla="*/ 2147483647 w 7540"/>
              <a:gd name="T51" fmla="*/ 2147483647 h 2736"/>
              <a:gd name="T52" fmla="*/ 2147483647 w 7540"/>
              <a:gd name="T53" fmla="*/ 2147483647 h 2736"/>
              <a:gd name="T54" fmla="*/ 2147483647 w 7540"/>
              <a:gd name="T55" fmla="*/ 2147483647 h 2736"/>
              <a:gd name="T56" fmla="*/ 2147483647 w 7540"/>
              <a:gd name="T57" fmla="*/ 2147483647 h 2736"/>
              <a:gd name="T58" fmla="*/ 2147483647 w 7540"/>
              <a:gd name="T59" fmla="*/ 2147483647 h 2736"/>
              <a:gd name="T60" fmla="*/ 2147483647 w 7540"/>
              <a:gd name="T61" fmla="*/ 2147483647 h 2736"/>
              <a:gd name="T62" fmla="*/ 2147483647 w 7540"/>
              <a:gd name="T63" fmla="*/ 2147483647 h 2736"/>
              <a:gd name="T64" fmla="*/ 2147483647 w 7540"/>
              <a:gd name="T65" fmla="*/ 2147483647 h 2736"/>
              <a:gd name="T66" fmla="*/ 2147483647 w 7540"/>
              <a:gd name="T67" fmla="*/ 2147483647 h 2736"/>
              <a:gd name="T68" fmla="*/ 2147483647 w 7540"/>
              <a:gd name="T69" fmla="*/ 2147483647 h 2736"/>
              <a:gd name="T70" fmla="*/ 2147483647 w 7540"/>
              <a:gd name="T71" fmla="*/ 2147483647 h 2736"/>
              <a:gd name="T72" fmla="*/ 2147483647 w 7540"/>
              <a:gd name="T73" fmla="*/ 2147483647 h 2736"/>
              <a:gd name="T74" fmla="*/ 2147483647 w 7540"/>
              <a:gd name="T75" fmla="*/ 2147483647 h 2736"/>
              <a:gd name="T76" fmla="*/ 2147483647 w 7540"/>
              <a:gd name="T77" fmla="*/ 2147483647 h 2736"/>
              <a:gd name="T78" fmla="*/ 0 w 7540"/>
              <a:gd name="T79" fmla="*/ 2147483647 h 2736"/>
              <a:gd name="T80" fmla="*/ 2147483647 w 7540"/>
              <a:gd name="T81" fmla="*/ 2147483647 h 2736"/>
              <a:gd name="T82" fmla="*/ 2147483647 w 7540"/>
              <a:gd name="T83" fmla="*/ 2147483647 h 2736"/>
              <a:gd name="T84" fmla="*/ 2147483647 w 7540"/>
              <a:gd name="T85" fmla="*/ 2147483647 h 2736"/>
              <a:gd name="T86" fmla="*/ 2147483647 w 7540"/>
              <a:gd name="T87" fmla="*/ 2147483647 h 2736"/>
              <a:gd name="T88" fmla="*/ 2147483647 w 7540"/>
              <a:gd name="T89" fmla="*/ 2147483647 h 2736"/>
              <a:gd name="T90" fmla="*/ 2147483647 w 7540"/>
              <a:gd name="T91" fmla="*/ 2147483647 h 2736"/>
              <a:gd name="T92" fmla="*/ 2147483647 w 7540"/>
              <a:gd name="T93" fmla="*/ 2147483647 h 2736"/>
              <a:gd name="T94" fmla="*/ 2147483647 w 7540"/>
              <a:gd name="T95" fmla="*/ 2147483647 h 2736"/>
              <a:gd name="T96" fmla="*/ 2147483647 w 7540"/>
              <a:gd name="T97" fmla="*/ 2147483647 h 2736"/>
              <a:gd name="T98" fmla="*/ 2147483647 w 7540"/>
              <a:gd name="T99" fmla="*/ 2147483647 h 2736"/>
              <a:gd name="T100" fmla="*/ 2147483647 w 7540"/>
              <a:gd name="T101" fmla="*/ 2147483647 h 2736"/>
              <a:gd name="T102" fmla="*/ 2147483647 w 7540"/>
              <a:gd name="T103" fmla="*/ 2147483647 h 2736"/>
              <a:gd name="T104" fmla="*/ 2147483647 w 7540"/>
              <a:gd name="T105" fmla="*/ 2147483647 h 2736"/>
              <a:gd name="T106" fmla="*/ 2147483647 w 7540"/>
              <a:gd name="T107" fmla="*/ 2147483647 h 2736"/>
              <a:gd name="T108" fmla="*/ 2147483647 w 7540"/>
              <a:gd name="T109" fmla="*/ 2147483647 h 2736"/>
              <a:gd name="T110" fmla="*/ 2147483647 w 7540"/>
              <a:gd name="T111" fmla="*/ 2147483647 h 2736"/>
              <a:gd name="T112" fmla="*/ 2147483647 w 7540"/>
              <a:gd name="T113" fmla="*/ 2147483647 h 2736"/>
              <a:gd name="T114" fmla="*/ 2147483647 w 7540"/>
              <a:gd name="T115" fmla="*/ 2147483647 h 2736"/>
              <a:gd name="T116" fmla="*/ 2147483647 w 7540"/>
              <a:gd name="T117" fmla="*/ 2147483647 h 2736"/>
              <a:gd name="T118" fmla="*/ 2147483647 w 7540"/>
              <a:gd name="T119" fmla="*/ 2147483647 h 2736"/>
              <a:gd name="T120" fmla="*/ 2147483647 w 7540"/>
              <a:gd name="T121" fmla="*/ 2147483647 h 2736"/>
              <a:gd name="T122" fmla="*/ 2147483647 w 7540"/>
              <a:gd name="T123" fmla="*/ 2147483647 h 27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7540"/>
              <a:gd name="T187" fmla="*/ 0 h 2736"/>
              <a:gd name="T188" fmla="*/ 7540 w 7540"/>
              <a:gd name="T189" fmla="*/ 2736 h 27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7540" h="2736">
                <a:moveTo>
                  <a:pt x="1911" y="0"/>
                </a:moveTo>
                <a:lnTo>
                  <a:pt x="2084" y="0"/>
                </a:lnTo>
                <a:lnTo>
                  <a:pt x="2066" y="47"/>
                </a:lnTo>
                <a:lnTo>
                  <a:pt x="2103" y="90"/>
                </a:lnTo>
                <a:lnTo>
                  <a:pt x="2112" y="140"/>
                </a:lnTo>
                <a:lnTo>
                  <a:pt x="2110" y="202"/>
                </a:lnTo>
                <a:lnTo>
                  <a:pt x="2095" y="220"/>
                </a:lnTo>
                <a:lnTo>
                  <a:pt x="2108" y="276"/>
                </a:lnTo>
                <a:lnTo>
                  <a:pt x="2098" y="387"/>
                </a:lnTo>
                <a:lnTo>
                  <a:pt x="2142" y="437"/>
                </a:lnTo>
                <a:lnTo>
                  <a:pt x="2142" y="461"/>
                </a:lnTo>
                <a:lnTo>
                  <a:pt x="2127" y="497"/>
                </a:lnTo>
                <a:lnTo>
                  <a:pt x="2127" y="550"/>
                </a:lnTo>
                <a:lnTo>
                  <a:pt x="2105" y="564"/>
                </a:lnTo>
                <a:lnTo>
                  <a:pt x="2075" y="637"/>
                </a:lnTo>
                <a:lnTo>
                  <a:pt x="1973" y="663"/>
                </a:lnTo>
                <a:lnTo>
                  <a:pt x="1986" y="705"/>
                </a:lnTo>
                <a:lnTo>
                  <a:pt x="2079" y="723"/>
                </a:lnTo>
                <a:lnTo>
                  <a:pt x="2090" y="720"/>
                </a:lnTo>
                <a:lnTo>
                  <a:pt x="2093" y="683"/>
                </a:lnTo>
                <a:lnTo>
                  <a:pt x="2146" y="649"/>
                </a:lnTo>
                <a:lnTo>
                  <a:pt x="2164" y="593"/>
                </a:lnTo>
                <a:lnTo>
                  <a:pt x="2201" y="553"/>
                </a:lnTo>
                <a:lnTo>
                  <a:pt x="2203" y="516"/>
                </a:lnTo>
                <a:lnTo>
                  <a:pt x="2181" y="465"/>
                </a:lnTo>
                <a:lnTo>
                  <a:pt x="2195" y="423"/>
                </a:lnTo>
                <a:lnTo>
                  <a:pt x="2288" y="393"/>
                </a:lnTo>
                <a:lnTo>
                  <a:pt x="2322" y="454"/>
                </a:lnTo>
                <a:lnTo>
                  <a:pt x="2316" y="482"/>
                </a:lnTo>
                <a:lnTo>
                  <a:pt x="2327" y="490"/>
                </a:lnTo>
                <a:lnTo>
                  <a:pt x="2316" y="547"/>
                </a:lnTo>
                <a:lnTo>
                  <a:pt x="2339" y="571"/>
                </a:lnTo>
                <a:lnTo>
                  <a:pt x="2395" y="564"/>
                </a:lnTo>
                <a:lnTo>
                  <a:pt x="2332" y="542"/>
                </a:lnTo>
                <a:lnTo>
                  <a:pt x="2335" y="497"/>
                </a:lnTo>
                <a:lnTo>
                  <a:pt x="2361" y="482"/>
                </a:lnTo>
                <a:lnTo>
                  <a:pt x="2339" y="406"/>
                </a:lnTo>
                <a:lnTo>
                  <a:pt x="2264" y="361"/>
                </a:lnTo>
                <a:lnTo>
                  <a:pt x="2222" y="380"/>
                </a:lnTo>
                <a:lnTo>
                  <a:pt x="2157" y="363"/>
                </a:lnTo>
                <a:lnTo>
                  <a:pt x="2166" y="327"/>
                </a:lnTo>
                <a:lnTo>
                  <a:pt x="2149" y="290"/>
                </a:lnTo>
                <a:lnTo>
                  <a:pt x="2183" y="165"/>
                </a:lnTo>
                <a:lnTo>
                  <a:pt x="2124" y="39"/>
                </a:lnTo>
                <a:lnTo>
                  <a:pt x="2137" y="0"/>
                </a:lnTo>
                <a:lnTo>
                  <a:pt x="2231" y="0"/>
                </a:lnTo>
                <a:lnTo>
                  <a:pt x="2237" y="31"/>
                </a:lnTo>
                <a:lnTo>
                  <a:pt x="2223" y="58"/>
                </a:lnTo>
                <a:lnTo>
                  <a:pt x="2232" y="70"/>
                </a:lnTo>
                <a:lnTo>
                  <a:pt x="2362" y="106"/>
                </a:lnTo>
                <a:lnTo>
                  <a:pt x="2361" y="81"/>
                </a:lnTo>
                <a:lnTo>
                  <a:pt x="2277" y="39"/>
                </a:lnTo>
                <a:lnTo>
                  <a:pt x="2263" y="0"/>
                </a:lnTo>
                <a:lnTo>
                  <a:pt x="2290" y="0"/>
                </a:lnTo>
                <a:lnTo>
                  <a:pt x="2299" y="19"/>
                </a:lnTo>
                <a:lnTo>
                  <a:pt x="2344" y="0"/>
                </a:lnTo>
                <a:lnTo>
                  <a:pt x="2501" y="0"/>
                </a:lnTo>
                <a:lnTo>
                  <a:pt x="2517" y="14"/>
                </a:lnTo>
                <a:lnTo>
                  <a:pt x="2598" y="24"/>
                </a:lnTo>
                <a:lnTo>
                  <a:pt x="2584" y="65"/>
                </a:lnTo>
                <a:lnTo>
                  <a:pt x="2552" y="92"/>
                </a:lnTo>
                <a:lnTo>
                  <a:pt x="2556" y="157"/>
                </a:lnTo>
                <a:lnTo>
                  <a:pt x="2548" y="182"/>
                </a:lnTo>
                <a:lnTo>
                  <a:pt x="2548" y="220"/>
                </a:lnTo>
                <a:lnTo>
                  <a:pt x="2560" y="239"/>
                </a:lnTo>
                <a:lnTo>
                  <a:pt x="2596" y="250"/>
                </a:lnTo>
                <a:lnTo>
                  <a:pt x="2593" y="219"/>
                </a:lnTo>
                <a:lnTo>
                  <a:pt x="2618" y="208"/>
                </a:lnTo>
                <a:lnTo>
                  <a:pt x="2619" y="168"/>
                </a:lnTo>
                <a:lnTo>
                  <a:pt x="2596" y="85"/>
                </a:lnTo>
                <a:lnTo>
                  <a:pt x="2616" y="35"/>
                </a:lnTo>
                <a:lnTo>
                  <a:pt x="2607" y="0"/>
                </a:lnTo>
                <a:lnTo>
                  <a:pt x="4694" y="0"/>
                </a:lnTo>
                <a:lnTo>
                  <a:pt x="4700" y="27"/>
                </a:lnTo>
                <a:lnTo>
                  <a:pt x="4712" y="24"/>
                </a:lnTo>
                <a:lnTo>
                  <a:pt x="4751" y="112"/>
                </a:lnTo>
                <a:lnTo>
                  <a:pt x="4796" y="129"/>
                </a:lnTo>
                <a:lnTo>
                  <a:pt x="4813" y="161"/>
                </a:lnTo>
                <a:lnTo>
                  <a:pt x="4869" y="0"/>
                </a:lnTo>
                <a:lnTo>
                  <a:pt x="4889" y="0"/>
                </a:lnTo>
                <a:lnTo>
                  <a:pt x="4921" y="60"/>
                </a:lnTo>
                <a:lnTo>
                  <a:pt x="5009" y="27"/>
                </a:lnTo>
                <a:lnTo>
                  <a:pt x="5045" y="45"/>
                </a:lnTo>
                <a:lnTo>
                  <a:pt x="5119" y="97"/>
                </a:lnTo>
                <a:lnTo>
                  <a:pt x="5189" y="45"/>
                </a:lnTo>
                <a:lnTo>
                  <a:pt x="5212" y="55"/>
                </a:lnTo>
                <a:lnTo>
                  <a:pt x="5201" y="11"/>
                </a:lnTo>
                <a:lnTo>
                  <a:pt x="5205" y="0"/>
                </a:lnTo>
                <a:lnTo>
                  <a:pt x="5641" y="0"/>
                </a:lnTo>
                <a:lnTo>
                  <a:pt x="5629" y="21"/>
                </a:lnTo>
                <a:lnTo>
                  <a:pt x="5685" y="30"/>
                </a:lnTo>
                <a:lnTo>
                  <a:pt x="5707" y="64"/>
                </a:lnTo>
                <a:lnTo>
                  <a:pt x="5749" y="55"/>
                </a:lnTo>
                <a:lnTo>
                  <a:pt x="5783" y="95"/>
                </a:lnTo>
                <a:lnTo>
                  <a:pt x="5756" y="123"/>
                </a:lnTo>
                <a:lnTo>
                  <a:pt x="5793" y="148"/>
                </a:lnTo>
                <a:lnTo>
                  <a:pt x="5893" y="121"/>
                </a:lnTo>
                <a:lnTo>
                  <a:pt x="6083" y="126"/>
                </a:lnTo>
                <a:lnTo>
                  <a:pt x="6135" y="200"/>
                </a:lnTo>
                <a:lnTo>
                  <a:pt x="6122" y="282"/>
                </a:lnTo>
                <a:lnTo>
                  <a:pt x="6149" y="293"/>
                </a:lnTo>
                <a:lnTo>
                  <a:pt x="6193" y="313"/>
                </a:lnTo>
                <a:lnTo>
                  <a:pt x="6194" y="338"/>
                </a:lnTo>
                <a:lnTo>
                  <a:pt x="6321" y="285"/>
                </a:lnTo>
                <a:lnTo>
                  <a:pt x="6333" y="307"/>
                </a:lnTo>
                <a:lnTo>
                  <a:pt x="6451" y="326"/>
                </a:lnTo>
                <a:lnTo>
                  <a:pt x="6493" y="287"/>
                </a:lnTo>
                <a:lnTo>
                  <a:pt x="6513" y="312"/>
                </a:lnTo>
                <a:lnTo>
                  <a:pt x="6516" y="359"/>
                </a:lnTo>
                <a:lnTo>
                  <a:pt x="6599" y="418"/>
                </a:lnTo>
                <a:lnTo>
                  <a:pt x="6643" y="375"/>
                </a:lnTo>
                <a:lnTo>
                  <a:pt x="6624" y="313"/>
                </a:lnTo>
                <a:lnTo>
                  <a:pt x="6599" y="307"/>
                </a:lnTo>
                <a:lnTo>
                  <a:pt x="6618" y="292"/>
                </a:lnTo>
                <a:lnTo>
                  <a:pt x="6618" y="254"/>
                </a:lnTo>
                <a:lnTo>
                  <a:pt x="6624" y="250"/>
                </a:lnTo>
                <a:lnTo>
                  <a:pt x="6867" y="273"/>
                </a:lnTo>
                <a:lnTo>
                  <a:pt x="6983" y="333"/>
                </a:lnTo>
                <a:lnTo>
                  <a:pt x="7059" y="398"/>
                </a:lnTo>
                <a:lnTo>
                  <a:pt x="7059" y="399"/>
                </a:lnTo>
                <a:lnTo>
                  <a:pt x="7107" y="418"/>
                </a:lnTo>
                <a:lnTo>
                  <a:pt x="7115" y="446"/>
                </a:lnTo>
                <a:lnTo>
                  <a:pt x="7141" y="457"/>
                </a:lnTo>
                <a:lnTo>
                  <a:pt x="7144" y="482"/>
                </a:lnTo>
                <a:lnTo>
                  <a:pt x="7161" y="474"/>
                </a:lnTo>
                <a:lnTo>
                  <a:pt x="7178" y="483"/>
                </a:lnTo>
                <a:lnTo>
                  <a:pt x="7184" y="499"/>
                </a:lnTo>
                <a:lnTo>
                  <a:pt x="7197" y="499"/>
                </a:lnTo>
                <a:lnTo>
                  <a:pt x="7201" y="511"/>
                </a:lnTo>
                <a:lnTo>
                  <a:pt x="7192" y="519"/>
                </a:lnTo>
                <a:lnTo>
                  <a:pt x="7234" y="531"/>
                </a:lnTo>
                <a:lnTo>
                  <a:pt x="7233" y="542"/>
                </a:lnTo>
                <a:lnTo>
                  <a:pt x="7220" y="551"/>
                </a:lnTo>
                <a:lnTo>
                  <a:pt x="7268" y="579"/>
                </a:lnTo>
                <a:lnTo>
                  <a:pt x="7245" y="542"/>
                </a:lnTo>
                <a:lnTo>
                  <a:pt x="7270" y="551"/>
                </a:lnTo>
                <a:lnTo>
                  <a:pt x="7274" y="570"/>
                </a:lnTo>
                <a:lnTo>
                  <a:pt x="7294" y="585"/>
                </a:lnTo>
                <a:lnTo>
                  <a:pt x="7296" y="596"/>
                </a:lnTo>
                <a:lnTo>
                  <a:pt x="7287" y="587"/>
                </a:lnTo>
                <a:lnTo>
                  <a:pt x="7302" y="639"/>
                </a:lnTo>
                <a:lnTo>
                  <a:pt x="7301" y="659"/>
                </a:lnTo>
                <a:lnTo>
                  <a:pt x="7316" y="671"/>
                </a:lnTo>
                <a:lnTo>
                  <a:pt x="7316" y="686"/>
                </a:lnTo>
                <a:lnTo>
                  <a:pt x="7335" y="688"/>
                </a:lnTo>
                <a:lnTo>
                  <a:pt x="7333" y="709"/>
                </a:lnTo>
                <a:lnTo>
                  <a:pt x="7344" y="703"/>
                </a:lnTo>
                <a:lnTo>
                  <a:pt x="7345" y="686"/>
                </a:lnTo>
                <a:lnTo>
                  <a:pt x="7327" y="676"/>
                </a:lnTo>
                <a:lnTo>
                  <a:pt x="7331" y="635"/>
                </a:lnTo>
                <a:lnTo>
                  <a:pt x="7319" y="634"/>
                </a:lnTo>
                <a:lnTo>
                  <a:pt x="7310" y="626"/>
                </a:lnTo>
                <a:lnTo>
                  <a:pt x="7324" y="624"/>
                </a:lnTo>
                <a:lnTo>
                  <a:pt x="7344" y="632"/>
                </a:lnTo>
                <a:lnTo>
                  <a:pt x="7345" y="615"/>
                </a:lnTo>
                <a:lnTo>
                  <a:pt x="7368" y="629"/>
                </a:lnTo>
                <a:lnTo>
                  <a:pt x="7358" y="639"/>
                </a:lnTo>
                <a:lnTo>
                  <a:pt x="7365" y="652"/>
                </a:lnTo>
                <a:lnTo>
                  <a:pt x="7372" y="646"/>
                </a:lnTo>
                <a:lnTo>
                  <a:pt x="7370" y="634"/>
                </a:lnTo>
                <a:lnTo>
                  <a:pt x="7395" y="646"/>
                </a:lnTo>
                <a:lnTo>
                  <a:pt x="7395" y="630"/>
                </a:lnTo>
                <a:lnTo>
                  <a:pt x="7438" y="639"/>
                </a:lnTo>
                <a:lnTo>
                  <a:pt x="7457" y="676"/>
                </a:lnTo>
                <a:lnTo>
                  <a:pt x="7495" y="712"/>
                </a:lnTo>
                <a:lnTo>
                  <a:pt x="7489" y="720"/>
                </a:lnTo>
                <a:lnTo>
                  <a:pt x="7494" y="725"/>
                </a:lnTo>
                <a:lnTo>
                  <a:pt x="7502" y="715"/>
                </a:lnTo>
                <a:lnTo>
                  <a:pt x="7509" y="728"/>
                </a:lnTo>
                <a:lnTo>
                  <a:pt x="7533" y="735"/>
                </a:lnTo>
                <a:lnTo>
                  <a:pt x="7494" y="756"/>
                </a:lnTo>
                <a:lnTo>
                  <a:pt x="7491" y="791"/>
                </a:lnTo>
                <a:lnTo>
                  <a:pt x="7457" y="766"/>
                </a:lnTo>
                <a:lnTo>
                  <a:pt x="7453" y="773"/>
                </a:lnTo>
                <a:lnTo>
                  <a:pt x="7455" y="786"/>
                </a:lnTo>
                <a:lnTo>
                  <a:pt x="7469" y="793"/>
                </a:lnTo>
                <a:lnTo>
                  <a:pt x="7472" y="802"/>
                </a:lnTo>
                <a:lnTo>
                  <a:pt x="7469" y="807"/>
                </a:lnTo>
                <a:lnTo>
                  <a:pt x="7431" y="803"/>
                </a:lnTo>
                <a:lnTo>
                  <a:pt x="7419" y="813"/>
                </a:lnTo>
                <a:lnTo>
                  <a:pt x="7418" y="832"/>
                </a:lnTo>
                <a:lnTo>
                  <a:pt x="7415" y="835"/>
                </a:lnTo>
                <a:lnTo>
                  <a:pt x="7424" y="852"/>
                </a:lnTo>
                <a:lnTo>
                  <a:pt x="7376" y="881"/>
                </a:lnTo>
                <a:lnTo>
                  <a:pt x="7392" y="884"/>
                </a:lnTo>
                <a:lnTo>
                  <a:pt x="7382" y="895"/>
                </a:lnTo>
                <a:lnTo>
                  <a:pt x="7398" y="896"/>
                </a:lnTo>
                <a:lnTo>
                  <a:pt x="7410" y="920"/>
                </a:lnTo>
                <a:lnTo>
                  <a:pt x="7385" y="918"/>
                </a:lnTo>
                <a:lnTo>
                  <a:pt x="7387" y="932"/>
                </a:lnTo>
                <a:lnTo>
                  <a:pt x="7381" y="938"/>
                </a:lnTo>
                <a:lnTo>
                  <a:pt x="7362" y="932"/>
                </a:lnTo>
                <a:lnTo>
                  <a:pt x="7370" y="910"/>
                </a:lnTo>
                <a:lnTo>
                  <a:pt x="7365" y="904"/>
                </a:lnTo>
                <a:lnTo>
                  <a:pt x="7362" y="925"/>
                </a:lnTo>
                <a:lnTo>
                  <a:pt x="7355" y="930"/>
                </a:lnTo>
                <a:lnTo>
                  <a:pt x="7345" y="926"/>
                </a:lnTo>
                <a:lnTo>
                  <a:pt x="7347" y="915"/>
                </a:lnTo>
                <a:lnTo>
                  <a:pt x="7333" y="921"/>
                </a:lnTo>
                <a:lnTo>
                  <a:pt x="7322" y="904"/>
                </a:lnTo>
                <a:lnTo>
                  <a:pt x="7327" y="900"/>
                </a:lnTo>
                <a:lnTo>
                  <a:pt x="7297" y="886"/>
                </a:lnTo>
                <a:lnTo>
                  <a:pt x="7304" y="878"/>
                </a:lnTo>
                <a:lnTo>
                  <a:pt x="7305" y="864"/>
                </a:lnTo>
                <a:lnTo>
                  <a:pt x="7302" y="866"/>
                </a:lnTo>
                <a:lnTo>
                  <a:pt x="7302" y="879"/>
                </a:lnTo>
                <a:lnTo>
                  <a:pt x="7291" y="872"/>
                </a:lnTo>
                <a:lnTo>
                  <a:pt x="7293" y="887"/>
                </a:lnTo>
                <a:lnTo>
                  <a:pt x="7270" y="883"/>
                </a:lnTo>
                <a:lnTo>
                  <a:pt x="7246" y="853"/>
                </a:lnTo>
                <a:lnTo>
                  <a:pt x="7245" y="810"/>
                </a:lnTo>
                <a:lnTo>
                  <a:pt x="7218" y="793"/>
                </a:lnTo>
                <a:lnTo>
                  <a:pt x="7163" y="805"/>
                </a:lnTo>
                <a:lnTo>
                  <a:pt x="7127" y="796"/>
                </a:lnTo>
                <a:lnTo>
                  <a:pt x="7123" y="771"/>
                </a:lnTo>
                <a:lnTo>
                  <a:pt x="7118" y="769"/>
                </a:lnTo>
                <a:lnTo>
                  <a:pt x="7104" y="740"/>
                </a:lnTo>
                <a:lnTo>
                  <a:pt x="7123" y="737"/>
                </a:lnTo>
                <a:lnTo>
                  <a:pt x="7124" y="706"/>
                </a:lnTo>
                <a:lnTo>
                  <a:pt x="7106" y="731"/>
                </a:lnTo>
                <a:lnTo>
                  <a:pt x="7096" y="708"/>
                </a:lnTo>
                <a:lnTo>
                  <a:pt x="7085" y="709"/>
                </a:lnTo>
                <a:lnTo>
                  <a:pt x="7087" y="732"/>
                </a:lnTo>
                <a:lnTo>
                  <a:pt x="7059" y="734"/>
                </a:lnTo>
                <a:lnTo>
                  <a:pt x="7059" y="741"/>
                </a:lnTo>
                <a:lnTo>
                  <a:pt x="7064" y="762"/>
                </a:lnTo>
                <a:lnTo>
                  <a:pt x="7089" y="786"/>
                </a:lnTo>
                <a:lnTo>
                  <a:pt x="7089" y="799"/>
                </a:lnTo>
                <a:lnTo>
                  <a:pt x="7059" y="848"/>
                </a:lnTo>
                <a:lnTo>
                  <a:pt x="7059" y="852"/>
                </a:lnTo>
                <a:lnTo>
                  <a:pt x="6992" y="904"/>
                </a:lnTo>
                <a:lnTo>
                  <a:pt x="6938" y="889"/>
                </a:lnTo>
                <a:lnTo>
                  <a:pt x="6945" y="926"/>
                </a:lnTo>
                <a:lnTo>
                  <a:pt x="6971" y="941"/>
                </a:lnTo>
                <a:lnTo>
                  <a:pt x="6980" y="929"/>
                </a:lnTo>
                <a:lnTo>
                  <a:pt x="6991" y="960"/>
                </a:lnTo>
                <a:lnTo>
                  <a:pt x="6996" y="971"/>
                </a:lnTo>
                <a:lnTo>
                  <a:pt x="7004" y="1026"/>
                </a:lnTo>
                <a:lnTo>
                  <a:pt x="7031" y="1062"/>
                </a:lnTo>
                <a:lnTo>
                  <a:pt x="7011" y="1067"/>
                </a:lnTo>
                <a:lnTo>
                  <a:pt x="7034" y="1096"/>
                </a:lnTo>
                <a:lnTo>
                  <a:pt x="7011" y="1136"/>
                </a:lnTo>
                <a:lnTo>
                  <a:pt x="6938" y="1113"/>
                </a:lnTo>
                <a:lnTo>
                  <a:pt x="6929" y="1113"/>
                </a:lnTo>
                <a:lnTo>
                  <a:pt x="6830" y="1155"/>
                </a:lnTo>
                <a:lnTo>
                  <a:pt x="6827" y="1172"/>
                </a:lnTo>
                <a:lnTo>
                  <a:pt x="6774" y="1203"/>
                </a:lnTo>
                <a:lnTo>
                  <a:pt x="6757" y="1194"/>
                </a:lnTo>
                <a:lnTo>
                  <a:pt x="6742" y="1226"/>
                </a:lnTo>
                <a:lnTo>
                  <a:pt x="6706" y="1246"/>
                </a:lnTo>
                <a:lnTo>
                  <a:pt x="6706" y="1263"/>
                </a:lnTo>
                <a:lnTo>
                  <a:pt x="6621" y="1319"/>
                </a:lnTo>
                <a:lnTo>
                  <a:pt x="6612" y="1365"/>
                </a:lnTo>
                <a:lnTo>
                  <a:pt x="6567" y="1313"/>
                </a:lnTo>
                <a:lnTo>
                  <a:pt x="6511" y="1300"/>
                </a:lnTo>
                <a:lnTo>
                  <a:pt x="6457" y="1322"/>
                </a:lnTo>
                <a:lnTo>
                  <a:pt x="6420" y="1376"/>
                </a:lnTo>
                <a:lnTo>
                  <a:pt x="6420" y="1311"/>
                </a:lnTo>
                <a:lnTo>
                  <a:pt x="6371" y="1353"/>
                </a:lnTo>
                <a:lnTo>
                  <a:pt x="6366" y="1376"/>
                </a:lnTo>
                <a:lnTo>
                  <a:pt x="6346" y="1356"/>
                </a:lnTo>
                <a:lnTo>
                  <a:pt x="6298" y="1372"/>
                </a:lnTo>
                <a:lnTo>
                  <a:pt x="6281" y="1443"/>
                </a:lnTo>
                <a:lnTo>
                  <a:pt x="6269" y="1443"/>
                </a:lnTo>
                <a:lnTo>
                  <a:pt x="6240" y="1492"/>
                </a:lnTo>
                <a:lnTo>
                  <a:pt x="6227" y="1545"/>
                </a:lnTo>
                <a:lnTo>
                  <a:pt x="6242" y="1562"/>
                </a:lnTo>
                <a:lnTo>
                  <a:pt x="6257" y="1543"/>
                </a:lnTo>
                <a:lnTo>
                  <a:pt x="6282" y="1558"/>
                </a:lnTo>
                <a:lnTo>
                  <a:pt x="6261" y="1610"/>
                </a:lnTo>
                <a:lnTo>
                  <a:pt x="6262" y="1648"/>
                </a:lnTo>
                <a:lnTo>
                  <a:pt x="6282" y="1656"/>
                </a:lnTo>
                <a:lnTo>
                  <a:pt x="6286" y="1685"/>
                </a:lnTo>
                <a:lnTo>
                  <a:pt x="6273" y="1709"/>
                </a:lnTo>
                <a:lnTo>
                  <a:pt x="6257" y="1689"/>
                </a:lnTo>
                <a:lnTo>
                  <a:pt x="6271" y="1663"/>
                </a:lnTo>
                <a:lnTo>
                  <a:pt x="6239" y="1676"/>
                </a:lnTo>
                <a:lnTo>
                  <a:pt x="6242" y="1685"/>
                </a:lnTo>
                <a:lnTo>
                  <a:pt x="6244" y="1692"/>
                </a:lnTo>
                <a:lnTo>
                  <a:pt x="6223" y="1712"/>
                </a:lnTo>
                <a:lnTo>
                  <a:pt x="6211" y="1748"/>
                </a:lnTo>
                <a:lnTo>
                  <a:pt x="6231" y="1812"/>
                </a:lnTo>
                <a:lnTo>
                  <a:pt x="6208" y="1829"/>
                </a:lnTo>
                <a:lnTo>
                  <a:pt x="6179" y="1823"/>
                </a:lnTo>
                <a:lnTo>
                  <a:pt x="6131" y="1866"/>
                </a:lnTo>
                <a:lnTo>
                  <a:pt x="6135" y="1933"/>
                </a:lnTo>
                <a:lnTo>
                  <a:pt x="6122" y="1927"/>
                </a:lnTo>
                <a:lnTo>
                  <a:pt x="6081" y="1955"/>
                </a:lnTo>
                <a:lnTo>
                  <a:pt x="6066" y="1978"/>
                </a:lnTo>
                <a:lnTo>
                  <a:pt x="6056" y="2029"/>
                </a:lnTo>
                <a:lnTo>
                  <a:pt x="5990" y="2102"/>
                </a:lnTo>
                <a:lnTo>
                  <a:pt x="5937" y="1815"/>
                </a:lnTo>
                <a:lnTo>
                  <a:pt x="5934" y="1712"/>
                </a:lnTo>
                <a:lnTo>
                  <a:pt x="5947" y="1650"/>
                </a:lnTo>
                <a:lnTo>
                  <a:pt x="5988" y="1616"/>
                </a:lnTo>
                <a:lnTo>
                  <a:pt x="5998" y="1582"/>
                </a:lnTo>
                <a:lnTo>
                  <a:pt x="5993" y="1554"/>
                </a:lnTo>
                <a:lnTo>
                  <a:pt x="6018" y="1558"/>
                </a:lnTo>
                <a:lnTo>
                  <a:pt x="6063" y="1532"/>
                </a:lnTo>
                <a:lnTo>
                  <a:pt x="6157" y="1402"/>
                </a:lnTo>
                <a:lnTo>
                  <a:pt x="6220" y="1342"/>
                </a:lnTo>
                <a:lnTo>
                  <a:pt x="6227" y="1317"/>
                </a:lnTo>
                <a:lnTo>
                  <a:pt x="6307" y="1277"/>
                </a:lnTo>
                <a:lnTo>
                  <a:pt x="6301" y="1257"/>
                </a:lnTo>
                <a:lnTo>
                  <a:pt x="6313" y="1240"/>
                </a:lnTo>
                <a:lnTo>
                  <a:pt x="6329" y="1147"/>
                </a:lnTo>
                <a:lnTo>
                  <a:pt x="6366" y="1118"/>
                </a:lnTo>
                <a:lnTo>
                  <a:pt x="6340" y="1101"/>
                </a:lnTo>
                <a:lnTo>
                  <a:pt x="6290" y="1127"/>
                </a:lnTo>
                <a:lnTo>
                  <a:pt x="6274" y="1189"/>
                </a:lnTo>
                <a:lnTo>
                  <a:pt x="6286" y="1200"/>
                </a:lnTo>
                <a:lnTo>
                  <a:pt x="6279" y="1214"/>
                </a:lnTo>
                <a:lnTo>
                  <a:pt x="6265" y="1198"/>
                </a:lnTo>
                <a:lnTo>
                  <a:pt x="6245" y="1208"/>
                </a:lnTo>
                <a:lnTo>
                  <a:pt x="6146" y="1306"/>
                </a:lnTo>
                <a:lnTo>
                  <a:pt x="6156" y="1265"/>
                </a:lnTo>
                <a:lnTo>
                  <a:pt x="6129" y="1268"/>
                </a:lnTo>
                <a:lnTo>
                  <a:pt x="6137" y="1254"/>
                </a:lnTo>
                <a:lnTo>
                  <a:pt x="6132" y="1235"/>
                </a:lnTo>
                <a:lnTo>
                  <a:pt x="6154" y="1174"/>
                </a:lnTo>
                <a:lnTo>
                  <a:pt x="6129" y="1200"/>
                </a:lnTo>
                <a:lnTo>
                  <a:pt x="6092" y="1175"/>
                </a:lnTo>
                <a:lnTo>
                  <a:pt x="6008" y="1201"/>
                </a:lnTo>
                <a:lnTo>
                  <a:pt x="5868" y="1376"/>
                </a:lnTo>
                <a:lnTo>
                  <a:pt x="5874" y="1396"/>
                </a:lnTo>
                <a:lnTo>
                  <a:pt x="5869" y="1407"/>
                </a:lnTo>
                <a:lnTo>
                  <a:pt x="5910" y="1421"/>
                </a:lnTo>
                <a:lnTo>
                  <a:pt x="5911" y="1436"/>
                </a:lnTo>
                <a:lnTo>
                  <a:pt x="5900" y="1440"/>
                </a:lnTo>
                <a:lnTo>
                  <a:pt x="5843" y="1433"/>
                </a:lnTo>
                <a:lnTo>
                  <a:pt x="5807" y="1460"/>
                </a:lnTo>
                <a:lnTo>
                  <a:pt x="5792" y="1448"/>
                </a:lnTo>
                <a:lnTo>
                  <a:pt x="5741" y="1465"/>
                </a:lnTo>
                <a:lnTo>
                  <a:pt x="5729" y="1443"/>
                </a:lnTo>
                <a:lnTo>
                  <a:pt x="5776" y="1427"/>
                </a:lnTo>
                <a:lnTo>
                  <a:pt x="5741" y="1401"/>
                </a:lnTo>
                <a:lnTo>
                  <a:pt x="5717" y="1410"/>
                </a:lnTo>
                <a:lnTo>
                  <a:pt x="5640" y="1385"/>
                </a:lnTo>
                <a:lnTo>
                  <a:pt x="5631" y="1392"/>
                </a:lnTo>
                <a:lnTo>
                  <a:pt x="5636" y="1409"/>
                </a:lnTo>
                <a:lnTo>
                  <a:pt x="5617" y="1412"/>
                </a:lnTo>
                <a:lnTo>
                  <a:pt x="5624" y="1427"/>
                </a:lnTo>
                <a:lnTo>
                  <a:pt x="5612" y="1432"/>
                </a:lnTo>
                <a:lnTo>
                  <a:pt x="5599" y="1418"/>
                </a:lnTo>
                <a:lnTo>
                  <a:pt x="5561" y="1429"/>
                </a:lnTo>
                <a:lnTo>
                  <a:pt x="5512" y="1410"/>
                </a:lnTo>
                <a:lnTo>
                  <a:pt x="5495" y="1436"/>
                </a:lnTo>
                <a:lnTo>
                  <a:pt x="5468" y="1415"/>
                </a:lnTo>
                <a:lnTo>
                  <a:pt x="5360" y="1421"/>
                </a:lnTo>
                <a:lnTo>
                  <a:pt x="5320" y="1443"/>
                </a:lnTo>
                <a:lnTo>
                  <a:pt x="5253" y="1514"/>
                </a:lnTo>
                <a:lnTo>
                  <a:pt x="5231" y="1556"/>
                </a:lnTo>
                <a:lnTo>
                  <a:pt x="5141" y="1641"/>
                </a:lnTo>
                <a:lnTo>
                  <a:pt x="5109" y="1695"/>
                </a:lnTo>
                <a:lnTo>
                  <a:pt x="4997" y="1794"/>
                </a:lnTo>
                <a:lnTo>
                  <a:pt x="4994" y="1811"/>
                </a:lnTo>
                <a:lnTo>
                  <a:pt x="5017" y="1823"/>
                </a:lnTo>
                <a:lnTo>
                  <a:pt x="5065" y="1820"/>
                </a:lnTo>
                <a:lnTo>
                  <a:pt x="5067" y="1887"/>
                </a:lnTo>
                <a:lnTo>
                  <a:pt x="5084" y="1873"/>
                </a:lnTo>
                <a:lnTo>
                  <a:pt x="5085" y="1851"/>
                </a:lnTo>
                <a:lnTo>
                  <a:pt x="5105" y="1844"/>
                </a:lnTo>
                <a:lnTo>
                  <a:pt x="5092" y="1859"/>
                </a:lnTo>
                <a:lnTo>
                  <a:pt x="5107" y="1878"/>
                </a:lnTo>
                <a:lnTo>
                  <a:pt x="5088" y="1900"/>
                </a:lnTo>
                <a:lnTo>
                  <a:pt x="5130" y="1891"/>
                </a:lnTo>
                <a:lnTo>
                  <a:pt x="5145" y="1873"/>
                </a:lnTo>
                <a:lnTo>
                  <a:pt x="5138" y="1905"/>
                </a:lnTo>
                <a:lnTo>
                  <a:pt x="5153" y="1883"/>
                </a:lnTo>
                <a:lnTo>
                  <a:pt x="5156" y="1844"/>
                </a:lnTo>
                <a:lnTo>
                  <a:pt x="5204" y="1848"/>
                </a:lnTo>
                <a:lnTo>
                  <a:pt x="5229" y="1887"/>
                </a:lnTo>
                <a:lnTo>
                  <a:pt x="5278" y="1922"/>
                </a:lnTo>
                <a:lnTo>
                  <a:pt x="5268" y="1942"/>
                </a:lnTo>
                <a:lnTo>
                  <a:pt x="5210" y="1930"/>
                </a:lnTo>
                <a:lnTo>
                  <a:pt x="5266" y="1952"/>
                </a:lnTo>
                <a:lnTo>
                  <a:pt x="5272" y="1975"/>
                </a:lnTo>
                <a:lnTo>
                  <a:pt x="5266" y="1989"/>
                </a:lnTo>
                <a:lnTo>
                  <a:pt x="5282" y="2006"/>
                </a:lnTo>
                <a:lnTo>
                  <a:pt x="5252" y="2063"/>
                </a:lnTo>
                <a:lnTo>
                  <a:pt x="5236" y="2113"/>
                </a:lnTo>
                <a:lnTo>
                  <a:pt x="5246" y="2164"/>
                </a:lnTo>
                <a:lnTo>
                  <a:pt x="5227" y="2274"/>
                </a:lnTo>
                <a:lnTo>
                  <a:pt x="5148" y="2377"/>
                </a:lnTo>
                <a:lnTo>
                  <a:pt x="5111" y="2452"/>
                </a:lnTo>
                <a:lnTo>
                  <a:pt x="4987" y="2606"/>
                </a:lnTo>
                <a:lnTo>
                  <a:pt x="4906" y="2651"/>
                </a:lnTo>
                <a:lnTo>
                  <a:pt x="4864" y="2642"/>
                </a:lnTo>
                <a:lnTo>
                  <a:pt x="4862" y="2616"/>
                </a:lnTo>
                <a:lnTo>
                  <a:pt x="4847" y="2626"/>
                </a:lnTo>
                <a:lnTo>
                  <a:pt x="4839" y="2606"/>
                </a:lnTo>
                <a:lnTo>
                  <a:pt x="4811" y="2657"/>
                </a:lnTo>
                <a:lnTo>
                  <a:pt x="4788" y="2657"/>
                </a:lnTo>
                <a:lnTo>
                  <a:pt x="4791" y="2668"/>
                </a:lnTo>
                <a:lnTo>
                  <a:pt x="4784" y="2670"/>
                </a:lnTo>
                <a:lnTo>
                  <a:pt x="4780" y="2660"/>
                </a:lnTo>
                <a:lnTo>
                  <a:pt x="4780" y="2645"/>
                </a:lnTo>
                <a:lnTo>
                  <a:pt x="4811" y="2609"/>
                </a:lnTo>
                <a:lnTo>
                  <a:pt x="4811" y="2562"/>
                </a:lnTo>
                <a:lnTo>
                  <a:pt x="4799" y="2526"/>
                </a:lnTo>
                <a:lnTo>
                  <a:pt x="4839" y="2492"/>
                </a:lnTo>
                <a:lnTo>
                  <a:pt x="4882" y="2503"/>
                </a:lnTo>
                <a:lnTo>
                  <a:pt x="4887" y="2506"/>
                </a:lnTo>
                <a:lnTo>
                  <a:pt x="4898" y="2498"/>
                </a:lnTo>
                <a:lnTo>
                  <a:pt x="4927" y="2433"/>
                </a:lnTo>
                <a:lnTo>
                  <a:pt x="4950" y="2354"/>
                </a:lnTo>
                <a:lnTo>
                  <a:pt x="4970" y="2334"/>
                </a:lnTo>
                <a:lnTo>
                  <a:pt x="4975" y="2274"/>
                </a:lnTo>
                <a:lnTo>
                  <a:pt x="4867" y="2322"/>
                </a:lnTo>
                <a:lnTo>
                  <a:pt x="4850" y="2328"/>
                </a:lnTo>
                <a:lnTo>
                  <a:pt x="4805" y="2326"/>
                </a:lnTo>
                <a:lnTo>
                  <a:pt x="4777" y="2241"/>
                </a:lnTo>
                <a:lnTo>
                  <a:pt x="4728" y="2212"/>
                </a:lnTo>
                <a:lnTo>
                  <a:pt x="4712" y="2204"/>
                </a:lnTo>
                <a:lnTo>
                  <a:pt x="4636" y="2191"/>
                </a:lnTo>
                <a:lnTo>
                  <a:pt x="4636" y="2174"/>
                </a:lnTo>
                <a:lnTo>
                  <a:pt x="4621" y="2103"/>
                </a:lnTo>
                <a:lnTo>
                  <a:pt x="4584" y="2000"/>
                </a:lnTo>
                <a:lnTo>
                  <a:pt x="4550" y="1947"/>
                </a:lnTo>
                <a:lnTo>
                  <a:pt x="4496" y="1938"/>
                </a:lnTo>
                <a:lnTo>
                  <a:pt x="4457" y="1910"/>
                </a:lnTo>
                <a:lnTo>
                  <a:pt x="4362" y="1927"/>
                </a:lnTo>
                <a:lnTo>
                  <a:pt x="4332" y="1932"/>
                </a:lnTo>
                <a:lnTo>
                  <a:pt x="4291" y="1973"/>
                </a:lnTo>
                <a:lnTo>
                  <a:pt x="4291" y="1988"/>
                </a:lnTo>
                <a:lnTo>
                  <a:pt x="4319" y="1986"/>
                </a:lnTo>
                <a:lnTo>
                  <a:pt x="4324" y="2022"/>
                </a:lnTo>
                <a:lnTo>
                  <a:pt x="4288" y="2054"/>
                </a:lnTo>
                <a:lnTo>
                  <a:pt x="4254" y="2159"/>
                </a:lnTo>
                <a:lnTo>
                  <a:pt x="4191" y="2196"/>
                </a:lnTo>
                <a:lnTo>
                  <a:pt x="4121" y="2167"/>
                </a:lnTo>
                <a:lnTo>
                  <a:pt x="4092" y="2174"/>
                </a:lnTo>
                <a:lnTo>
                  <a:pt x="4039" y="2150"/>
                </a:lnTo>
                <a:lnTo>
                  <a:pt x="3966" y="2196"/>
                </a:lnTo>
                <a:lnTo>
                  <a:pt x="3868" y="2223"/>
                </a:lnTo>
                <a:lnTo>
                  <a:pt x="3770" y="2207"/>
                </a:lnTo>
                <a:lnTo>
                  <a:pt x="3736" y="2176"/>
                </a:lnTo>
                <a:lnTo>
                  <a:pt x="3626" y="2125"/>
                </a:lnTo>
                <a:lnTo>
                  <a:pt x="3602" y="2119"/>
                </a:lnTo>
                <a:lnTo>
                  <a:pt x="3532" y="2145"/>
                </a:lnTo>
                <a:lnTo>
                  <a:pt x="3505" y="2137"/>
                </a:lnTo>
                <a:lnTo>
                  <a:pt x="3468" y="2111"/>
                </a:lnTo>
                <a:lnTo>
                  <a:pt x="3456" y="2056"/>
                </a:lnTo>
                <a:lnTo>
                  <a:pt x="3332" y="2006"/>
                </a:lnTo>
                <a:lnTo>
                  <a:pt x="3270" y="2060"/>
                </a:lnTo>
                <a:lnTo>
                  <a:pt x="3281" y="2117"/>
                </a:lnTo>
                <a:lnTo>
                  <a:pt x="3273" y="2130"/>
                </a:lnTo>
                <a:lnTo>
                  <a:pt x="3275" y="2159"/>
                </a:lnTo>
                <a:lnTo>
                  <a:pt x="3267" y="2164"/>
                </a:lnTo>
                <a:lnTo>
                  <a:pt x="3131" y="2165"/>
                </a:lnTo>
                <a:lnTo>
                  <a:pt x="3102" y="2133"/>
                </a:lnTo>
                <a:lnTo>
                  <a:pt x="2990" y="2120"/>
                </a:lnTo>
                <a:lnTo>
                  <a:pt x="2830" y="2204"/>
                </a:lnTo>
                <a:lnTo>
                  <a:pt x="2806" y="2237"/>
                </a:lnTo>
                <a:lnTo>
                  <a:pt x="2789" y="2250"/>
                </a:lnTo>
                <a:lnTo>
                  <a:pt x="2769" y="2246"/>
                </a:lnTo>
                <a:lnTo>
                  <a:pt x="2775" y="2220"/>
                </a:lnTo>
                <a:lnTo>
                  <a:pt x="2750" y="2181"/>
                </a:lnTo>
                <a:lnTo>
                  <a:pt x="2732" y="2198"/>
                </a:lnTo>
                <a:lnTo>
                  <a:pt x="2686" y="2186"/>
                </a:lnTo>
                <a:lnTo>
                  <a:pt x="2607" y="2091"/>
                </a:lnTo>
                <a:lnTo>
                  <a:pt x="2565" y="2108"/>
                </a:lnTo>
                <a:lnTo>
                  <a:pt x="2511" y="2108"/>
                </a:lnTo>
                <a:lnTo>
                  <a:pt x="2501" y="2083"/>
                </a:lnTo>
                <a:lnTo>
                  <a:pt x="2479" y="2069"/>
                </a:lnTo>
                <a:lnTo>
                  <a:pt x="2449" y="2105"/>
                </a:lnTo>
                <a:lnTo>
                  <a:pt x="2349" y="1921"/>
                </a:lnTo>
                <a:lnTo>
                  <a:pt x="2285" y="1862"/>
                </a:lnTo>
                <a:lnTo>
                  <a:pt x="2282" y="1849"/>
                </a:lnTo>
                <a:lnTo>
                  <a:pt x="2298" y="1842"/>
                </a:lnTo>
                <a:lnTo>
                  <a:pt x="2294" y="1829"/>
                </a:lnTo>
                <a:lnTo>
                  <a:pt x="2240" y="1848"/>
                </a:lnTo>
                <a:lnTo>
                  <a:pt x="2188" y="1898"/>
                </a:lnTo>
                <a:lnTo>
                  <a:pt x="2141" y="1902"/>
                </a:lnTo>
                <a:lnTo>
                  <a:pt x="2135" y="1890"/>
                </a:lnTo>
                <a:lnTo>
                  <a:pt x="2154" y="1871"/>
                </a:lnTo>
                <a:lnTo>
                  <a:pt x="2152" y="1857"/>
                </a:lnTo>
                <a:lnTo>
                  <a:pt x="2137" y="1866"/>
                </a:lnTo>
                <a:lnTo>
                  <a:pt x="2107" y="1851"/>
                </a:lnTo>
                <a:lnTo>
                  <a:pt x="2099" y="1854"/>
                </a:lnTo>
                <a:lnTo>
                  <a:pt x="2107" y="1866"/>
                </a:lnTo>
                <a:lnTo>
                  <a:pt x="2093" y="1865"/>
                </a:lnTo>
                <a:lnTo>
                  <a:pt x="2095" y="1851"/>
                </a:lnTo>
                <a:lnTo>
                  <a:pt x="2079" y="1832"/>
                </a:lnTo>
                <a:lnTo>
                  <a:pt x="2078" y="1846"/>
                </a:lnTo>
                <a:lnTo>
                  <a:pt x="2037" y="1851"/>
                </a:lnTo>
                <a:lnTo>
                  <a:pt x="2030" y="1839"/>
                </a:lnTo>
                <a:lnTo>
                  <a:pt x="2042" y="1808"/>
                </a:lnTo>
                <a:lnTo>
                  <a:pt x="2032" y="1798"/>
                </a:lnTo>
                <a:lnTo>
                  <a:pt x="2027" y="1766"/>
                </a:lnTo>
                <a:lnTo>
                  <a:pt x="1937" y="1749"/>
                </a:lnTo>
                <a:lnTo>
                  <a:pt x="1903" y="1765"/>
                </a:lnTo>
                <a:lnTo>
                  <a:pt x="1900" y="1783"/>
                </a:lnTo>
                <a:lnTo>
                  <a:pt x="1771" y="1811"/>
                </a:lnTo>
                <a:lnTo>
                  <a:pt x="1744" y="1828"/>
                </a:lnTo>
                <a:lnTo>
                  <a:pt x="1708" y="1848"/>
                </a:lnTo>
                <a:lnTo>
                  <a:pt x="1691" y="1840"/>
                </a:lnTo>
                <a:lnTo>
                  <a:pt x="1640" y="1868"/>
                </a:lnTo>
                <a:lnTo>
                  <a:pt x="1566" y="1865"/>
                </a:lnTo>
                <a:lnTo>
                  <a:pt x="1576" y="1874"/>
                </a:lnTo>
                <a:lnTo>
                  <a:pt x="1570" y="1893"/>
                </a:lnTo>
                <a:lnTo>
                  <a:pt x="1593" y="1895"/>
                </a:lnTo>
                <a:lnTo>
                  <a:pt x="1576" y="1904"/>
                </a:lnTo>
                <a:lnTo>
                  <a:pt x="1580" y="1915"/>
                </a:lnTo>
                <a:lnTo>
                  <a:pt x="1623" y="1932"/>
                </a:lnTo>
                <a:lnTo>
                  <a:pt x="1573" y="1939"/>
                </a:lnTo>
                <a:lnTo>
                  <a:pt x="1555" y="1958"/>
                </a:lnTo>
                <a:lnTo>
                  <a:pt x="1570" y="1980"/>
                </a:lnTo>
                <a:lnTo>
                  <a:pt x="1566" y="1993"/>
                </a:lnTo>
                <a:lnTo>
                  <a:pt x="1524" y="2015"/>
                </a:lnTo>
                <a:lnTo>
                  <a:pt x="1539" y="2039"/>
                </a:lnTo>
                <a:lnTo>
                  <a:pt x="1570" y="2057"/>
                </a:lnTo>
                <a:lnTo>
                  <a:pt x="1595" y="2059"/>
                </a:lnTo>
                <a:lnTo>
                  <a:pt x="1598" y="2065"/>
                </a:lnTo>
                <a:lnTo>
                  <a:pt x="1587" y="2103"/>
                </a:lnTo>
                <a:lnTo>
                  <a:pt x="1567" y="2111"/>
                </a:lnTo>
                <a:lnTo>
                  <a:pt x="1526" y="2100"/>
                </a:lnTo>
                <a:lnTo>
                  <a:pt x="1497" y="2123"/>
                </a:lnTo>
                <a:lnTo>
                  <a:pt x="1468" y="2113"/>
                </a:lnTo>
                <a:lnTo>
                  <a:pt x="1441" y="2079"/>
                </a:lnTo>
                <a:lnTo>
                  <a:pt x="1417" y="2086"/>
                </a:lnTo>
                <a:lnTo>
                  <a:pt x="1405" y="2096"/>
                </a:lnTo>
                <a:lnTo>
                  <a:pt x="1372" y="2085"/>
                </a:lnTo>
                <a:lnTo>
                  <a:pt x="1324" y="2119"/>
                </a:lnTo>
                <a:lnTo>
                  <a:pt x="1284" y="2085"/>
                </a:lnTo>
                <a:lnTo>
                  <a:pt x="1273" y="2091"/>
                </a:lnTo>
                <a:lnTo>
                  <a:pt x="1277" y="2117"/>
                </a:lnTo>
                <a:lnTo>
                  <a:pt x="1270" y="2120"/>
                </a:lnTo>
                <a:lnTo>
                  <a:pt x="1255" y="2083"/>
                </a:lnTo>
                <a:lnTo>
                  <a:pt x="1224" y="2051"/>
                </a:lnTo>
                <a:lnTo>
                  <a:pt x="1179" y="2049"/>
                </a:lnTo>
                <a:lnTo>
                  <a:pt x="1168" y="2032"/>
                </a:lnTo>
                <a:lnTo>
                  <a:pt x="1150" y="2034"/>
                </a:lnTo>
                <a:lnTo>
                  <a:pt x="1140" y="2052"/>
                </a:lnTo>
                <a:lnTo>
                  <a:pt x="1117" y="2037"/>
                </a:lnTo>
                <a:lnTo>
                  <a:pt x="1092" y="2040"/>
                </a:lnTo>
                <a:lnTo>
                  <a:pt x="1070" y="2066"/>
                </a:lnTo>
                <a:lnTo>
                  <a:pt x="1035" y="2079"/>
                </a:lnTo>
                <a:lnTo>
                  <a:pt x="1029" y="2097"/>
                </a:lnTo>
                <a:lnTo>
                  <a:pt x="994" y="2114"/>
                </a:lnTo>
                <a:lnTo>
                  <a:pt x="1009" y="2161"/>
                </a:lnTo>
                <a:lnTo>
                  <a:pt x="986" y="2176"/>
                </a:lnTo>
                <a:lnTo>
                  <a:pt x="947" y="2123"/>
                </a:lnTo>
                <a:lnTo>
                  <a:pt x="938" y="2156"/>
                </a:lnTo>
                <a:lnTo>
                  <a:pt x="922" y="2167"/>
                </a:lnTo>
                <a:lnTo>
                  <a:pt x="914" y="2207"/>
                </a:lnTo>
                <a:lnTo>
                  <a:pt x="927" y="2221"/>
                </a:lnTo>
                <a:lnTo>
                  <a:pt x="911" y="2233"/>
                </a:lnTo>
                <a:lnTo>
                  <a:pt x="901" y="2271"/>
                </a:lnTo>
                <a:lnTo>
                  <a:pt x="925" y="2280"/>
                </a:lnTo>
                <a:lnTo>
                  <a:pt x="939" y="2320"/>
                </a:lnTo>
                <a:lnTo>
                  <a:pt x="973" y="2313"/>
                </a:lnTo>
                <a:lnTo>
                  <a:pt x="994" y="2339"/>
                </a:lnTo>
                <a:lnTo>
                  <a:pt x="1001" y="2385"/>
                </a:lnTo>
                <a:lnTo>
                  <a:pt x="977" y="2385"/>
                </a:lnTo>
                <a:lnTo>
                  <a:pt x="970" y="2397"/>
                </a:lnTo>
                <a:lnTo>
                  <a:pt x="1004" y="2418"/>
                </a:lnTo>
                <a:lnTo>
                  <a:pt x="987" y="2445"/>
                </a:lnTo>
                <a:lnTo>
                  <a:pt x="972" y="2447"/>
                </a:lnTo>
                <a:lnTo>
                  <a:pt x="964" y="2419"/>
                </a:lnTo>
                <a:lnTo>
                  <a:pt x="945" y="2414"/>
                </a:lnTo>
                <a:lnTo>
                  <a:pt x="953" y="2428"/>
                </a:lnTo>
                <a:lnTo>
                  <a:pt x="950" y="2455"/>
                </a:lnTo>
                <a:lnTo>
                  <a:pt x="944" y="2453"/>
                </a:lnTo>
                <a:lnTo>
                  <a:pt x="938" y="2484"/>
                </a:lnTo>
                <a:lnTo>
                  <a:pt x="910" y="2532"/>
                </a:lnTo>
                <a:lnTo>
                  <a:pt x="945" y="2589"/>
                </a:lnTo>
                <a:lnTo>
                  <a:pt x="952" y="2572"/>
                </a:lnTo>
                <a:lnTo>
                  <a:pt x="948" y="2623"/>
                </a:lnTo>
                <a:lnTo>
                  <a:pt x="989" y="2701"/>
                </a:lnTo>
                <a:lnTo>
                  <a:pt x="955" y="2736"/>
                </a:lnTo>
                <a:lnTo>
                  <a:pt x="935" y="2735"/>
                </a:lnTo>
                <a:lnTo>
                  <a:pt x="928" y="2714"/>
                </a:lnTo>
                <a:lnTo>
                  <a:pt x="894" y="2696"/>
                </a:lnTo>
                <a:lnTo>
                  <a:pt x="862" y="2676"/>
                </a:lnTo>
                <a:lnTo>
                  <a:pt x="862" y="2657"/>
                </a:lnTo>
                <a:lnTo>
                  <a:pt x="840" y="2645"/>
                </a:lnTo>
                <a:lnTo>
                  <a:pt x="783" y="2651"/>
                </a:lnTo>
                <a:lnTo>
                  <a:pt x="733" y="2614"/>
                </a:lnTo>
                <a:lnTo>
                  <a:pt x="678" y="2611"/>
                </a:lnTo>
                <a:lnTo>
                  <a:pt x="628" y="2591"/>
                </a:lnTo>
                <a:lnTo>
                  <a:pt x="594" y="2596"/>
                </a:lnTo>
                <a:lnTo>
                  <a:pt x="546" y="2554"/>
                </a:lnTo>
                <a:lnTo>
                  <a:pt x="481" y="2523"/>
                </a:lnTo>
                <a:lnTo>
                  <a:pt x="447" y="2489"/>
                </a:lnTo>
                <a:lnTo>
                  <a:pt x="458" y="2478"/>
                </a:lnTo>
                <a:lnTo>
                  <a:pt x="483" y="2478"/>
                </a:lnTo>
                <a:lnTo>
                  <a:pt x="508" y="2436"/>
                </a:lnTo>
                <a:lnTo>
                  <a:pt x="534" y="2431"/>
                </a:lnTo>
                <a:lnTo>
                  <a:pt x="500" y="2401"/>
                </a:lnTo>
                <a:lnTo>
                  <a:pt x="501" y="2393"/>
                </a:lnTo>
                <a:lnTo>
                  <a:pt x="535" y="2391"/>
                </a:lnTo>
                <a:lnTo>
                  <a:pt x="529" y="2380"/>
                </a:lnTo>
                <a:lnTo>
                  <a:pt x="572" y="2365"/>
                </a:lnTo>
                <a:lnTo>
                  <a:pt x="563" y="2354"/>
                </a:lnTo>
                <a:lnTo>
                  <a:pt x="520" y="2359"/>
                </a:lnTo>
                <a:lnTo>
                  <a:pt x="518" y="2339"/>
                </a:lnTo>
                <a:lnTo>
                  <a:pt x="551" y="2306"/>
                </a:lnTo>
                <a:lnTo>
                  <a:pt x="588" y="2311"/>
                </a:lnTo>
                <a:lnTo>
                  <a:pt x="596" y="2280"/>
                </a:lnTo>
                <a:lnTo>
                  <a:pt x="593" y="2264"/>
                </a:lnTo>
                <a:lnTo>
                  <a:pt x="586" y="2250"/>
                </a:lnTo>
                <a:lnTo>
                  <a:pt x="602" y="2240"/>
                </a:lnTo>
                <a:lnTo>
                  <a:pt x="588" y="2229"/>
                </a:lnTo>
                <a:lnTo>
                  <a:pt x="608" y="2212"/>
                </a:lnTo>
                <a:lnTo>
                  <a:pt x="601" y="2193"/>
                </a:lnTo>
                <a:lnTo>
                  <a:pt x="608" y="2190"/>
                </a:lnTo>
                <a:lnTo>
                  <a:pt x="525" y="2154"/>
                </a:lnTo>
                <a:lnTo>
                  <a:pt x="508" y="2161"/>
                </a:lnTo>
                <a:lnTo>
                  <a:pt x="479" y="2123"/>
                </a:lnTo>
                <a:lnTo>
                  <a:pt x="446" y="2137"/>
                </a:lnTo>
                <a:lnTo>
                  <a:pt x="398" y="2125"/>
                </a:lnTo>
                <a:lnTo>
                  <a:pt x="374" y="2069"/>
                </a:lnTo>
                <a:lnTo>
                  <a:pt x="336" y="2060"/>
                </a:lnTo>
                <a:lnTo>
                  <a:pt x="328" y="2035"/>
                </a:lnTo>
                <a:lnTo>
                  <a:pt x="342" y="2023"/>
                </a:lnTo>
                <a:lnTo>
                  <a:pt x="313" y="1986"/>
                </a:lnTo>
                <a:lnTo>
                  <a:pt x="223" y="2003"/>
                </a:lnTo>
                <a:lnTo>
                  <a:pt x="198" y="1927"/>
                </a:lnTo>
                <a:lnTo>
                  <a:pt x="212" y="1915"/>
                </a:lnTo>
                <a:lnTo>
                  <a:pt x="242" y="1925"/>
                </a:lnTo>
                <a:lnTo>
                  <a:pt x="268" y="1904"/>
                </a:lnTo>
                <a:lnTo>
                  <a:pt x="268" y="1891"/>
                </a:lnTo>
                <a:lnTo>
                  <a:pt x="246" y="1873"/>
                </a:lnTo>
                <a:lnTo>
                  <a:pt x="225" y="1876"/>
                </a:lnTo>
                <a:lnTo>
                  <a:pt x="221" y="1856"/>
                </a:lnTo>
                <a:lnTo>
                  <a:pt x="180" y="1797"/>
                </a:lnTo>
                <a:lnTo>
                  <a:pt x="187" y="1766"/>
                </a:lnTo>
                <a:lnTo>
                  <a:pt x="183" y="1732"/>
                </a:lnTo>
                <a:lnTo>
                  <a:pt x="158" y="1710"/>
                </a:lnTo>
                <a:lnTo>
                  <a:pt x="113" y="1723"/>
                </a:lnTo>
                <a:lnTo>
                  <a:pt x="115" y="1707"/>
                </a:lnTo>
                <a:lnTo>
                  <a:pt x="105" y="1698"/>
                </a:lnTo>
                <a:lnTo>
                  <a:pt x="59" y="1687"/>
                </a:lnTo>
                <a:lnTo>
                  <a:pt x="56" y="1653"/>
                </a:lnTo>
                <a:lnTo>
                  <a:pt x="32" y="1622"/>
                </a:lnTo>
                <a:lnTo>
                  <a:pt x="39" y="1590"/>
                </a:lnTo>
                <a:lnTo>
                  <a:pt x="20" y="1568"/>
                </a:lnTo>
                <a:lnTo>
                  <a:pt x="36" y="1541"/>
                </a:lnTo>
                <a:lnTo>
                  <a:pt x="0" y="1452"/>
                </a:lnTo>
                <a:lnTo>
                  <a:pt x="39" y="1438"/>
                </a:lnTo>
                <a:lnTo>
                  <a:pt x="57" y="1409"/>
                </a:lnTo>
                <a:lnTo>
                  <a:pt x="45" y="1396"/>
                </a:lnTo>
                <a:lnTo>
                  <a:pt x="47" y="1379"/>
                </a:lnTo>
                <a:lnTo>
                  <a:pt x="150" y="1362"/>
                </a:lnTo>
                <a:lnTo>
                  <a:pt x="130" y="1342"/>
                </a:lnTo>
                <a:lnTo>
                  <a:pt x="71" y="1326"/>
                </a:lnTo>
                <a:lnTo>
                  <a:pt x="68" y="1306"/>
                </a:lnTo>
                <a:lnTo>
                  <a:pt x="74" y="1314"/>
                </a:lnTo>
                <a:lnTo>
                  <a:pt x="76" y="1289"/>
                </a:lnTo>
                <a:lnTo>
                  <a:pt x="31" y="1304"/>
                </a:lnTo>
                <a:lnTo>
                  <a:pt x="135" y="1204"/>
                </a:lnTo>
                <a:lnTo>
                  <a:pt x="203" y="1098"/>
                </a:lnTo>
                <a:lnTo>
                  <a:pt x="204" y="1065"/>
                </a:lnTo>
                <a:lnTo>
                  <a:pt x="150" y="996"/>
                </a:lnTo>
                <a:lnTo>
                  <a:pt x="167" y="938"/>
                </a:lnTo>
                <a:lnTo>
                  <a:pt x="147" y="912"/>
                </a:lnTo>
                <a:lnTo>
                  <a:pt x="142" y="881"/>
                </a:lnTo>
                <a:lnTo>
                  <a:pt x="129" y="876"/>
                </a:lnTo>
                <a:lnTo>
                  <a:pt x="129" y="827"/>
                </a:lnTo>
                <a:lnTo>
                  <a:pt x="146" y="771"/>
                </a:lnTo>
                <a:lnTo>
                  <a:pt x="104" y="641"/>
                </a:lnTo>
                <a:lnTo>
                  <a:pt x="141" y="562"/>
                </a:lnTo>
                <a:lnTo>
                  <a:pt x="137" y="544"/>
                </a:lnTo>
                <a:lnTo>
                  <a:pt x="113" y="500"/>
                </a:lnTo>
                <a:lnTo>
                  <a:pt x="81" y="486"/>
                </a:lnTo>
                <a:lnTo>
                  <a:pt x="71" y="435"/>
                </a:lnTo>
                <a:lnTo>
                  <a:pt x="96" y="380"/>
                </a:lnTo>
                <a:lnTo>
                  <a:pt x="110" y="355"/>
                </a:lnTo>
                <a:lnTo>
                  <a:pt x="144" y="333"/>
                </a:lnTo>
                <a:lnTo>
                  <a:pt x="149" y="307"/>
                </a:lnTo>
                <a:lnTo>
                  <a:pt x="178" y="316"/>
                </a:lnTo>
                <a:lnTo>
                  <a:pt x="181" y="288"/>
                </a:lnTo>
                <a:lnTo>
                  <a:pt x="217" y="305"/>
                </a:lnTo>
                <a:lnTo>
                  <a:pt x="230" y="287"/>
                </a:lnTo>
                <a:lnTo>
                  <a:pt x="226" y="267"/>
                </a:lnTo>
                <a:lnTo>
                  <a:pt x="280" y="293"/>
                </a:lnTo>
                <a:lnTo>
                  <a:pt x="272" y="313"/>
                </a:lnTo>
                <a:lnTo>
                  <a:pt x="238" y="293"/>
                </a:lnTo>
                <a:lnTo>
                  <a:pt x="234" y="318"/>
                </a:lnTo>
                <a:lnTo>
                  <a:pt x="276" y="333"/>
                </a:lnTo>
                <a:lnTo>
                  <a:pt x="272" y="349"/>
                </a:lnTo>
                <a:lnTo>
                  <a:pt x="410" y="366"/>
                </a:lnTo>
                <a:lnTo>
                  <a:pt x="648" y="559"/>
                </a:lnTo>
                <a:lnTo>
                  <a:pt x="655" y="609"/>
                </a:lnTo>
                <a:lnTo>
                  <a:pt x="665" y="615"/>
                </a:lnTo>
                <a:lnTo>
                  <a:pt x="655" y="655"/>
                </a:lnTo>
                <a:lnTo>
                  <a:pt x="605" y="717"/>
                </a:lnTo>
                <a:lnTo>
                  <a:pt x="546" y="740"/>
                </a:lnTo>
                <a:lnTo>
                  <a:pt x="347" y="686"/>
                </a:lnTo>
                <a:lnTo>
                  <a:pt x="342" y="666"/>
                </a:lnTo>
                <a:lnTo>
                  <a:pt x="303" y="664"/>
                </a:lnTo>
                <a:lnTo>
                  <a:pt x="254" y="617"/>
                </a:lnTo>
                <a:lnTo>
                  <a:pt x="246" y="630"/>
                </a:lnTo>
                <a:lnTo>
                  <a:pt x="262" y="671"/>
                </a:lnTo>
                <a:lnTo>
                  <a:pt x="361" y="762"/>
                </a:lnTo>
                <a:lnTo>
                  <a:pt x="357" y="813"/>
                </a:lnTo>
                <a:lnTo>
                  <a:pt x="342" y="824"/>
                </a:lnTo>
                <a:lnTo>
                  <a:pt x="365" y="875"/>
                </a:lnTo>
                <a:lnTo>
                  <a:pt x="367" y="913"/>
                </a:lnTo>
                <a:lnTo>
                  <a:pt x="491" y="991"/>
                </a:lnTo>
                <a:lnTo>
                  <a:pt x="521" y="979"/>
                </a:lnTo>
                <a:lnTo>
                  <a:pt x="504" y="920"/>
                </a:lnTo>
                <a:lnTo>
                  <a:pt x="479" y="930"/>
                </a:lnTo>
                <a:lnTo>
                  <a:pt x="449" y="893"/>
                </a:lnTo>
                <a:lnTo>
                  <a:pt x="441" y="872"/>
                </a:lnTo>
                <a:lnTo>
                  <a:pt x="461" y="842"/>
                </a:lnTo>
                <a:lnTo>
                  <a:pt x="644" y="918"/>
                </a:lnTo>
                <a:lnTo>
                  <a:pt x="597" y="825"/>
                </a:lnTo>
                <a:lnTo>
                  <a:pt x="594" y="791"/>
                </a:lnTo>
                <a:lnTo>
                  <a:pt x="669" y="742"/>
                </a:lnTo>
                <a:lnTo>
                  <a:pt x="707" y="689"/>
                </a:lnTo>
                <a:lnTo>
                  <a:pt x="767" y="720"/>
                </a:lnTo>
                <a:lnTo>
                  <a:pt x="760" y="743"/>
                </a:lnTo>
                <a:lnTo>
                  <a:pt x="777" y="732"/>
                </a:lnTo>
                <a:lnTo>
                  <a:pt x="794" y="762"/>
                </a:lnTo>
                <a:lnTo>
                  <a:pt x="792" y="718"/>
                </a:lnTo>
                <a:lnTo>
                  <a:pt x="811" y="639"/>
                </a:lnTo>
                <a:lnTo>
                  <a:pt x="778" y="598"/>
                </a:lnTo>
                <a:lnTo>
                  <a:pt x="792" y="544"/>
                </a:lnTo>
                <a:lnTo>
                  <a:pt x="794" y="473"/>
                </a:lnTo>
                <a:lnTo>
                  <a:pt x="752" y="431"/>
                </a:lnTo>
                <a:lnTo>
                  <a:pt x="865" y="456"/>
                </a:lnTo>
                <a:lnTo>
                  <a:pt x="897" y="491"/>
                </a:lnTo>
                <a:lnTo>
                  <a:pt x="910" y="536"/>
                </a:lnTo>
                <a:lnTo>
                  <a:pt x="831" y="571"/>
                </a:lnTo>
                <a:lnTo>
                  <a:pt x="877" y="650"/>
                </a:lnTo>
                <a:lnTo>
                  <a:pt x="902" y="650"/>
                </a:lnTo>
                <a:lnTo>
                  <a:pt x="908" y="674"/>
                </a:lnTo>
                <a:lnTo>
                  <a:pt x="958" y="634"/>
                </a:lnTo>
                <a:lnTo>
                  <a:pt x="972" y="564"/>
                </a:lnTo>
                <a:lnTo>
                  <a:pt x="1137" y="456"/>
                </a:lnTo>
                <a:lnTo>
                  <a:pt x="1176" y="469"/>
                </a:lnTo>
                <a:lnTo>
                  <a:pt x="1184" y="448"/>
                </a:lnTo>
                <a:lnTo>
                  <a:pt x="1173" y="443"/>
                </a:lnTo>
                <a:lnTo>
                  <a:pt x="1193" y="420"/>
                </a:lnTo>
                <a:lnTo>
                  <a:pt x="1214" y="435"/>
                </a:lnTo>
                <a:lnTo>
                  <a:pt x="1211" y="417"/>
                </a:lnTo>
                <a:lnTo>
                  <a:pt x="1219" y="403"/>
                </a:lnTo>
                <a:lnTo>
                  <a:pt x="1270" y="390"/>
                </a:lnTo>
                <a:lnTo>
                  <a:pt x="1250" y="415"/>
                </a:lnTo>
                <a:lnTo>
                  <a:pt x="1241" y="441"/>
                </a:lnTo>
                <a:lnTo>
                  <a:pt x="1247" y="474"/>
                </a:lnTo>
                <a:lnTo>
                  <a:pt x="1256" y="488"/>
                </a:lnTo>
                <a:lnTo>
                  <a:pt x="1287" y="495"/>
                </a:lnTo>
                <a:lnTo>
                  <a:pt x="1293" y="461"/>
                </a:lnTo>
                <a:lnTo>
                  <a:pt x="1314" y="446"/>
                </a:lnTo>
                <a:lnTo>
                  <a:pt x="1402" y="448"/>
                </a:lnTo>
                <a:lnTo>
                  <a:pt x="1439" y="401"/>
                </a:lnTo>
                <a:lnTo>
                  <a:pt x="1482" y="390"/>
                </a:lnTo>
                <a:lnTo>
                  <a:pt x="1499" y="424"/>
                </a:lnTo>
                <a:lnTo>
                  <a:pt x="1484" y="457"/>
                </a:lnTo>
                <a:lnTo>
                  <a:pt x="1504" y="473"/>
                </a:lnTo>
                <a:lnTo>
                  <a:pt x="1522" y="454"/>
                </a:lnTo>
                <a:lnTo>
                  <a:pt x="1519" y="427"/>
                </a:lnTo>
                <a:lnTo>
                  <a:pt x="1563" y="401"/>
                </a:lnTo>
                <a:lnTo>
                  <a:pt x="1563" y="376"/>
                </a:lnTo>
                <a:lnTo>
                  <a:pt x="1539" y="307"/>
                </a:lnTo>
                <a:lnTo>
                  <a:pt x="1561" y="282"/>
                </a:lnTo>
                <a:lnTo>
                  <a:pt x="1714" y="321"/>
                </a:lnTo>
                <a:lnTo>
                  <a:pt x="1849" y="414"/>
                </a:lnTo>
                <a:lnTo>
                  <a:pt x="1905" y="486"/>
                </a:lnTo>
                <a:lnTo>
                  <a:pt x="1944" y="407"/>
                </a:lnTo>
                <a:lnTo>
                  <a:pt x="1915" y="390"/>
                </a:lnTo>
                <a:lnTo>
                  <a:pt x="1898" y="322"/>
                </a:lnTo>
                <a:lnTo>
                  <a:pt x="1841" y="307"/>
                </a:lnTo>
                <a:lnTo>
                  <a:pt x="1842" y="251"/>
                </a:lnTo>
                <a:lnTo>
                  <a:pt x="1861" y="246"/>
                </a:lnTo>
                <a:lnTo>
                  <a:pt x="1855" y="217"/>
                </a:lnTo>
                <a:lnTo>
                  <a:pt x="1866" y="160"/>
                </a:lnTo>
                <a:lnTo>
                  <a:pt x="1824" y="146"/>
                </a:lnTo>
                <a:lnTo>
                  <a:pt x="1847" y="112"/>
                </a:lnTo>
                <a:lnTo>
                  <a:pt x="1832" y="112"/>
                </a:lnTo>
                <a:lnTo>
                  <a:pt x="1838" y="81"/>
                </a:lnTo>
                <a:lnTo>
                  <a:pt x="1910" y="4"/>
                </a:lnTo>
                <a:lnTo>
                  <a:pt x="1911" y="0"/>
                </a:lnTo>
                <a:close/>
                <a:moveTo>
                  <a:pt x="5869" y="2244"/>
                </a:moveTo>
                <a:lnTo>
                  <a:pt x="5865" y="2254"/>
                </a:lnTo>
                <a:lnTo>
                  <a:pt x="5869" y="2250"/>
                </a:lnTo>
                <a:lnTo>
                  <a:pt x="5869" y="2244"/>
                </a:lnTo>
                <a:close/>
                <a:moveTo>
                  <a:pt x="5897" y="2191"/>
                </a:moveTo>
                <a:lnTo>
                  <a:pt x="5886" y="2215"/>
                </a:lnTo>
                <a:lnTo>
                  <a:pt x="5893" y="2212"/>
                </a:lnTo>
                <a:lnTo>
                  <a:pt x="5897" y="2191"/>
                </a:lnTo>
                <a:close/>
                <a:moveTo>
                  <a:pt x="5956" y="2114"/>
                </a:moveTo>
                <a:lnTo>
                  <a:pt x="5940" y="2136"/>
                </a:lnTo>
                <a:lnTo>
                  <a:pt x="5922" y="2145"/>
                </a:lnTo>
                <a:lnTo>
                  <a:pt x="5919" y="2162"/>
                </a:lnTo>
                <a:lnTo>
                  <a:pt x="5953" y="2142"/>
                </a:lnTo>
                <a:lnTo>
                  <a:pt x="5961" y="2128"/>
                </a:lnTo>
                <a:lnTo>
                  <a:pt x="5956" y="2114"/>
                </a:lnTo>
                <a:close/>
                <a:moveTo>
                  <a:pt x="5976" y="2106"/>
                </a:moveTo>
                <a:lnTo>
                  <a:pt x="5964" y="2120"/>
                </a:lnTo>
                <a:lnTo>
                  <a:pt x="5976" y="2106"/>
                </a:lnTo>
                <a:close/>
                <a:moveTo>
                  <a:pt x="6472" y="1798"/>
                </a:moveTo>
                <a:lnTo>
                  <a:pt x="6499" y="1825"/>
                </a:lnTo>
                <a:lnTo>
                  <a:pt x="6479" y="1814"/>
                </a:lnTo>
                <a:lnTo>
                  <a:pt x="6472" y="1798"/>
                </a:lnTo>
                <a:close/>
                <a:moveTo>
                  <a:pt x="6411" y="1763"/>
                </a:moveTo>
                <a:lnTo>
                  <a:pt x="6422" y="1765"/>
                </a:lnTo>
                <a:lnTo>
                  <a:pt x="6425" y="1785"/>
                </a:lnTo>
                <a:lnTo>
                  <a:pt x="6440" y="1812"/>
                </a:lnTo>
                <a:lnTo>
                  <a:pt x="6422" y="1800"/>
                </a:lnTo>
                <a:lnTo>
                  <a:pt x="6405" y="1766"/>
                </a:lnTo>
                <a:lnTo>
                  <a:pt x="6411" y="1763"/>
                </a:lnTo>
                <a:close/>
                <a:moveTo>
                  <a:pt x="5091" y="1802"/>
                </a:moveTo>
                <a:lnTo>
                  <a:pt x="5088" y="1811"/>
                </a:lnTo>
                <a:lnTo>
                  <a:pt x="5097" y="1808"/>
                </a:lnTo>
                <a:lnTo>
                  <a:pt x="5109" y="1819"/>
                </a:lnTo>
                <a:lnTo>
                  <a:pt x="5114" y="1814"/>
                </a:lnTo>
                <a:lnTo>
                  <a:pt x="5130" y="1786"/>
                </a:lnTo>
                <a:lnTo>
                  <a:pt x="5125" y="1782"/>
                </a:lnTo>
                <a:lnTo>
                  <a:pt x="5111" y="1771"/>
                </a:lnTo>
                <a:lnTo>
                  <a:pt x="5104" y="1774"/>
                </a:lnTo>
                <a:lnTo>
                  <a:pt x="5091" y="1802"/>
                </a:lnTo>
                <a:close/>
                <a:moveTo>
                  <a:pt x="5334" y="1840"/>
                </a:moveTo>
                <a:lnTo>
                  <a:pt x="5343" y="1840"/>
                </a:lnTo>
                <a:lnTo>
                  <a:pt x="5350" y="1856"/>
                </a:lnTo>
                <a:lnTo>
                  <a:pt x="5351" y="1888"/>
                </a:lnTo>
                <a:lnTo>
                  <a:pt x="5368" y="1959"/>
                </a:lnTo>
                <a:lnTo>
                  <a:pt x="5366" y="1995"/>
                </a:lnTo>
                <a:lnTo>
                  <a:pt x="5360" y="2000"/>
                </a:lnTo>
                <a:lnTo>
                  <a:pt x="5365" y="2054"/>
                </a:lnTo>
                <a:lnTo>
                  <a:pt x="5374" y="2066"/>
                </a:lnTo>
                <a:lnTo>
                  <a:pt x="5385" y="2110"/>
                </a:lnTo>
                <a:lnTo>
                  <a:pt x="5399" y="2161"/>
                </a:lnTo>
                <a:lnTo>
                  <a:pt x="5413" y="2212"/>
                </a:lnTo>
                <a:lnTo>
                  <a:pt x="5434" y="2255"/>
                </a:lnTo>
                <a:lnTo>
                  <a:pt x="5416" y="2229"/>
                </a:lnTo>
                <a:lnTo>
                  <a:pt x="5391" y="2215"/>
                </a:lnTo>
                <a:lnTo>
                  <a:pt x="5368" y="2213"/>
                </a:lnTo>
                <a:lnTo>
                  <a:pt x="5359" y="2221"/>
                </a:lnTo>
                <a:lnTo>
                  <a:pt x="5337" y="2300"/>
                </a:lnTo>
                <a:lnTo>
                  <a:pt x="5336" y="2330"/>
                </a:lnTo>
                <a:lnTo>
                  <a:pt x="5356" y="2360"/>
                </a:lnTo>
                <a:lnTo>
                  <a:pt x="5362" y="2379"/>
                </a:lnTo>
                <a:lnTo>
                  <a:pt x="5379" y="2391"/>
                </a:lnTo>
                <a:lnTo>
                  <a:pt x="5382" y="2427"/>
                </a:lnTo>
                <a:lnTo>
                  <a:pt x="5377" y="2436"/>
                </a:lnTo>
                <a:lnTo>
                  <a:pt x="5370" y="2405"/>
                </a:lnTo>
                <a:lnTo>
                  <a:pt x="5337" y="2394"/>
                </a:lnTo>
                <a:lnTo>
                  <a:pt x="5329" y="2402"/>
                </a:lnTo>
                <a:lnTo>
                  <a:pt x="5317" y="2444"/>
                </a:lnTo>
                <a:lnTo>
                  <a:pt x="5308" y="2438"/>
                </a:lnTo>
                <a:lnTo>
                  <a:pt x="5303" y="2396"/>
                </a:lnTo>
                <a:lnTo>
                  <a:pt x="5312" y="2313"/>
                </a:lnTo>
                <a:lnTo>
                  <a:pt x="5317" y="2303"/>
                </a:lnTo>
                <a:lnTo>
                  <a:pt x="5306" y="2257"/>
                </a:lnTo>
                <a:lnTo>
                  <a:pt x="5317" y="2167"/>
                </a:lnTo>
                <a:lnTo>
                  <a:pt x="5312" y="2114"/>
                </a:lnTo>
                <a:lnTo>
                  <a:pt x="5316" y="2076"/>
                </a:lnTo>
                <a:lnTo>
                  <a:pt x="5309" y="2057"/>
                </a:lnTo>
                <a:lnTo>
                  <a:pt x="5295" y="2042"/>
                </a:lnTo>
                <a:lnTo>
                  <a:pt x="5291" y="1997"/>
                </a:lnTo>
                <a:lnTo>
                  <a:pt x="5299" y="1972"/>
                </a:lnTo>
                <a:lnTo>
                  <a:pt x="5299" y="1919"/>
                </a:lnTo>
                <a:lnTo>
                  <a:pt x="5302" y="1908"/>
                </a:lnTo>
                <a:lnTo>
                  <a:pt x="5333" y="1910"/>
                </a:lnTo>
                <a:lnTo>
                  <a:pt x="5334" y="1893"/>
                </a:lnTo>
                <a:lnTo>
                  <a:pt x="5342" y="1891"/>
                </a:lnTo>
                <a:lnTo>
                  <a:pt x="5323" y="1846"/>
                </a:lnTo>
                <a:lnTo>
                  <a:pt x="5334" y="1840"/>
                </a:lnTo>
                <a:close/>
                <a:moveTo>
                  <a:pt x="5498" y="2541"/>
                </a:moveTo>
                <a:lnTo>
                  <a:pt x="5509" y="2552"/>
                </a:lnTo>
                <a:lnTo>
                  <a:pt x="5472" y="2591"/>
                </a:lnTo>
                <a:lnTo>
                  <a:pt x="5468" y="2582"/>
                </a:lnTo>
                <a:lnTo>
                  <a:pt x="5498" y="2541"/>
                </a:lnTo>
                <a:close/>
                <a:moveTo>
                  <a:pt x="5532" y="2579"/>
                </a:moveTo>
                <a:lnTo>
                  <a:pt x="5535" y="2580"/>
                </a:lnTo>
                <a:lnTo>
                  <a:pt x="5532" y="2583"/>
                </a:lnTo>
                <a:lnTo>
                  <a:pt x="5521" y="2586"/>
                </a:lnTo>
                <a:lnTo>
                  <a:pt x="5532" y="2579"/>
                </a:lnTo>
                <a:close/>
                <a:moveTo>
                  <a:pt x="5625" y="2481"/>
                </a:moveTo>
                <a:lnTo>
                  <a:pt x="5578" y="2509"/>
                </a:lnTo>
                <a:lnTo>
                  <a:pt x="5546" y="2541"/>
                </a:lnTo>
                <a:lnTo>
                  <a:pt x="5540" y="2541"/>
                </a:lnTo>
                <a:lnTo>
                  <a:pt x="5549" y="2521"/>
                </a:lnTo>
                <a:lnTo>
                  <a:pt x="5580" y="2487"/>
                </a:lnTo>
                <a:lnTo>
                  <a:pt x="5597" y="2489"/>
                </a:lnTo>
                <a:lnTo>
                  <a:pt x="5622" y="2472"/>
                </a:lnTo>
                <a:lnTo>
                  <a:pt x="5625" y="2481"/>
                </a:lnTo>
                <a:close/>
                <a:moveTo>
                  <a:pt x="6337" y="1435"/>
                </a:moveTo>
                <a:lnTo>
                  <a:pt x="6303" y="1453"/>
                </a:lnTo>
                <a:lnTo>
                  <a:pt x="6291" y="1498"/>
                </a:lnTo>
                <a:lnTo>
                  <a:pt x="6299" y="1498"/>
                </a:lnTo>
                <a:lnTo>
                  <a:pt x="6349" y="1455"/>
                </a:lnTo>
                <a:lnTo>
                  <a:pt x="6344" y="1433"/>
                </a:lnTo>
                <a:lnTo>
                  <a:pt x="6337" y="1435"/>
                </a:lnTo>
                <a:close/>
                <a:moveTo>
                  <a:pt x="5122" y="43"/>
                </a:moveTo>
                <a:lnTo>
                  <a:pt x="5150" y="24"/>
                </a:lnTo>
                <a:lnTo>
                  <a:pt x="5165" y="48"/>
                </a:lnTo>
                <a:lnTo>
                  <a:pt x="5147" y="70"/>
                </a:lnTo>
                <a:lnTo>
                  <a:pt x="5125" y="72"/>
                </a:lnTo>
                <a:lnTo>
                  <a:pt x="5116" y="69"/>
                </a:lnTo>
                <a:lnTo>
                  <a:pt x="5122" y="43"/>
                </a:lnTo>
                <a:close/>
                <a:moveTo>
                  <a:pt x="1468" y="262"/>
                </a:moveTo>
                <a:lnTo>
                  <a:pt x="1456" y="228"/>
                </a:lnTo>
                <a:lnTo>
                  <a:pt x="1471" y="229"/>
                </a:lnTo>
                <a:lnTo>
                  <a:pt x="1459" y="219"/>
                </a:lnTo>
                <a:lnTo>
                  <a:pt x="1478" y="197"/>
                </a:lnTo>
                <a:lnTo>
                  <a:pt x="1549" y="288"/>
                </a:lnTo>
                <a:lnTo>
                  <a:pt x="1543" y="301"/>
                </a:lnTo>
                <a:lnTo>
                  <a:pt x="1518" y="301"/>
                </a:lnTo>
                <a:lnTo>
                  <a:pt x="1478" y="268"/>
                </a:lnTo>
                <a:lnTo>
                  <a:pt x="1487" y="292"/>
                </a:lnTo>
                <a:lnTo>
                  <a:pt x="1468" y="262"/>
                </a:lnTo>
                <a:close/>
                <a:moveTo>
                  <a:pt x="1168" y="76"/>
                </a:moveTo>
                <a:lnTo>
                  <a:pt x="1199" y="75"/>
                </a:lnTo>
                <a:lnTo>
                  <a:pt x="1209" y="92"/>
                </a:lnTo>
                <a:lnTo>
                  <a:pt x="1209" y="132"/>
                </a:lnTo>
                <a:lnTo>
                  <a:pt x="1188" y="89"/>
                </a:lnTo>
                <a:lnTo>
                  <a:pt x="1168" y="76"/>
                </a:lnTo>
                <a:close/>
                <a:moveTo>
                  <a:pt x="1132" y="0"/>
                </a:moveTo>
                <a:lnTo>
                  <a:pt x="1316" y="0"/>
                </a:lnTo>
                <a:lnTo>
                  <a:pt x="1323" y="39"/>
                </a:lnTo>
                <a:lnTo>
                  <a:pt x="1344" y="92"/>
                </a:lnTo>
                <a:lnTo>
                  <a:pt x="1414" y="158"/>
                </a:lnTo>
                <a:lnTo>
                  <a:pt x="1399" y="178"/>
                </a:lnTo>
                <a:lnTo>
                  <a:pt x="1391" y="189"/>
                </a:lnTo>
                <a:lnTo>
                  <a:pt x="1366" y="166"/>
                </a:lnTo>
                <a:lnTo>
                  <a:pt x="1369" y="157"/>
                </a:lnTo>
                <a:lnTo>
                  <a:pt x="1349" y="165"/>
                </a:lnTo>
                <a:lnTo>
                  <a:pt x="1361" y="178"/>
                </a:lnTo>
                <a:lnTo>
                  <a:pt x="1314" y="161"/>
                </a:lnTo>
                <a:lnTo>
                  <a:pt x="1301" y="180"/>
                </a:lnTo>
                <a:lnTo>
                  <a:pt x="1280" y="158"/>
                </a:lnTo>
                <a:lnTo>
                  <a:pt x="1236" y="149"/>
                </a:lnTo>
                <a:lnTo>
                  <a:pt x="1231" y="118"/>
                </a:lnTo>
                <a:lnTo>
                  <a:pt x="1261" y="107"/>
                </a:lnTo>
                <a:lnTo>
                  <a:pt x="1226" y="87"/>
                </a:lnTo>
                <a:lnTo>
                  <a:pt x="1247" y="53"/>
                </a:lnTo>
                <a:lnTo>
                  <a:pt x="1221" y="81"/>
                </a:lnTo>
                <a:lnTo>
                  <a:pt x="1221" y="43"/>
                </a:lnTo>
                <a:lnTo>
                  <a:pt x="1194" y="58"/>
                </a:lnTo>
                <a:lnTo>
                  <a:pt x="1190" y="35"/>
                </a:lnTo>
                <a:lnTo>
                  <a:pt x="1184" y="30"/>
                </a:lnTo>
                <a:lnTo>
                  <a:pt x="1177" y="52"/>
                </a:lnTo>
                <a:lnTo>
                  <a:pt x="1171" y="39"/>
                </a:lnTo>
                <a:lnTo>
                  <a:pt x="1156" y="53"/>
                </a:lnTo>
                <a:lnTo>
                  <a:pt x="1137" y="39"/>
                </a:lnTo>
                <a:lnTo>
                  <a:pt x="1131" y="10"/>
                </a:lnTo>
                <a:lnTo>
                  <a:pt x="1132" y="0"/>
                </a:lnTo>
                <a:close/>
                <a:moveTo>
                  <a:pt x="1001" y="329"/>
                </a:moveTo>
                <a:lnTo>
                  <a:pt x="1024" y="322"/>
                </a:lnTo>
                <a:lnTo>
                  <a:pt x="1063" y="366"/>
                </a:lnTo>
                <a:lnTo>
                  <a:pt x="1066" y="352"/>
                </a:lnTo>
                <a:lnTo>
                  <a:pt x="1077" y="376"/>
                </a:lnTo>
                <a:lnTo>
                  <a:pt x="1075" y="389"/>
                </a:lnTo>
                <a:lnTo>
                  <a:pt x="1070" y="375"/>
                </a:lnTo>
                <a:lnTo>
                  <a:pt x="1043" y="410"/>
                </a:lnTo>
                <a:lnTo>
                  <a:pt x="1016" y="426"/>
                </a:lnTo>
                <a:lnTo>
                  <a:pt x="1001" y="429"/>
                </a:lnTo>
                <a:lnTo>
                  <a:pt x="984" y="410"/>
                </a:lnTo>
                <a:lnTo>
                  <a:pt x="986" y="427"/>
                </a:lnTo>
                <a:lnTo>
                  <a:pt x="977" y="410"/>
                </a:lnTo>
                <a:lnTo>
                  <a:pt x="981" y="370"/>
                </a:lnTo>
                <a:lnTo>
                  <a:pt x="1001" y="329"/>
                </a:lnTo>
                <a:close/>
                <a:moveTo>
                  <a:pt x="2552" y="202"/>
                </a:moveTo>
                <a:lnTo>
                  <a:pt x="2564" y="185"/>
                </a:lnTo>
                <a:lnTo>
                  <a:pt x="2576" y="222"/>
                </a:lnTo>
                <a:lnTo>
                  <a:pt x="2562" y="231"/>
                </a:lnTo>
                <a:lnTo>
                  <a:pt x="2552" y="202"/>
                </a:lnTo>
                <a:close/>
                <a:moveTo>
                  <a:pt x="7058" y="121"/>
                </a:moveTo>
                <a:lnTo>
                  <a:pt x="7002" y="143"/>
                </a:lnTo>
                <a:lnTo>
                  <a:pt x="6988" y="114"/>
                </a:lnTo>
                <a:lnTo>
                  <a:pt x="7023" y="65"/>
                </a:lnTo>
                <a:lnTo>
                  <a:pt x="7057" y="42"/>
                </a:lnTo>
                <a:lnTo>
                  <a:pt x="7057" y="41"/>
                </a:lnTo>
                <a:lnTo>
                  <a:pt x="7057" y="39"/>
                </a:lnTo>
                <a:lnTo>
                  <a:pt x="7101" y="36"/>
                </a:lnTo>
                <a:lnTo>
                  <a:pt x="7141" y="53"/>
                </a:lnTo>
                <a:lnTo>
                  <a:pt x="7169" y="92"/>
                </a:lnTo>
                <a:lnTo>
                  <a:pt x="7098" y="131"/>
                </a:lnTo>
                <a:lnTo>
                  <a:pt x="7058" y="121"/>
                </a:lnTo>
                <a:close/>
                <a:moveTo>
                  <a:pt x="6510" y="256"/>
                </a:moveTo>
                <a:lnTo>
                  <a:pt x="6527" y="253"/>
                </a:lnTo>
                <a:lnTo>
                  <a:pt x="6567" y="285"/>
                </a:lnTo>
                <a:lnTo>
                  <a:pt x="6561" y="316"/>
                </a:lnTo>
                <a:lnTo>
                  <a:pt x="6530" y="310"/>
                </a:lnTo>
                <a:lnTo>
                  <a:pt x="6496" y="271"/>
                </a:lnTo>
                <a:lnTo>
                  <a:pt x="6510" y="256"/>
                </a:lnTo>
                <a:close/>
                <a:moveTo>
                  <a:pt x="7526" y="1065"/>
                </a:moveTo>
                <a:lnTo>
                  <a:pt x="7482" y="1033"/>
                </a:lnTo>
                <a:lnTo>
                  <a:pt x="7441" y="1034"/>
                </a:lnTo>
                <a:lnTo>
                  <a:pt x="7429" y="1018"/>
                </a:lnTo>
                <a:lnTo>
                  <a:pt x="7435" y="988"/>
                </a:lnTo>
                <a:lnTo>
                  <a:pt x="7472" y="1008"/>
                </a:lnTo>
                <a:lnTo>
                  <a:pt x="7504" y="1000"/>
                </a:lnTo>
                <a:lnTo>
                  <a:pt x="7540" y="1033"/>
                </a:lnTo>
                <a:lnTo>
                  <a:pt x="7540" y="1064"/>
                </a:lnTo>
                <a:lnTo>
                  <a:pt x="7526" y="1065"/>
                </a:lnTo>
                <a:close/>
                <a:moveTo>
                  <a:pt x="5780" y="2363"/>
                </a:moveTo>
                <a:lnTo>
                  <a:pt x="5770" y="2382"/>
                </a:lnTo>
                <a:lnTo>
                  <a:pt x="5758" y="2385"/>
                </a:lnTo>
                <a:lnTo>
                  <a:pt x="5780" y="2363"/>
                </a:lnTo>
                <a:close/>
                <a:moveTo>
                  <a:pt x="5700" y="2430"/>
                </a:moveTo>
                <a:lnTo>
                  <a:pt x="5676" y="2456"/>
                </a:lnTo>
                <a:lnTo>
                  <a:pt x="5657" y="2467"/>
                </a:lnTo>
                <a:lnTo>
                  <a:pt x="5659" y="2459"/>
                </a:lnTo>
                <a:lnTo>
                  <a:pt x="5678" y="2438"/>
                </a:lnTo>
                <a:lnTo>
                  <a:pt x="5695" y="2425"/>
                </a:lnTo>
                <a:lnTo>
                  <a:pt x="5700" y="2430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24" name="Freeform 213"/>
          <p:cNvSpPr>
            <a:spLocks noChangeAspect="1"/>
          </p:cNvSpPr>
          <p:nvPr/>
        </p:nvSpPr>
        <p:spPr bwMode="gray">
          <a:xfrm>
            <a:off x="2951163" y="3067050"/>
            <a:ext cx="4762" cy="1588"/>
          </a:xfrm>
          <a:custGeom>
            <a:avLst/>
            <a:gdLst>
              <a:gd name="T0" fmla="*/ 2147483647 w 9"/>
              <a:gd name="T1" fmla="*/ 0 h 4"/>
              <a:gd name="T2" fmla="*/ 2147483647 w 9"/>
              <a:gd name="T3" fmla="*/ 0 h 4"/>
              <a:gd name="T4" fmla="*/ 2147483647 w 9"/>
              <a:gd name="T5" fmla="*/ 2147483647 h 4"/>
              <a:gd name="T6" fmla="*/ 2147483647 w 9"/>
              <a:gd name="T7" fmla="*/ 2147483647 h 4"/>
              <a:gd name="T8" fmla="*/ 0 w 9"/>
              <a:gd name="T9" fmla="*/ 2147483647 h 4"/>
              <a:gd name="T10" fmla="*/ 2147483647 w 9"/>
              <a:gd name="T11" fmla="*/ 2147483647 h 4"/>
              <a:gd name="T12" fmla="*/ 2147483647 w 9"/>
              <a:gd name="T13" fmla="*/ 2147483647 h 4"/>
              <a:gd name="T14" fmla="*/ 2147483647 w 9"/>
              <a:gd name="T15" fmla="*/ 2147483647 h 4"/>
              <a:gd name="T16" fmla="*/ 2147483647 w 9"/>
              <a:gd name="T17" fmla="*/ 0 h 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9"/>
              <a:gd name="T28" fmla="*/ 0 h 4"/>
              <a:gd name="T29" fmla="*/ 9 w 9"/>
              <a:gd name="T30" fmla="*/ 4 h 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9" h="4">
                <a:moveTo>
                  <a:pt x="9" y="0"/>
                </a:moveTo>
                <a:lnTo>
                  <a:pt x="5" y="0"/>
                </a:lnTo>
                <a:lnTo>
                  <a:pt x="2" y="1"/>
                </a:lnTo>
                <a:lnTo>
                  <a:pt x="1" y="2"/>
                </a:lnTo>
                <a:lnTo>
                  <a:pt x="0" y="3"/>
                </a:lnTo>
                <a:lnTo>
                  <a:pt x="3" y="4"/>
                </a:lnTo>
                <a:lnTo>
                  <a:pt x="6" y="3"/>
                </a:lnTo>
                <a:lnTo>
                  <a:pt x="9" y="2"/>
                </a:lnTo>
                <a:lnTo>
                  <a:pt x="9" y="0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25" name="Freeform 214"/>
          <p:cNvSpPr>
            <a:spLocks noChangeAspect="1"/>
          </p:cNvSpPr>
          <p:nvPr/>
        </p:nvSpPr>
        <p:spPr bwMode="gray">
          <a:xfrm>
            <a:off x="2336800" y="3425825"/>
            <a:ext cx="85725" cy="95250"/>
          </a:xfrm>
          <a:custGeom>
            <a:avLst/>
            <a:gdLst>
              <a:gd name="T0" fmla="*/ 2147483647 w 178"/>
              <a:gd name="T1" fmla="*/ 0 h 198"/>
              <a:gd name="T2" fmla="*/ 2147483647 w 178"/>
              <a:gd name="T3" fmla="*/ 0 h 198"/>
              <a:gd name="T4" fmla="*/ 2147483647 w 178"/>
              <a:gd name="T5" fmla="*/ 0 h 198"/>
              <a:gd name="T6" fmla="*/ 2147483647 w 178"/>
              <a:gd name="T7" fmla="*/ 2147483647 h 198"/>
              <a:gd name="T8" fmla="*/ 2147483647 w 178"/>
              <a:gd name="T9" fmla="*/ 2147483647 h 198"/>
              <a:gd name="T10" fmla="*/ 2147483647 w 178"/>
              <a:gd name="T11" fmla="*/ 2147483647 h 198"/>
              <a:gd name="T12" fmla="*/ 2147483647 w 178"/>
              <a:gd name="T13" fmla="*/ 2147483647 h 198"/>
              <a:gd name="T14" fmla="*/ 2147483647 w 178"/>
              <a:gd name="T15" fmla="*/ 2147483647 h 198"/>
              <a:gd name="T16" fmla="*/ 2147483647 w 178"/>
              <a:gd name="T17" fmla="*/ 2147483647 h 198"/>
              <a:gd name="T18" fmla="*/ 2147483647 w 178"/>
              <a:gd name="T19" fmla="*/ 2147483647 h 198"/>
              <a:gd name="T20" fmla="*/ 2147483647 w 178"/>
              <a:gd name="T21" fmla="*/ 2147483647 h 198"/>
              <a:gd name="T22" fmla="*/ 0 w 178"/>
              <a:gd name="T23" fmla="*/ 2147483647 h 198"/>
              <a:gd name="T24" fmla="*/ 2147483647 w 178"/>
              <a:gd name="T25" fmla="*/ 2147483647 h 198"/>
              <a:gd name="T26" fmla="*/ 2147483647 w 178"/>
              <a:gd name="T27" fmla="*/ 2147483647 h 198"/>
              <a:gd name="T28" fmla="*/ 2147483647 w 178"/>
              <a:gd name="T29" fmla="*/ 2147483647 h 198"/>
              <a:gd name="T30" fmla="*/ 2147483647 w 178"/>
              <a:gd name="T31" fmla="*/ 2147483647 h 198"/>
              <a:gd name="T32" fmla="*/ 2147483647 w 178"/>
              <a:gd name="T33" fmla="*/ 2147483647 h 198"/>
              <a:gd name="T34" fmla="*/ 2147483647 w 178"/>
              <a:gd name="T35" fmla="*/ 2147483647 h 198"/>
              <a:gd name="T36" fmla="*/ 2147483647 w 178"/>
              <a:gd name="T37" fmla="*/ 2147483647 h 198"/>
              <a:gd name="T38" fmla="*/ 2147483647 w 178"/>
              <a:gd name="T39" fmla="*/ 2147483647 h 198"/>
              <a:gd name="T40" fmla="*/ 2147483647 w 178"/>
              <a:gd name="T41" fmla="*/ 2147483647 h 198"/>
              <a:gd name="T42" fmla="*/ 2147483647 w 178"/>
              <a:gd name="T43" fmla="*/ 2147483647 h 198"/>
              <a:gd name="T44" fmla="*/ 2147483647 w 178"/>
              <a:gd name="T45" fmla="*/ 2147483647 h 198"/>
              <a:gd name="T46" fmla="*/ 2147483647 w 178"/>
              <a:gd name="T47" fmla="*/ 2147483647 h 198"/>
              <a:gd name="T48" fmla="*/ 2147483647 w 178"/>
              <a:gd name="T49" fmla="*/ 2147483647 h 198"/>
              <a:gd name="T50" fmla="*/ 2147483647 w 178"/>
              <a:gd name="T51" fmla="*/ 0 h 198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78"/>
              <a:gd name="T79" fmla="*/ 0 h 198"/>
              <a:gd name="T80" fmla="*/ 178 w 178"/>
              <a:gd name="T81" fmla="*/ 198 h 198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78" h="198">
                <a:moveTo>
                  <a:pt x="139" y="0"/>
                </a:moveTo>
                <a:lnTo>
                  <a:pt x="104" y="0"/>
                </a:lnTo>
                <a:lnTo>
                  <a:pt x="60" y="0"/>
                </a:lnTo>
                <a:lnTo>
                  <a:pt x="60" y="24"/>
                </a:lnTo>
                <a:lnTo>
                  <a:pt x="31" y="24"/>
                </a:lnTo>
                <a:lnTo>
                  <a:pt x="66" y="52"/>
                </a:lnTo>
                <a:lnTo>
                  <a:pt x="80" y="71"/>
                </a:lnTo>
                <a:lnTo>
                  <a:pt x="79" y="83"/>
                </a:lnTo>
                <a:lnTo>
                  <a:pt x="33" y="84"/>
                </a:lnTo>
                <a:lnTo>
                  <a:pt x="4" y="132"/>
                </a:lnTo>
                <a:lnTo>
                  <a:pt x="6" y="139"/>
                </a:lnTo>
                <a:lnTo>
                  <a:pt x="0" y="157"/>
                </a:lnTo>
                <a:lnTo>
                  <a:pt x="40" y="188"/>
                </a:lnTo>
                <a:lnTo>
                  <a:pt x="100" y="198"/>
                </a:lnTo>
                <a:lnTo>
                  <a:pt x="105" y="186"/>
                </a:lnTo>
                <a:lnTo>
                  <a:pt x="122" y="177"/>
                </a:lnTo>
                <a:lnTo>
                  <a:pt x="127" y="164"/>
                </a:lnTo>
                <a:lnTo>
                  <a:pt x="138" y="154"/>
                </a:lnTo>
                <a:lnTo>
                  <a:pt x="138" y="140"/>
                </a:lnTo>
                <a:lnTo>
                  <a:pt x="175" y="111"/>
                </a:lnTo>
                <a:lnTo>
                  <a:pt x="178" y="101"/>
                </a:lnTo>
                <a:lnTo>
                  <a:pt x="172" y="98"/>
                </a:lnTo>
                <a:lnTo>
                  <a:pt x="163" y="101"/>
                </a:lnTo>
                <a:lnTo>
                  <a:pt x="153" y="92"/>
                </a:lnTo>
                <a:lnTo>
                  <a:pt x="138" y="91"/>
                </a:lnTo>
                <a:lnTo>
                  <a:pt x="139" y="0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26" name="Freeform 215"/>
          <p:cNvSpPr>
            <a:spLocks noChangeAspect="1"/>
          </p:cNvSpPr>
          <p:nvPr/>
        </p:nvSpPr>
        <p:spPr bwMode="gray">
          <a:xfrm>
            <a:off x="2794000" y="3378200"/>
            <a:ext cx="76200" cy="52388"/>
          </a:xfrm>
          <a:custGeom>
            <a:avLst/>
            <a:gdLst>
              <a:gd name="T0" fmla="*/ 2147483647 w 158"/>
              <a:gd name="T1" fmla="*/ 2147483647 h 110"/>
              <a:gd name="T2" fmla="*/ 2147483647 w 158"/>
              <a:gd name="T3" fmla="*/ 2147483647 h 110"/>
              <a:gd name="T4" fmla="*/ 2147483647 w 158"/>
              <a:gd name="T5" fmla="*/ 2147483647 h 110"/>
              <a:gd name="T6" fmla="*/ 2147483647 w 158"/>
              <a:gd name="T7" fmla="*/ 2147483647 h 110"/>
              <a:gd name="T8" fmla="*/ 2147483647 w 158"/>
              <a:gd name="T9" fmla="*/ 2147483647 h 110"/>
              <a:gd name="T10" fmla="*/ 2147483647 w 158"/>
              <a:gd name="T11" fmla="*/ 2147483647 h 110"/>
              <a:gd name="T12" fmla="*/ 2147483647 w 158"/>
              <a:gd name="T13" fmla="*/ 2147483647 h 110"/>
              <a:gd name="T14" fmla="*/ 2147483647 w 158"/>
              <a:gd name="T15" fmla="*/ 2147483647 h 110"/>
              <a:gd name="T16" fmla="*/ 2147483647 w 158"/>
              <a:gd name="T17" fmla="*/ 2147483647 h 110"/>
              <a:gd name="T18" fmla="*/ 2147483647 w 158"/>
              <a:gd name="T19" fmla="*/ 2147483647 h 110"/>
              <a:gd name="T20" fmla="*/ 2147483647 w 158"/>
              <a:gd name="T21" fmla="*/ 2147483647 h 110"/>
              <a:gd name="T22" fmla="*/ 2147483647 w 158"/>
              <a:gd name="T23" fmla="*/ 2147483647 h 110"/>
              <a:gd name="T24" fmla="*/ 2147483647 w 158"/>
              <a:gd name="T25" fmla="*/ 2147483647 h 110"/>
              <a:gd name="T26" fmla="*/ 2147483647 w 158"/>
              <a:gd name="T27" fmla="*/ 2147483647 h 110"/>
              <a:gd name="T28" fmla="*/ 2147483647 w 158"/>
              <a:gd name="T29" fmla="*/ 2147483647 h 110"/>
              <a:gd name="T30" fmla="*/ 2147483647 w 158"/>
              <a:gd name="T31" fmla="*/ 2147483647 h 110"/>
              <a:gd name="T32" fmla="*/ 2147483647 w 158"/>
              <a:gd name="T33" fmla="*/ 0 h 110"/>
              <a:gd name="T34" fmla="*/ 2147483647 w 158"/>
              <a:gd name="T35" fmla="*/ 0 h 110"/>
              <a:gd name="T36" fmla="*/ 2147483647 w 158"/>
              <a:gd name="T37" fmla="*/ 2147483647 h 110"/>
              <a:gd name="T38" fmla="*/ 2147483647 w 158"/>
              <a:gd name="T39" fmla="*/ 2147483647 h 110"/>
              <a:gd name="T40" fmla="*/ 2147483647 w 158"/>
              <a:gd name="T41" fmla="*/ 2147483647 h 110"/>
              <a:gd name="T42" fmla="*/ 0 w 158"/>
              <a:gd name="T43" fmla="*/ 2147483647 h 110"/>
              <a:gd name="T44" fmla="*/ 2147483647 w 158"/>
              <a:gd name="T45" fmla="*/ 2147483647 h 110"/>
              <a:gd name="T46" fmla="*/ 2147483647 w 158"/>
              <a:gd name="T47" fmla="*/ 2147483647 h 110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58"/>
              <a:gd name="T73" fmla="*/ 0 h 110"/>
              <a:gd name="T74" fmla="*/ 158 w 158"/>
              <a:gd name="T75" fmla="*/ 110 h 110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58" h="110">
                <a:moveTo>
                  <a:pt x="4" y="91"/>
                </a:moveTo>
                <a:lnTo>
                  <a:pt x="7" y="103"/>
                </a:lnTo>
                <a:lnTo>
                  <a:pt x="16" y="110"/>
                </a:lnTo>
                <a:lnTo>
                  <a:pt x="48" y="74"/>
                </a:lnTo>
                <a:lnTo>
                  <a:pt x="55" y="74"/>
                </a:lnTo>
                <a:lnTo>
                  <a:pt x="59" y="86"/>
                </a:lnTo>
                <a:lnTo>
                  <a:pt x="87" y="74"/>
                </a:lnTo>
                <a:lnTo>
                  <a:pt x="104" y="71"/>
                </a:lnTo>
                <a:lnTo>
                  <a:pt x="148" y="81"/>
                </a:lnTo>
                <a:lnTo>
                  <a:pt x="158" y="60"/>
                </a:lnTo>
                <a:lnTo>
                  <a:pt x="140" y="43"/>
                </a:lnTo>
                <a:lnTo>
                  <a:pt x="106" y="39"/>
                </a:lnTo>
                <a:lnTo>
                  <a:pt x="121" y="34"/>
                </a:lnTo>
                <a:lnTo>
                  <a:pt x="121" y="31"/>
                </a:lnTo>
                <a:lnTo>
                  <a:pt x="95" y="26"/>
                </a:lnTo>
                <a:lnTo>
                  <a:pt x="87" y="11"/>
                </a:lnTo>
                <a:lnTo>
                  <a:pt x="50" y="0"/>
                </a:lnTo>
                <a:lnTo>
                  <a:pt x="7" y="0"/>
                </a:lnTo>
                <a:lnTo>
                  <a:pt x="2" y="5"/>
                </a:lnTo>
                <a:lnTo>
                  <a:pt x="10" y="35"/>
                </a:lnTo>
                <a:lnTo>
                  <a:pt x="7" y="56"/>
                </a:lnTo>
                <a:lnTo>
                  <a:pt x="0" y="64"/>
                </a:lnTo>
                <a:lnTo>
                  <a:pt x="5" y="77"/>
                </a:lnTo>
                <a:lnTo>
                  <a:pt x="4" y="91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27" name="Freeform 216"/>
          <p:cNvSpPr>
            <a:spLocks noChangeAspect="1"/>
          </p:cNvSpPr>
          <p:nvPr/>
        </p:nvSpPr>
        <p:spPr bwMode="gray">
          <a:xfrm>
            <a:off x="2386013" y="3506788"/>
            <a:ext cx="50800" cy="26987"/>
          </a:xfrm>
          <a:custGeom>
            <a:avLst/>
            <a:gdLst>
              <a:gd name="T0" fmla="*/ 0 w 106"/>
              <a:gd name="T1" fmla="*/ 2147483647 h 60"/>
              <a:gd name="T2" fmla="*/ 2147483647 w 106"/>
              <a:gd name="T3" fmla="*/ 2147483647 h 60"/>
              <a:gd name="T4" fmla="*/ 2147483647 w 106"/>
              <a:gd name="T5" fmla="*/ 2147483647 h 60"/>
              <a:gd name="T6" fmla="*/ 2147483647 w 106"/>
              <a:gd name="T7" fmla="*/ 0 h 60"/>
              <a:gd name="T8" fmla="*/ 2147483647 w 106"/>
              <a:gd name="T9" fmla="*/ 2147483647 h 60"/>
              <a:gd name="T10" fmla="*/ 2147483647 w 106"/>
              <a:gd name="T11" fmla="*/ 2147483647 h 60"/>
              <a:gd name="T12" fmla="*/ 2147483647 w 106"/>
              <a:gd name="T13" fmla="*/ 2147483647 h 60"/>
              <a:gd name="T14" fmla="*/ 2147483647 w 106"/>
              <a:gd name="T15" fmla="*/ 2147483647 h 60"/>
              <a:gd name="T16" fmla="*/ 2147483647 w 106"/>
              <a:gd name="T17" fmla="*/ 2147483647 h 60"/>
              <a:gd name="T18" fmla="*/ 2147483647 w 106"/>
              <a:gd name="T19" fmla="*/ 2147483647 h 60"/>
              <a:gd name="T20" fmla="*/ 2147483647 w 106"/>
              <a:gd name="T21" fmla="*/ 2147483647 h 60"/>
              <a:gd name="T22" fmla="*/ 2147483647 w 106"/>
              <a:gd name="T23" fmla="*/ 2147483647 h 60"/>
              <a:gd name="T24" fmla="*/ 2147483647 w 106"/>
              <a:gd name="T25" fmla="*/ 2147483647 h 60"/>
              <a:gd name="T26" fmla="*/ 0 w 106"/>
              <a:gd name="T27" fmla="*/ 2147483647 h 60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106"/>
              <a:gd name="T43" fmla="*/ 0 h 60"/>
              <a:gd name="T44" fmla="*/ 106 w 106"/>
              <a:gd name="T45" fmla="*/ 60 h 60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106" h="60">
                <a:moveTo>
                  <a:pt x="0" y="34"/>
                </a:moveTo>
                <a:lnTo>
                  <a:pt x="5" y="22"/>
                </a:lnTo>
                <a:lnTo>
                  <a:pt x="22" y="13"/>
                </a:lnTo>
                <a:lnTo>
                  <a:pt x="27" y="0"/>
                </a:lnTo>
                <a:lnTo>
                  <a:pt x="42" y="4"/>
                </a:lnTo>
                <a:lnTo>
                  <a:pt x="72" y="26"/>
                </a:lnTo>
                <a:lnTo>
                  <a:pt x="90" y="24"/>
                </a:lnTo>
                <a:lnTo>
                  <a:pt x="98" y="27"/>
                </a:lnTo>
                <a:lnTo>
                  <a:pt x="104" y="32"/>
                </a:lnTo>
                <a:lnTo>
                  <a:pt x="106" y="49"/>
                </a:lnTo>
                <a:lnTo>
                  <a:pt x="87" y="60"/>
                </a:lnTo>
                <a:lnTo>
                  <a:pt x="63" y="60"/>
                </a:lnTo>
                <a:lnTo>
                  <a:pt x="17" y="44"/>
                </a:lnTo>
                <a:lnTo>
                  <a:pt x="0" y="34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28" name="Freeform 217"/>
          <p:cNvSpPr>
            <a:spLocks noChangeAspect="1"/>
          </p:cNvSpPr>
          <p:nvPr/>
        </p:nvSpPr>
        <p:spPr bwMode="gray">
          <a:xfrm>
            <a:off x="2441575" y="3492500"/>
            <a:ext cx="95250" cy="96838"/>
          </a:xfrm>
          <a:custGeom>
            <a:avLst/>
            <a:gdLst>
              <a:gd name="T0" fmla="*/ 2147483647 w 197"/>
              <a:gd name="T1" fmla="*/ 2147483647 h 200"/>
              <a:gd name="T2" fmla="*/ 2147483647 w 197"/>
              <a:gd name="T3" fmla="*/ 2147483647 h 200"/>
              <a:gd name="T4" fmla="*/ 2147483647 w 197"/>
              <a:gd name="T5" fmla="*/ 2147483647 h 200"/>
              <a:gd name="T6" fmla="*/ 2147483647 w 197"/>
              <a:gd name="T7" fmla="*/ 2147483647 h 200"/>
              <a:gd name="T8" fmla="*/ 2147483647 w 197"/>
              <a:gd name="T9" fmla="*/ 2147483647 h 200"/>
              <a:gd name="T10" fmla="*/ 2147483647 w 197"/>
              <a:gd name="T11" fmla="*/ 2147483647 h 200"/>
              <a:gd name="T12" fmla="*/ 2147483647 w 197"/>
              <a:gd name="T13" fmla="*/ 2147483647 h 200"/>
              <a:gd name="T14" fmla="*/ 2147483647 w 197"/>
              <a:gd name="T15" fmla="*/ 2147483647 h 200"/>
              <a:gd name="T16" fmla="*/ 2147483647 w 197"/>
              <a:gd name="T17" fmla="*/ 2147483647 h 200"/>
              <a:gd name="T18" fmla="*/ 2147483647 w 197"/>
              <a:gd name="T19" fmla="*/ 2147483647 h 200"/>
              <a:gd name="T20" fmla="*/ 2147483647 w 197"/>
              <a:gd name="T21" fmla="*/ 0 h 200"/>
              <a:gd name="T22" fmla="*/ 2147483647 w 197"/>
              <a:gd name="T23" fmla="*/ 0 h 200"/>
              <a:gd name="T24" fmla="*/ 2147483647 w 197"/>
              <a:gd name="T25" fmla="*/ 2147483647 h 200"/>
              <a:gd name="T26" fmla="*/ 2147483647 w 197"/>
              <a:gd name="T27" fmla="*/ 2147483647 h 200"/>
              <a:gd name="T28" fmla="*/ 2147483647 w 197"/>
              <a:gd name="T29" fmla="*/ 2147483647 h 200"/>
              <a:gd name="T30" fmla="*/ 2147483647 w 197"/>
              <a:gd name="T31" fmla="*/ 2147483647 h 200"/>
              <a:gd name="T32" fmla="*/ 2147483647 w 197"/>
              <a:gd name="T33" fmla="*/ 2147483647 h 200"/>
              <a:gd name="T34" fmla="*/ 2147483647 w 197"/>
              <a:gd name="T35" fmla="*/ 2147483647 h 200"/>
              <a:gd name="T36" fmla="*/ 2147483647 w 197"/>
              <a:gd name="T37" fmla="*/ 2147483647 h 200"/>
              <a:gd name="T38" fmla="*/ 2147483647 w 197"/>
              <a:gd name="T39" fmla="*/ 2147483647 h 200"/>
              <a:gd name="T40" fmla="*/ 2147483647 w 197"/>
              <a:gd name="T41" fmla="*/ 2147483647 h 200"/>
              <a:gd name="T42" fmla="*/ 2147483647 w 197"/>
              <a:gd name="T43" fmla="*/ 2147483647 h 200"/>
              <a:gd name="T44" fmla="*/ 2147483647 w 197"/>
              <a:gd name="T45" fmla="*/ 2147483647 h 200"/>
              <a:gd name="T46" fmla="*/ 2147483647 w 197"/>
              <a:gd name="T47" fmla="*/ 2147483647 h 200"/>
              <a:gd name="T48" fmla="*/ 0 w 197"/>
              <a:gd name="T49" fmla="*/ 2147483647 h 200"/>
              <a:gd name="T50" fmla="*/ 0 w 197"/>
              <a:gd name="T51" fmla="*/ 2147483647 h 200"/>
              <a:gd name="T52" fmla="*/ 2147483647 w 197"/>
              <a:gd name="T53" fmla="*/ 2147483647 h 200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197"/>
              <a:gd name="T82" fmla="*/ 0 h 200"/>
              <a:gd name="T83" fmla="*/ 197 w 197"/>
              <a:gd name="T84" fmla="*/ 200 h 200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197" h="200">
                <a:moveTo>
                  <a:pt x="82" y="186"/>
                </a:moveTo>
                <a:lnTo>
                  <a:pt x="93" y="181"/>
                </a:lnTo>
                <a:lnTo>
                  <a:pt x="119" y="189"/>
                </a:lnTo>
                <a:lnTo>
                  <a:pt x="138" y="188"/>
                </a:lnTo>
                <a:lnTo>
                  <a:pt x="158" y="200"/>
                </a:lnTo>
                <a:lnTo>
                  <a:pt x="178" y="193"/>
                </a:lnTo>
                <a:lnTo>
                  <a:pt x="172" y="167"/>
                </a:lnTo>
                <a:lnTo>
                  <a:pt x="176" y="152"/>
                </a:lnTo>
                <a:lnTo>
                  <a:pt x="184" y="70"/>
                </a:lnTo>
                <a:lnTo>
                  <a:pt x="195" y="36"/>
                </a:lnTo>
                <a:lnTo>
                  <a:pt x="197" y="0"/>
                </a:lnTo>
                <a:lnTo>
                  <a:pt x="187" y="0"/>
                </a:lnTo>
                <a:lnTo>
                  <a:pt x="151" y="19"/>
                </a:lnTo>
                <a:lnTo>
                  <a:pt x="136" y="17"/>
                </a:lnTo>
                <a:lnTo>
                  <a:pt x="125" y="10"/>
                </a:lnTo>
                <a:lnTo>
                  <a:pt x="111" y="36"/>
                </a:lnTo>
                <a:lnTo>
                  <a:pt x="104" y="36"/>
                </a:lnTo>
                <a:lnTo>
                  <a:pt x="82" y="53"/>
                </a:lnTo>
                <a:lnTo>
                  <a:pt x="65" y="45"/>
                </a:lnTo>
                <a:lnTo>
                  <a:pt x="57" y="61"/>
                </a:lnTo>
                <a:lnTo>
                  <a:pt x="37" y="61"/>
                </a:lnTo>
                <a:lnTo>
                  <a:pt x="36" y="79"/>
                </a:lnTo>
                <a:lnTo>
                  <a:pt x="25" y="93"/>
                </a:lnTo>
                <a:lnTo>
                  <a:pt x="9" y="95"/>
                </a:lnTo>
                <a:lnTo>
                  <a:pt x="0" y="95"/>
                </a:lnTo>
                <a:lnTo>
                  <a:pt x="0" y="102"/>
                </a:lnTo>
                <a:lnTo>
                  <a:pt x="82" y="186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29" name="Freeform 218"/>
          <p:cNvSpPr>
            <a:spLocks noChangeAspect="1"/>
          </p:cNvSpPr>
          <p:nvPr/>
        </p:nvSpPr>
        <p:spPr bwMode="gray">
          <a:xfrm>
            <a:off x="2398713" y="3468688"/>
            <a:ext cx="138112" cy="69850"/>
          </a:xfrm>
          <a:custGeom>
            <a:avLst/>
            <a:gdLst>
              <a:gd name="T0" fmla="*/ 2147483647 w 285"/>
              <a:gd name="T1" fmla="*/ 2147483647 h 141"/>
              <a:gd name="T2" fmla="*/ 2147483647 w 285"/>
              <a:gd name="T3" fmla="*/ 2147483647 h 141"/>
              <a:gd name="T4" fmla="*/ 2147483647 w 285"/>
              <a:gd name="T5" fmla="*/ 2147483647 h 141"/>
              <a:gd name="T6" fmla="*/ 2147483647 w 285"/>
              <a:gd name="T7" fmla="*/ 2147483647 h 141"/>
              <a:gd name="T8" fmla="*/ 2147483647 w 285"/>
              <a:gd name="T9" fmla="*/ 2147483647 h 141"/>
              <a:gd name="T10" fmla="*/ 2147483647 w 285"/>
              <a:gd name="T11" fmla="*/ 2147483647 h 141"/>
              <a:gd name="T12" fmla="*/ 2147483647 w 285"/>
              <a:gd name="T13" fmla="*/ 2147483647 h 141"/>
              <a:gd name="T14" fmla="*/ 2147483647 w 285"/>
              <a:gd name="T15" fmla="*/ 2147483647 h 141"/>
              <a:gd name="T16" fmla="*/ 2147483647 w 285"/>
              <a:gd name="T17" fmla="*/ 2147483647 h 141"/>
              <a:gd name="T18" fmla="*/ 2147483647 w 285"/>
              <a:gd name="T19" fmla="*/ 2147483647 h 141"/>
              <a:gd name="T20" fmla="*/ 2147483647 w 285"/>
              <a:gd name="T21" fmla="*/ 2147483647 h 141"/>
              <a:gd name="T22" fmla="*/ 2147483647 w 285"/>
              <a:gd name="T23" fmla="*/ 2147483647 h 141"/>
              <a:gd name="T24" fmla="*/ 2147483647 w 285"/>
              <a:gd name="T25" fmla="*/ 2147483647 h 141"/>
              <a:gd name="T26" fmla="*/ 2147483647 w 285"/>
              <a:gd name="T27" fmla="*/ 2147483647 h 141"/>
              <a:gd name="T28" fmla="*/ 2147483647 w 285"/>
              <a:gd name="T29" fmla="*/ 2147483647 h 141"/>
              <a:gd name="T30" fmla="*/ 2147483647 w 285"/>
              <a:gd name="T31" fmla="*/ 2147483647 h 141"/>
              <a:gd name="T32" fmla="*/ 2147483647 w 285"/>
              <a:gd name="T33" fmla="*/ 2147483647 h 141"/>
              <a:gd name="T34" fmla="*/ 2147483647 w 285"/>
              <a:gd name="T35" fmla="*/ 2147483647 h 141"/>
              <a:gd name="T36" fmla="*/ 2147483647 w 285"/>
              <a:gd name="T37" fmla="*/ 2147483647 h 141"/>
              <a:gd name="T38" fmla="*/ 2147483647 w 285"/>
              <a:gd name="T39" fmla="*/ 2147483647 h 141"/>
              <a:gd name="T40" fmla="*/ 2147483647 w 285"/>
              <a:gd name="T41" fmla="*/ 2147483647 h 141"/>
              <a:gd name="T42" fmla="*/ 0 w 285"/>
              <a:gd name="T43" fmla="*/ 2147483647 h 141"/>
              <a:gd name="T44" fmla="*/ 2147483647 w 285"/>
              <a:gd name="T45" fmla="*/ 2147483647 h 141"/>
              <a:gd name="T46" fmla="*/ 2147483647 w 285"/>
              <a:gd name="T47" fmla="*/ 2147483647 h 141"/>
              <a:gd name="T48" fmla="*/ 2147483647 w 285"/>
              <a:gd name="T49" fmla="*/ 2147483647 h 141"/>
              <a:gd name="T50" fmla="*/ 2147483647 w 285"/>
              <a:gd name="T51" fmla="*/ 2147483647 h 141"/>
              <a:gd name="T52" fmla="*/ 2147483647 w 285"/>
              <a:gd name="T53" fmla="*/ 2147483647 h 141"/>
              <a:gd name="T54" fmla="*/ 2147483647 w 285"/>
              <a:gd name="T55" fmla="*/ 2147483647 h 141"/>
              <a:gd name="T56" fmla="*/ 2147483647 w 285"/>
              <a:gd name="T57" fmla="*/ 0 h 141"/>
              <a:gd name="T58" fmla="*/ 2147483647 w 285"/>
              <a:gd name="T59" fmla="*/ 2147483647 h 141"/>
              <a:gd name="T60" fmla="*/ 2147483647 w 285"/>
              <a:gd name="T61" fmla="*/ 2147483647 h 141"/>
              <a:gd name="T62" fmla="*/ 2147483647 w 285"/>
              <a:gd name="T63" fmla="*/ 2147483647 h 141"/>
              <a:gd name="T64" fmla="*/ 2147483647 w 285"/>
              <a:gd name="T65" fmla="*/ 2147483647 h 141"/>
              <a:gd name="T66" fmla="*/ 2147483647 w 285"/>
              <a:gd name="T67" fmla="*/ 2147483647 h 141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85"/>
              <a:gd name="T103" fmla="*/ 0 h 141"/>
              <a:gd name="T104" fmla="*/ 285 w 285"/>
              <a:gd name="T105" fmla="*/ 141 h 141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85" h="141">
                <a:moveTo>
                  <a:pt x="285" y="46"/>
                </a:moveTo>
                <a:lnTo>
                  <a:pt x="275" y="46"/>
                </a:lnTo>
                <a:lnTo>
                  <a:pt x="239" y="65"/>
                </a:lnTo>
                <a:lnTo>
                  <a:pt x="224" y="63"/>
                </a:lnTo>
                <a:lnTo>
                  <a:pt x="213" y="56"/>
                </a:lnTo>
                <a:lnTo>
                  <a:pt x="199" y="82"/>
                </a:lnTo>
                <a:lnTo>
                  <a:pt x="192" y="82"/>
                </a:lnTo>
                <a:lnTo>
                  <a:pt x="170" y="99"/>
                </a:lnTo>
                <a:lnTo>
                  <a:pt x="153" y="91"/>
                </a:lnTo>
                <a:lnTo>
                  <a:pt x="145" y="107"/>
                </a:lnTo>
                <a:lnTo>
                  <a:pt x="125" y="107"/>
                </a:lnTo>
                <a:lnTo>
                  <a:pt x="124" y="125"/>
                </a:lnTo>
                <a:lnTo>
                  <a:pt x="113" y="139"/>
                </a:lnTo>
                <a:lnTo>
                  <a:pt x="97" y="141"/>
                </a:lnTo>
                <a:lnTo>
                  <a:pt x="88" y="124"/>
                </a:lnTo>
                <a:lnTo>
                  <a:pt x="79" y="122"/>
                </a:lnTo>
                <a:lnTo>
                  <a:pt x="77" y="105"/>
                </a:lnTo>
                <a:lnTo>
                  <a:pt x="71" y="100"/>
                </a:lnTo>
                <a:lnTo>
                  <a:pt x="63" y="97"/>
                </a:lnTo>
                <a:lnTo>
                  <a:pt x="45" y="99"/>
                </a:lnTo>
                <a:lnTo>
                  <a:pt x="15" y="77"/>
                </a:lnTo>
                <a:lnTo>
                  <a:pt x="0" y="73"/>
                </a:lnTo>
                <a:lnTo>
                  <a:pt x="11" y="63"/>
                </a:lnTo>
                <a:lnTo>
                  <a:pt x="11" y="49"/>
                </a:lnTo>
                <a:lnTo>
                  <a:pt x="48" y="20"/>
                </a:lnTo>
                <a:lnTo>
                  <a:pt x="51" y="10"/>
                </a:lnTo>
                <a:lnTo>
                  <a:pt x="79" y="7"/>
                </a:lnTo>
                <a:lnTo>
                  <a:pt x="124" y="10"/>
                </a:lnTo>
                <a:lnTo>
                  <a:pt x="168" y="0"/>
                </a:lnTo>
                <a:lnTo>
                  <a:pt x="176" y="6"/>
                </a:lnTo>
                <a:lnTo>
                  <a:pt x="204" y="1"/>
                </a:lnTo>
                <a:lnTo>
                  <a:pt x="246" y="14"/>
                </a:lnTo>
                <a:lnTo>
                  <a:pt x="277" y="32"/>
                </a:lnTo>
                <a:lnTo>
                  <a:pt x="285" y="46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30" name="Freeform 219"/>
          <p:cNvSpPr>
            <a:spLocks noChangeAspect="1"/>
          </p:cNvSpPr>
          <p:nvPr/>
        </p:nvSpPr>
        <p:spPr bwMode="gray">
          <a:xfrm>
            <a:off x="2479675" y="3579813"/>
            <a:ext cx="73025" cy="65087"/>
          </a:xfrm>
          <a:custGeom>
            <a:avLst/>
            <a:gdLst>
              <a:gd name="T0" fmla="*/ 2147483647 w 150"/>
              <a:gd name="T1" fmla="*/ 2147483647 h 132"/>
              <a:gd name="T2" fmla="*/ 2147483647 w 150"/>
              <a:gd name="T3" fmla="*/ 2147483647 h 132"/>
              <a:gd name="T4" fmla="*/ 2147483647 w 150"/>
              <a:gd name="T5" fmla="*/ 2147483647 h 132"/>
              <a:gd name="T6" fmla="*/ 2147483647 w 150"/>
              <a:gd name="T7" fmla="*/ 2147483647 h 132"/>
              <a:gd name="T8" fmla="*/ 2147483647 w 150"/>
              <a:gd name="T9" fmla="*/ 2147483647 h 132"/>
              <a:gd name="T10" fmla="*/ 2147483647 w 150"/>
              <a:gd name="T11" fmla="*/ 2147483647 h 132"/>
              <a:gd name="T12" fmla="*/ 2147483647 w 150"/>
              <a:gd name="T13" fmla="*/ 2147483647 h 132"/>
              <a:gd name="T14" fmla="*/ 2147483647 w 150"/>
              <a:gd name="T15" fmla="*/ 2147483647 h 132"/>
              <a:gd name="T16" fmla="*/ 2147483647 w 150"/>
              <a:gd name="T17" fmla="*/ 2147483647 h 132"/>
              <a:gd name="T18" fmla="*/ 2147483647 w 150"/>
              <a:gd name="T19" fmla="*/ 2147483647 h 132"/>
              <a:gd name="T20" fmla="*/ 2147483647 w 150"/>
              <a:gd name="T21" fmla="*/ 2147483647 h 132"/>
              <a:gd name="T22" fmla="*/ 2147483647 w 150"/>
              <a:gd name="T23" fmla="*/ 2147483647 h 132"/>
              <a:gd name="T24" fmla="*/ 2147483647 w 150"/>
              <a:gd name="T25" fmla="*/ 0 h 132"/>
              <a:gd name="T26" fmla="*/ 2147483647 w 150"/>
              <a:gd name="T27" fmla="*/ 2147483647 h 132"/>
              <a:gd name="T28" fmla="*/ 0 w 150"/>
              <a:gd name="T29" fmla="*/ 2147483647 h 132"/>
              <a:gd name="T30" fmla="*/ 2147483647 w 150"/>
              <a:gd name="T31" fmla="*/ 2147483647 h 132"/>
              <a:gd name="T32" fmla="*/ 2147483647 w 150"/>
              <a:gd name="T33" fmla="*/ 2147483647 h 132"/>
              <a:gd name="T34" fmla="*/ 2147483647 w 150"/>
              <a:gd name="T35" fmla="*/ 2147483647 h 132"/>
              <a:gd name="T36" fmla="*/ 2147483647 w 150"/>
              <a:gd name="T37" fmla="*/ 2147483647 h 132"/>
              <a:gd name="T38" fmla="*/ 2147483647 w 150"/>
              <a:gd name="T39" fmla="*/ 2147483647 h 132"/>
              <a:gd name="T40" fmla="*/ 2147483647 w 150"/>
              <a:gd name="T41" fmla="*/ 2147483647 h 132"/>
              <a:gd name="T42" fmla="*/ 2147483647 w 150"/>
              <a:gd name="T43" fmla="*/ 2147483647 h 132"/>
              <a:gd name="T44" fmla="*/ 2147483647 w 150"/>
              <a:gd name="T45" fmla="*/ 2147483647 h 132"/>
              <a:gd name="T46" fmla="*/ 2147483647 w 150"/>
              <a:gd name="T47" fmla="*/ 2147483647 h 132"/>
              <a:gd name="T48" fmla="*/ 2147483647 w 150"/>
              <a:gd name="T49" fmla="*/ 2147483647 h 132"/>
              <a:gd name="T50" fmla="*/ 2147483647 w 150"/>
              <a:gd name="T51" fmla="*/ 2147483647 h 132"/>
              <a:gd name="T52" fmla="*/ 2147483647 w 150"/>
              <a:gd name="T53" fmla="*/ 2147483647 h 132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150"/>
              <a:gd name="T82" fmla="*/ 0 h 132"/>
              <a:gd name="T83" fmla="*/ 150 w 150"/>
              <a:gd name="T84" fmla="*/ 132 h 132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150" h="132">
                <a:moveTo>
                  <a:pt x="130" y="132"/>
                </a:moveTo>
                <a:lnTo>
                  <a:pt x="136" y="124"/>
                </a:lnTo>
                <a:lnTo>
                  <a:pt x="144" y="98"/>
                </a:lnTo>
                <a:lnTo>
                  <a:pt x="135" y="91"/>
                </a:lnTo>
                <a:lnTo>
                  <a:pt x="136" y="79"/>
                </a:lnTo>
                <a:lnTo>
                  <a:pt x="142" y="73"/>
                </a:lnTo>
                <a:lnTo>
                  <a:pt x="150" y="73"/>
                </a:lnTo>
                <a:lnTo>
                  <a:pt x="118" y="45"/>
                </a:lnTo>
                <a:lnTo>
                  <a:pt x="99" y="12"/>
                </a:lnTo>
                <a:lnTo>
                  <a:pt x="79" y="19"/>
                </a:lnTo>
                <a:lnTo>
                  <a:pt x="59" y="7"/>
                </a:lnTo>
                <a:lnTo>
                  <a:pt x="40" y="8"/>
                </a:lnTo>
                <a:lnTo>
                  <a:pt x="14" y="0"/>
                </a:lnTo>
                <a:lnTo>
                  <a:pt x="3" y="5"/>
                </a:lnTo>
                <a:lnTo>
                  <a:pt x="0" y="34"/>
                </a:lnTo>
                <a:lnTo>
                  <a:pt x="8" y="56"/>
                </a:lnTo>
                <a:lnTo>
                  <a:pt x="37" y="71"/>
                </a:lnTo>
                <a:lnTo>
                  <a:pt x="40" y="57"/>
                </a:lnTo>
                <a:lnTo>
                  <a:pt x="32" y="53"/>
                </a:lnTo>
                <a:lnTo>
                  <a:pt x="42" y="51"/>
                </a:lnTo>
                <a:lnTo>
                  <a:pt x="62" y="78"/>
                </a:lnTo>
                <a:lnTo>
                  <a:pt x="97" y="96"/>
                </a:lnTo>
                <a:lnTo>
                  <a:pt x="101" y="122"/>
                </a:lnTo>
                <a:lnTo>
                  <a:pt x="114" y="127"/>
                </a:lnTo>
                <a:lnTo>
                  <a:pt x="113" y="115"/>
                </a:lnTo>
                <a:lnTo>
                  <a:pt x="118" y="115"/>
                </a:lnTo>
                <a:lnTo>
                  <a:pt x="130" y="132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31" name="Freeform 220"/>
          <p:cNvSpPr>
            <a:spLocks noChangeAspect="1"/>
          </p:cNvSpPr>
          <p:nvPr/>
        </p:nvSpPr>
        <p:spPr bwMode="gray">
          <a:xfrm>
            <a:off x="2403475" y="3413125"/>
            <a:ext cx="25400" cy="58738"/>
          </a:xfrm>
          <a:custGeom>
            <a:avLst/>
            <a:gdLst>
              <a:gd name="T0" fmla="*/ 2147483647 w 51"/>
              <a:gd name="T1" fmla="*/ 2147483647 h 119"/>
              <a:gd name="T2" fmla="*/ 0 w 51"/>
              <a:gd name="T3" fmla="*/ 2147483647 h 119"/>
              <a:gd name="T4" fmla="*/ 2147483647 w 51"/>
              <a:gd name="T5" fmla="*/ 2147483647 h 119"/>
              <a:gd name="T6" fmla="*/ 2147483647 w 51"/>
              <a:gd name="T7" fmla="*/ 2147483647 h 119"/>
              <a:gd name="T8" fmla="*/ 2147483647 w 51"/>
              <a:gd name="T9" fmla="*/ 2147483647 h 119"/>
              <a:gd name="T10" fmla="*/ 2147483647 w 51"/>
              <a:gd name="T11" fmla="*/ 0 h 119"/>
              <a:gd name="T12" fmla="*/ 2147483647 w 51"/>
              <a:gd name="T13" fmla="*/ 2147483647 h 119"/>
              <a:gd name="T14" fmla="*/ 2147483647 w 51"/>
              <a:gd name="T15" fmla="*/ 2147483647 h 119"/>
              <a:gd name="T16" fmla="*/ 2147483647 w 51"/>
              <a:gd name="T17" fmla="*/ 2147483647 h 119"/>
              <a:gd name="T18" fmla="*/ 2147483647 w 51"/>
              <a:gd name="T19" fmla="*/ 2147483647 h 119"/>
              <a:gd name="T20" fmla="*/ 2147483647 w 51"/>
              <a:gd name="T21" fmla="*/ 2147483647 h 119"/>
              <a:gd name="T22" fmla="*/ 2147483647 w 51"/>
              <a:gd name="T23" fmla="*/ 2147483647 h 11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51"/>
              <a:gd name="T37" fmla="*/ 0 h 119"/>
              <a:gd name="T38" fmla="*/ 51 w 51"/>
              <a:gd name="T39" fmla="*/ 119 h 119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51" h="119">
                <a:moveTo>
                  <a:pt x="15" y="119"/>
                </a:moveTo>
                <a:lnTo>
                  <a:pt x="0" y="118"/>
                </a:lnTo>
                <a:lnTo>
                  <a:pt x="1" y="27"/>
                </a:lnTo>
                <a:lnTo>
                  <a:pt x="17" y="25"/>
                </a:lnTo>
                <a:lnTo>
                  <a:pt x="30" y="2"/>
                </a:lnTo>
                <a:lnTo>
                  <a:pt x="37" y="0"/>
                </a:lnTo>
                <a:lnTo>
                  <a:pt x="51" y="10"/>
                </a:lnTo>
                <a:lnTo>
                  <a:pt x="43" y="34"/>
                </a:lnTo>
                <a:lnTo>
                  <a:pt x="42" y="74"/>
                </a:lnTo>
                <a:lnTo>
                  <a:pt x="37" y="91"/>
                </a:lnTo>
                <a:lnTo>
                  <a:pt x="17" y="110"/>
                </a:lnTo>
                <a:lnTo>
                  <a:pt x="15" y="119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32" name="Freeform 221"/>
          <p:cNvSpPr>
            <a:spLocks noChangeAspect="1"/>
          </p:cNvSpPr>
          <p:nvPr/>
        </p:nvSpPr>
        <p:spPr bwMode="gray">
          <a:xfrm>
            <a:off x="2647950" y="3408363"/>
            <a:ext cx="46038" cy="20637"/>
          </a:xfrm>
          <a:custGeom>
            <a:avLst/>
            <a:gdLst>
              <a:gd name="T0" fmla="*/ 2147483647 w 95"/>
              <a:gd name="T1" fmla="*/ 2147483647 h 38"/>
              <a:gd name="T2" fmla="*/ 2147483647 w 95"/>
              <a:gd name="T3" fmla="*/ 2147483647 h 38"/>
              <a:gd name="T4" fmla="*/ 2147483647 w 95"/>
              <a:gd name="T5" fmla="*/ 2147483647 h 38"/>
              <a:gd name="T6" fmla="*/ 2147483647 w 95"/>
              <a:gd name="T7" fmla="*/ 2147483647 h 38"/>
              <a:gd name="T8" fmla="*/ 2147483647 w 95"/>
              <a:gd name="T9" fmla="*/ 2147483647 h 38"/>
              <a:gd name="T10" fmla="*/ 2147483647 w 95"/>
              <a:gd name="T11" fmla="*/ 2147483647 h 38"/>
              <a:gd name="T12" fmla="*/ 2147483647 w 95"/>
              <a:gd name="T13" fmla="*/ 2147483647 h 38"/>
              <a:gd name="T14" fmla="*/ 2147483647 w 95"/>
              <a:gd name="T15" fmla="*/ 2147483647 h 38"/>
              <a:gd name="T16" fmla="*/ 0 w 95"/>
              <a:gd name="T17" fmla="*/ 2147483647 h 38"/>
              <a:gd name="T18" fmla="*/ 2147483647 w 95"/>
              <a:gd name="T19" fmla="*/ 0 h 38"/>
              <a:gd name="T20" fmla="*/ 2147483647 w 95"/>
              <a:gd name="T21" fmla="*/ 2147483647 h 3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95"/>
              <a:gd name="T34" fmla="*/ 0 h 38"/>
              <a:gd name="T35" fmla="*/ 95 w 95"/>
              <a:gd name="T36" fmla="*/ 38 h 38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95" h="38">
                <a:moveTo>
                  <a:pt x="55" y="6"/>
                </a:moveTo>
                <a:lnTo>
                  <a:pt x="72" y="16"/>
                </a:lnTo>
                <a:lnTo>
                  <a:pt x="89" y="16"/>
                </a:lnTo>
                <a:lnTo>
                  <a:pt x="95" y="31"/>
                </a:lnTo>
                <a:lnTo>
                  <a:pt x="75" y="29"/>
                </a:lnTo>
                <a:lnTo>
                  <a:pt x="58" y="33"/>
                </a:lnTo>
                <a:lnTo>
                  <a:pt x="55" y="38"/>
                </a:lnTo>
                <a:lnTo>
                  <a:pt x="30" y="33"/>
                </a:lnTo>
                <a:lnTo>
                  <a:pt x="0" y="11"/>
                </a:lnTo>
                <a:lnTo>
                  <a:pt x="21" y="0"/>
                </a:lnTo>
                <a:lnTo>
                  <a:pt x="55" y="6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33" name="Freeform 222"/>
          <p:cNvSpPr>
            <a:spLocks noChangeAspect="1"/>
          </p:cNvSpPr>
          <p:nvPr/>
        </p:nvSpPr>
        <p:spPr bwMode="gray">
          <a:xfrm>
            <a:off x="2897188" y="3411538"/>
            <a:ext cx="33337" cy="12700"/>
          </a:xfrm>
          <a:custGeom>
            <a:avLst/>
            <a:gdLst>
              <a:gd name="T0" fmla="*/ 2147483647 w 70"/>
              <a:gd name="T1" fmla="*/ 2147483647 h 25"/>
              <a:gd name="T2" fmla="*/ 2147483647 w 70"/>
              <a:gd name="T3" fmla="*/ 2147483647 h 25"/>
              <a:gd name="T4" fmla="*/ 2147483647 w 70"/>
              <a:gd name="T5" fmla="*/ 2147483647 h 25"/>
              <a:gd name="T6" fmla="*/ 2147483647 w 70"/>
              <a:gd name="T7" fmla="*/ 2147483647 h 25"/>
              <a:gd name="T8" fmla="*/ 2147483647 w 70"/>
              <a:gd name="T9" fmla="*/ 2147483647 h 25"/>
              <a:gd name="T10" fmla="*/ 0 w 70"/>
              <a:gd name="T11" fmla="*/ 2147483647 h 25"/>
              <a:gd name="T12" fmla="*/ 2147483647 w 70"/>
              <a:gd name="T13" fmla="*/ 0 h 25"/>
              <a:gd name="T14" fmla="*/ 2147483647 w 70"/>
              <a:gd name="T15" fmla="*/ 2147483647 h 25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70"/>
              <a:gd name="T25" fmla="*/ 0 h 25"/>
              <a:gd name="T26" fmla="*/ 70 w 70"/>
              <a:gd name="T27" fmla="*/ 25 h 25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70" h="25">
                <a:moveTo>
                  <a:pt x="64" y="2"/>
                </a:moveTo>
                <a:lnTo>
                  <a:pt x="70" y="13"/>
                </a:lnTo>
                <a:lnTo>
                  <a:pt x="58" y="22"/>
                </a:lnTo>
                <a:lnTo>
                  <a:pt x="42" y="25"/>
                </a:lnTo>
                <a:lnTo>
                  <a:pt x="7" y="25"/>
                </a:lnTo>
                <a:lnTo>
                  <a:pt x="0" y="8"/>
                </a:lnTo>
                <a:lnTo>
                  <a:pt x="5" y="0"/>
                </a:lnTo>
                <a:lnTo>
                  <a:pt x="64" y="2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34" name="Freeform 223"/>
          <p:cNvSpPr>
            <a:spLocks noChangeAspect="1" noEditPoints="1"/>
          </p:cNvSpPr>
          <p:nvPr/>
        </p:nvSpPr>
        <p:spPr bwMode="gray">
          <a:xfrm>
            <a:off x="3155950" y="1484313"/>
            <a:ext cx="765175" cy="669925"/>
          </a:xfrm>
          <a:custGeom>
            <a:avLst/>
            <a:gdLst>
              <a:gd name="T0" fmla="*/ 2147483647 w 1573"/>
              <a:gd name="T1" fmla="*/ 2147483647 h 1377"/>
              <a:gd name="T2" fmla="*/ 2147483647 w 1573"/>
              <a:gd name="T3" fmla="*/ 2147483647 h 1377"/>
              <a:gd name="T4" fmla="*/ 2147483647 w 1573"/>
              <a:gd name="T5" fmla="*/ 2147483647 h 1377"/>
              <a:gd name="T6" fmla="*/ 2147483647 w 1573"/>
              <a:gd name="T7" fmla="*/ 2147483647 h 1377"/>
              <a:gd name="T8" fmla="*/ 2147483647 w 1573"/>
              <a:gd name="T9" fmla="*/ 2147483647 h 1377"/>
              <a:gd name="T10" fmla="*/ 2147483647 w 1573"/>
              <a:gd name="T11" fmla="*/ 2147483647 h 1377"/>
              <a:gd name="T12" fmla="*/ 2147483647 w 1573"/>
              <a:gd name="T13" fmla="*/ 0 h 1377"/>
              <a:gd name="T14" fmla="*/ 2147483647 w 1573"/>
              <a:gd name="T15" fmla="*/ 2147483647 h 1377"/>
              <a:gd name="T16" fmla="*/ 2147483647 w 1573"/>
              <a:gd name="T17" fmla="*/ 2147483647 h 1377"/>
              <a:gd name="T18" fmla="*/ 2147483647 w 1573"/>
              <a:gd name="T19" fmla="*/ 2147483647 h 1377"/>
              <a:gd name="T20" fmla="*/ 2147483647 w 1573"/>
              <a:gd name="T21" fmla="*/ 2147483647 h 1377"/>
              <a:gd name="T22" fmla="*/ 2147483647 w 1573"/>
              <a:gd name="T23" fmla="*/ 2147483647 h 1377"/>
              <a:gd name="T24" fmla="*/ 2147483647 w 1573"/>
              <a:gd name="T25" fmla="*/ 2147483647 h 1377"/>
              <a:gd name="T26" fmla="*/ 2147483647 w 1573"/>
              <a:gd name="T27" fmla="*/ 2147483647 h 1377"/>
              <a:gd name="T28" fmla="*/ 2147483647 w 1573"/>
              <a:gd name="T29" fmla="*/ 2147483647 h 1377"/>
              <a:gd name="T30" fmla="*/ 2147483647 w 1573"/>
              <a:gd name="T31" fmla="*/ 2147483647 h 1377"/>
              <a:gd name="T32" fmla="*/ 2147483647 w 1573"/>
              <a:gd name="T33" fmla="*/ 2147483647 h 1377"/>
              <a:gd name="T34" fmla="*/ 2147483647 w 1573"/>
              <a:gd name="T35" fmla="*/ 2147483647 h 1377"/>
              <a:gd name="T36" fmla="*/ 2147483647 w 1573"/>
              <a:gd name="T37" fmla="*/ 2147483647 h 1377"/>
              <a:gd name="T38" fmla="*/ 2147483647 w 1573"/>
              <a:gd name="T39" fmla="*/ 2147483647 h 1377"/>
              <a:gd name="T40" fmla="*/ 2147483647 w 1573"/>
              <a:gd name="T41" fmla="*/ 2147483647 h 1377"/>
              <a:gd name="T42" fmla="*/ 2147483647 w 1573"/>
              <a:gd name="T43" fmla="*/ 2147483647 h 1377"/>
              <a:gd name="T44" fmla="*/ 2147483647 w 1573"/>
              <a:gd name="T45" fmla="*/ 2147483647 h 1377"/>
              <a:gd name="T46" fmla="*/ 2147483647 w 1573"/>
              <a:gd name="T47" fmla="*/ 2147483647 h 1377"/>
              <a:gd name="T48" fmla="*/ 2147483647 w 1573"/>
              <a:gd name="T49" fmla="*/ 2147483647 h 1377"/>
              <a:gd name="T50" fmla="*/ 2147483647 w 1573"/>
              <a:gd name="T51" fmla="*/ 2147483647 h 1377"/>
              <a:gd name="T52" fmla="*/ 2147483647 w 1573"/>
              <a:gd name="T53" fmla="*/ 2147483647 h 1377"/>
              <a:gd name="T54" fmla="*/ 2147483647 w 1573"/>
              <a:gd name="T55" fmla="*/ 2147483647 h 1377"/>
              <a:gd name="T56" fmla="*/ 2147483647 w 1573"/>
              <a:gd name="T57" fmla="*/ 2147483647 h 1377"/>
              <a:gd name="T58" fmla="*/ 2147483647 w 1573"/>
              <a:gd name="T59" fmla="*/ 2147483647 h 1377"/>
              <a:gd name="T60" fmla="*/ 2147483647 w 1573"/>
              <a:gd name="T61" fmla="*/ 2147483647 h 1377"/>
              <a:gd name="T62" fmla="*/ 2147483647 w 1573"/>
              <a:gd name="T63" fmla="*/ 2147483647 h 1377"/>
              <a:gd name="T64" fmla="*/ 2147483647 w 1573"/>
              <a:gd name="T65" fmla="*/ 2147483647 h 1377"/>
              <a:gd name="T66" fmla="*/ 2147483647 w 1573"/>
              <a:gd name="T67" fmla="*/ 2147483647 h 1377"/>
              <a:gd name="T68" fmla="*/ 2147483647 w 1573"/>
              <a:gd name="T69" fmla="*/ 2147483647 h 1377"/>
              <a:gd name="T70" fmla="*/ 2147483647 w 1573"/>
              <a:gd name="T71" fmla="*/ 2147483647 h 1377"/>
              <a:gd name="T72" fmla="*/ 2147483647 w 1573"/>
              <a:gd name="T73" fmla="*/ 2147483647 h 1377"/>
              <a:gd name="T74" fmla="*/ 2147483647 w 1573"/>
              <a:gd name="T75" fmla="*/ 2147483647 h 1377"/>
              <a:gd name="T76" fmla="*/ 2147483647 w 1573"/>
              <a:gd name="T77" fmla="*/ 2147483647 h 1377"/>
              <a:gd name="T78" fmla="*/ 2147483647 w 1573"/>
              <a:gd name="T79" fmla="*/ 2147483647 h 1377"/>
              <a:gd name="T80" fmla="*/ 2147483647 w 1573"/>
              <a:gd name="T81" fmla="*/ 2147483647 h 1377"/>
              <a:gd name="T82" fmla="*/ 2147483647 w 1573"/>
              <a:gd name="T83" fmla="*/ 2147483647 h 1377"/>
              <a:gd name="T84" fmla="*/ 2147483647 w 1573"/>
              <a:gd name="T85" fmla="*/ 2147483647 h 1377"/>
              <a:gd name="T86" fmla="*/ 2147483647 w 1573"/>
              <a:gd name="T87" fmla="*/ 2147483647 h 1377"/>
              <a:gd name="T88" fmla="*/ 2147483647 w 1573"/>
              <a:gd name="T89" fmla="*/ 2147483647 h 1377"/>
              <a:gd name="T90" fmla="*/ 2147483647 w 1573"/>
              <a:gd name="T91" fmla="*/ 2147483647 h 1377"/>
              <a:gd name="T92" fmla="*/ 2147483647 w 1573"/>
              <a:gd name="T93" fmla="*/ 2147483647 h 1377"/>
              <a:gd name="T94" fmla="*/ 2147483647 w 1573"/>
              <a:gd name="T95" fmla="*/ 2147483647 h 1377"/>
              <a:gd name="T96" fmla="*/ 2147483647 w 1573"/>
              <a:gd name="T97" fmla="*/ 2147483647 h 1377"/>
              <a:gd name="T98" fmla="*/ 2147483647 w 1573"/>
              <a:gd name="T99" fmla="*/ 2147483647 h 1377"/>
              <a:gd name="T100" fmla="*/ 2147483647 w 1573"/>
              <a:gd name="T101" fmla="*/ 2147483647 h 1377"/>
              <a:gd name="T102" fmla="*/ 2147483647 w 1573"/>
              <a:gd name="T103" fmla="*/ 2147483647 h 1377"/>
              <a:gd name="T104" fmla="*/ 2147483647 w 1573"/>
              <a:gd name="T105" fmla="*/ 2147483647 h 1377"/>
              <a:gd name="T106" fmla="*/ 2147483647 w 1573"/>
              <a:gd name="T107" fmla="*/ 2147483647 h 1377"/>
              <a:gd name="T108" fmla="*/ 2147483647 w 1573"/>
              <a:gd name="T109" fmla="*/ 2147483647 h 1377"/>
              <a:gd name="T110" fmla="*/ 2147483647 w 1573"/>
              <a:gd name="T111" fmla="*/ 2147483647 h 1377"/>
              <a:gd name="T112" fmla="*/ 2147483647 w 1573"/>
              <a:gd name="T113" fmla="*/ 2147483647 h 1377"/>
              <a:gd name="T114" fmla="*/ 2147483647 w 1573"/>
              <a:gd name="T115" fmla="*/ 2147483647 h 1377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573"/>
              <a:gd name="T175" fmla="*/ 0 h 1377"/>
              <a:gd name="T176" fmla="*/ 1573 w 1573"/>
              <a:gd name="T177" fmla="*/ 1377 h 1377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573" h="1377">
                <a:moveTo>
                  <a:pt x="13" y="0"/>
                </a:moveTo>
                <a:lnTo>
                  <a:pt x="101" y="0"/>
                </a:lnTo>
                <a:lnTo>
                  <a:pt x="72" y="30"/>
                </a:lnTo>
                <a:lnTo>
                  <a:pt x="81" y="40"/>
                </a:lnTo>
                <a:lnTo>
                  <a:pt x="81" y="53"/>
                </a:lnTo>
                <a:lnTo>
                  <a:pt x="56" y="67"/>
                </a:lnTo>
                <a:lnTo>
                  <a:pt x="27" y="49"/>
                </a:lnTo>
                <a:lnTo>
                  <a:pt x="18" y="60"/>
                </a:lnTo>
                <a:lnTo>
                  <a:pt x="5" y="35"/>
                </a:lnTo>
                <a:lnTo>
                  <a:pt x="0" y="21"/>
                </a:lnTo>
                <a:lnTo>
                  <a:pt x="9" y="7"/>
                </a:lnTo>
                <a:lnTo>
                  <a:pt x="13" y="0"/>
                </a:lnTo>
                <a:close/>
                <a:moveTo>
                  <a:pt x="1398" y="138"/>
                </a:moveTo>
                <a:lnTo>
                  <a:pt x="1401" y="168"/>
                </a:lnTo>
                <a:lnTo>
                  <a:pt x="1390" y="177"/>
                </a:lnTo>
                <a:lnTo>
                  <a:pt x="1277" y="196"/>
                </a:lnTo>
                <a:lnTo>
                  <a:pt x="1280" y="170"/>
                </a:lnTo>
                <a:lnTo>
                  <a:pt x="1319" y="140"/>
                </a:lnTo>
                <a:lnTo>
                  <a:pt x="1376" y="112"/>
                </a:lnTo>
                <a:lnTo>
                  <a:pt x="1398" y="138"/>
                </a:lnTo>
                <a:close/>
                <a:moveTo>
                  <a:pt x="581" y="1353"/>
                </a:moveTo>
                <a:lnTo>
                  <a:pt x="544" y="1352"/>
                </a:lnTo>
                <a:lnTo>
                  <a:pt x="558" y="1362"/>
                </a:lnTo>
                <a:lnTo>
                  <a:pt x="581" y="1353"/>
                </a:lnTo>
                <a:close/>
                <a:moveTo>
                  <a:pt x="544" y="1364"/>
                </a:moveTo>
                <a:lnTo>
                  <a:pt x="542" y="1377"/>
                </a:lnTo>
                <a:lnTo>
                  <a:pt x="559" y="1369"/>
                </a:lnTo>
                <a:lnTo>
                  <a:pt x="544" y="1364"/>
                </a:lnTo>
                <a:close/>
                <a:moveTo>
                  <a:pt x="64" y="213"/>
                </a:moveTo>
                <a:lnTo>
                  <a:pt x="119" y="233"/>
                </a:lnTo>
                <a:lnTo>
                  <a:pt x="148" y="278"/>
                </a:lnTo>
                <a:lnTo>
                  <a:pt x="178" y="294"/>
                </a:lnTo>
                <a:lnTo>
                  <a:pt x="178" y="309"/>
                </a:lnTo>
                <a:lnTo>
                  <a:pt x="162" y="331"/>
                </a:lnTo>
                <a:lnTo>
                  <a:pt x="114" y="348"/>
                </a:lnTo>
                <a:lnTo>
                  <a:pt x="75" y="338"/>
                </a:lnTo>
                <a:lnTo>
                  <a:pt x="105" y="323"/>
                </a:lnTo>
                <a:lnTo>
                  <a:pt x="43" y="311"/>
                </a:lnTo>
                <a:lnTo>
                  <a:pt x="41" y="299"/>
                </a:lnTo>
                <a:lnTo>
                  <a:pt x="64" y="301"/>
                </a:lnTo>
                <a:lnTo>
                  <a:pt x="41" y="278"/>
                </a:lnTo>
                <a:lnTo>
                  <a:pt x="69" y="270"/>
                </a:lnTo>
                <a:lnTo>
                  <a:pt x="46" y="239"/>
                </a:lnTo>
                <a:lnTo>
                  <a:pt x="46" y="224"/>
                </a:lnTo>
                <a:lnTo>
                  <a:pt x="64" y="213"/>
                </a:lnTo>
                <a:close/>
                <a:moveTo>
                  <a:pt x="116" y="0"/>
                </a:moveTo>
                <a:lnTo>
                  <a:pt x="120" y="0"/>
                </a:lnTo>
                <a:lnTo>
                  <a:pt x="117" y="3"/>
                </a:lnTo>
                <a:lnTo>
                  <a:pt x="116" y="0"/>
                </a:lnTo>
                <a:close/>
                <a:moveTo>
                  <a:pt x="128" y="0"/>
                </a:moveTo>
                <a:lnTo>
                  <a:pt x="1531" y="0"/>
                </a:lnTo>
                <a:lnTo>
                  <a:pt x="1533" y="7"/>
                </a:lnTo>
                <a:lnTo>
                  <a:pt x="1553" y="16"/>
                </a:lnTo>
                <a:lnTo>
                  <a:pt x="1529" y="55"/>
                </a:lnTo>
                <a:lnTo>
                  <a:pt x="1529" y="80"/>
                </a:lnTo>
                <a:lnTo>
                  <a:pt x="1542" y="57"/>
                </a:lnTo>
                <a:lnTo>
                  <a:pt x="1567" y="50"/>
                </a:lnTo>
                <a:lnTo>
                  <a:pt x="1562" y="104"/>
                </a:lnTo>
                <a:lnTo>
                  <a:pt x="1551" y="111"/>
                </a:lnTo>
                <a:lnTo>
                  <a:pt x="1565" y="120"/>
                </a:lnTo>
                <a:lnTo>
                  <a:pt x="1567" y="140"/>
                </a:lnTo>
                <a:lnTo>
                  <a:pt x="1562" y="145"/>
                </a:lnTo>
                <a:lnTo>
                  <a:pt x="1567" y="176"/>
                </a:lnTo>
                <a:lnTo>
                  <a:pt x="1573" y="179"/>
                </a:lnTo>
                <a:lnTo>
                  <a:pt x="1573" y="194"/>
                </a:lnTo>
                <a:lnTo>
                  <a:pt x="1542" y="191"/>
                </a:lnTo>
                <a:lnTo>
                  <a:pt x="1534" y="146"/>
                </a:lnTo>
                <a:lnTo>
                  <a:pt x="1529" y="145"/>
                </a:lnTo>
                <a:lnTo>
                  <a:pt x="1526" y="196"/>
                </a:lnTo>
                <a:lnTo>
                  <a:pt x="1489" y="191"/>
                </a:lnTo>
                <a:lnTo>
                  <a:pt x="1460" y="155"/>
                </a:lnTo>
                <a:lnTo>
                  <a:pt x="1452" y="109"/>
                </a:lnTo>
                <a:lnTo>
                  <a:pt x="1429" y="72"/>
                </a:lnTo>
                <a:lnTo>
                  <a:pt x="1412" y="74"/>
                </a:lnTo>
                <a:lnTo>
                  <a:pt x="1353" y="32"/>
                </a:lnTo>
                <a:lnTo>
                  <a:pt x="1330" y="37"/>
                </a:lnTo>
                <a:lnTo>
                  <a:pt x="1296" y="3"/>
                </a:lnTo>
                <a:lnTo>
                  <a:pt x="1301" y="26"/>
                </a:lnTo>
                <a:lnTo>
                  <a:pt x="1287" y="30"/>
                </a:lnTo>
                <a:lnTo>
                  <a:pt x="1313" y="41"/>
                </a:lnTo>
                <a:lnTo>
                  <a:pt x="1311" y="52"/>
                </a:lnTo>
                <a:lnTo>
                  <a:pt x="1376" y="52"/>
                </a:lnTo>
                <a:lnTo>
                  <a:pt x="1389" y="67"/>
                </a:lnTo>
                <a:lnTo>
                  <a:pt x="1390" y="89"/>
                </a:lnTo>
                <a:lnTo>
                  <a:pt x="1376" y="80"/>
                </a:lnTo>
                <a:lnTo>
                  <a:pt x="1384" y="94"/>
                </a:lnTo>
                <a:lnTo>
                  <a:pt x="1341" y="126"/>
                </a:lnTo>
                <a:lnTo>
                  <a:pt x="1305" y="126"/>
                </a:lnTo>
                <a:lnTo>
                  <a:pt x="1293" y="112"/>
                </a:lnTo>
                <a:lnTo>
                  <a:pt x="1291" y="129"/>
                </a:lnTo>
                <a:lnTo>
                  <a:pt x="1267" y="126"/>
                </a:lnTo>
                <a:lnTo>
                  <a:pt x="1265" y="133"/>
                </a:lnTo>
                <a:lnTo>
                  <a:pt x="1276" y="148"/>
                </a:lnTo>
                <a:lnTo>
                  <a:pt x="1268" y="170"/>
                </a:lnTo>
                <a:lnTo>
                  <a:pt x="1234" y="194"/>
                </a:lnTo>
                <a:lnTo>
                  <a:pt x="1274" y="208"/>
                </a:lnTo>
                <a:lnTo>
                  <a:pt x="1339" y="201"/>
                </a:lnTo>
                <a:lnTo>
                  <a:pt x="1347" y="211"/>
                </a:lnTo>
                <a:lnTo>
                  <a:pt x="1250" y="252"/>
                </a:lnTo>
                <a:lnTo>
                  <a:pt x="1280" y="255"/>
                </a:lnTo>
                <a:lnTo>
                  <a:pt x="1310" y="256"/>
                </a:lnTo>
                <a:lnTo>
                  <a:pt x="1318" y="235"/>
                </a:lnTo>
                <a:lnTo>
                  <a:pt x="1353" y="233"/>
                </a:lnTo>
                <a:lnTo>
                  <a:pt x="1398" y="205"/>
                </a:lnTo>
                <a:lnTo>
                  <a:pt x="1474" y="244"/>
                </a:lnTo>
                <a:lnTo>
                  <a:pt x="1550" y="238"/>
                </a:lnTo>
                <a:lnTo>
                  <a:pt x="1537" y="265"/>
                </a:lnTo>
                <a:lnTo>
                  <a:pt x="1504" y="267"/>
                </a:lnTo>
                <a:lnTo>
                  <a:pt x="1499" y="275"/>
                </a:lnTo>
                <a:lnTo>
                  <a:pt x="1495" y="277"/>
                </a:lnTo>
                <a:lnTo>
                  <a:pt x="1469" y="294"/>
                </a:lnTo>
                <a:lnTo>
                  <a:pt x="1478" y="304"/>
                </a:lnTo>
                <a:lnTo>
                  <a:pt x="1474" y="320"/>
                </a:lnTo>
                <a:lnTo>
                  <a:pt x="1446" y="316"/>
                </a:lnTo>
                <a:lnTo>
                  <a:pt x="1457" y="335"/>
                </a:lnTo>
                <a:lnTo>
                  <a:pt x="1444" y="329"/>
                </a:lnTo>
                <a:lnTo>
                  <a:pt x="1424" y="360"/>
                </a:lnTo>
                <a:lnTo>
                  <a:pt x="1415" y="363"/>
                </a:lnTo>
                <a:lnTo>
                  <a:pt x="1415" y="377"/>
                </a:lnTo>
                <a:lnTo>
                  <a:pt x="1387" y="377"/>
                </a:lnTo>
                <a:lnTo>
                  <a:pt x="1395" y="394"/>
                </a:lnTo>
                <a:lnTo>
                  <a:pt x="1358" y="417"/>
                </a:lnTo>
                <a:lnTo>
                  <a:pt x="1356" y="428"/>
                </a:lnTo>
                <a:lnTo>
                  <a:pt x="1330" y="429"/>
                </a:lnTo>
                <a:lnTo>
                  <a:pt x="1324" y="443"/>
                </a:lnTo>
                <a:lnTo>
                  <a:pt x="1288" y="456"/>
                </a:lnTo>
                <a:lnTo>
                  <a:pt x="1279" y="445"/>
                </a:lnTo>
                <a:lnTo>
                  <a:pt x="1211" y="484"/>
                </a:lnTo>
                <a:lnTo>
                  <a:pt x="1191" y="463"/>
                </a:lnTo>
                <a:lnTo>
                  <a:pt x="1184" y="473"/>
                </a:lnTo>
                <a:lnTo>
                  <a:pt x="1187" y="485"/>
                </a:lnTo>
                <a:lnTo>
                  <a:pt x="1175" y="485"/>
                </a:lnTo>
                <a:lnTo>
                  <a:pt x="1183" y="493"/>
                </a:lnTo>
                <a:lnTo>
                  <a:pt x="1175" y="502"/>
                </a:lnTo>
                <a:lnTo>
                  <a:pt x="1169" y="485"/>
                </a:lnTo>
                <a:lnTo>
                  <a:pt x="1152" y="480"/>
                </a:lnTo>
                <a:lnTo>
                  <a:pt x="1163" y="504"/>
                </a:lnTo>
                <a:lnTo>
                  <a:pt x="1138" y="490"/>
                </a:lnTo>
                <a:lnTo>
                  <a:pt x="1133" y="499"/>
                </a:lnTo>
                <a:lnTo>
                  <a:pt x="1140" y="509"/>
                </a:lnTo>
                <a:lnTo>
                  <a:pt x="1111" y="509"/>
                </a:lnTo>
                <a:lnTo>
                  <a:pt x="1101" y="487"/>
                </a:lnTo>
                <a:lnTo>
                  <a:pt x="1109" y="484"/>
                </a:lnTo>
                <a:lnTo>
                  <a:pt x="1093" y="479"/>
                </a:lnTo>
                <a:lnTo>
                  <a:pt x="1084" y="453"/>
                </a:lnTo>
                <a:lnTo>
                  <a:pt x="1079" y="463"/>
                </a:lnTo>
                <a:lnTo>
                  <a:pt x="1078" y="445"/>
                </a:lnTo>
                <a:lnTo>
                  <a:pt x="1069" y="436"/>
                </a:lnTo>
                <a:lnTo>
                  <a:pt x="1070" y="446"/>
                </a:lnTo>
                <a:lnTo>
                  <a:pt x="1061" y="448"/>
                </a:lnTo>
                <a:lnTo>
                  <a:pt x="1079" y="485"/>
                </a:lnTo>
                <a:lnTo>
                  <a:pt x="1073" y="488"/>
                </a:lnTo>
                <a:lnTo>
                  <a:pt x="1094" y="505"/>
                </a:lnTo>
                <a:lnTo>
                  <a:pt x="1087" y="509"/>
                </a:lnTo>
                <a:lnTo>
                  <a:pt x="1084" y="529"/>
                </a:lnTo>
                <a:lnTo>
                  <a:pt x="1072" y="524"/>
                </a:lnTo>
                <a:lnTo>
                  <a:pt x="1055" y="546"/>
                </a:lnTo>
                <a:lnTo>
                  <a:pt x="1038" y="550"/>
                </a:lnTo>
                <a:lnTo>
                  <a:pt x="1038" y="566"/>
                </a:lnTo>
                <a:lnTo>
                  <a:pt x="1031" y="569"/>
                </a:lnTo>
                <a:lnTo>
                  <a:pt x="1030" y="590"/>
                </a:lnTo>
                <a:lnTo>
                  <a:pt x="1022" y="590"/>
                </a:lnTo>
                <a:lnTo>
                  <a:pt x="1027" y="604"/>
                </a:lnTo>
                <a:lnTo>
                  <a:pt x="1022" y="626"/>
                </a:lnTo>
                <a:lnTo>
                  <a:pt x="1002" y="641"/>
                </a:lnTo>
                <a:lnTo>
                  <a:pt x="1006" y="656"/>
                </a:lnTo>
                <a:lnTo>
                  <a:pt x="999" y="651"/>
                </a:lnTo>
                <a:lnTo>
                  <a:pt x="993" y="678"/>
                </a:lnTo>
                <a:lnTo>
                  <a:pt x="984" y="663"/>
                </a:lnTo>
                <a:lnTo>
                  <a:pt x="969" y="708"/>
                </a:lnTo>
                <a:lnTo>
                  <a:pt x="955" y="710"/>
                </a:lnTo>
                <a:lnTo>
                  <a:pt x="952" y="699"/>
                </a:lnTo>
                <a:lnTo>
                  <a:pt x="946" y="710"/>
                </a:lnTo>
                <a:lnTo>
                  <a:pt x="952" y="720"/>
                </a:lnTo>
                <a:lnTo>
                  <a:pt x="946" y="719"/>
                </a:lnTo>
                <a:lnTo>
                  <a:pt x="918" y="700"/>
                </a:lnTo>
                <a:lnTo>
                  <a:pt x="917" y="708"/>
                </a:lnTo>
                <a:lnTo>
                  <a:pt x="926" y="724"/>
                </a:lnTo>
                <a:lnTo>
                  <a:pt x="909" y="759"/>
                </a:lnTo>
                <a:lnTo>
                  <a:pt x="892" y="756"/>
                </a:lnTo>
                <a:lnTo>
                  <a:pt x="894" y="744"/>
                </a:lnTo>
                <a:lnTo>
                  <a:pt x="889" y="744"/>
                </a:lnTo>
                <a:lnTo>
                  <a:pt x="881" y="768"/>
                </a:lnTo>
                <a:lnTo>
                  <a:pt x="855" y="737"/>
                </a:lnTo>
                <a:lnTo>
                  <a:pt x="853" y="759"/>
                </a:lnTo>
                <a:lnTo>
                  <a:pt x="847" y="754"/>
                </a:lnTo>
                <a:lnTo>
                  <a:pt x="852" y="770"/>
                </a:lnTo>
                <a:lnTo>
                  <a:pt x="828" y="747"/>
                </a:lnTo>
                <a:lnTo>
                  <a:pt x="857" y="711"/>
                </a:lnTo>
                <a:lnTo>
                  <a:pt x="835" y="716"/>
                </a:lnTo>
                <a:lnTo>
                  <a:pt x="827" y="702"/>
                </a:lnTo>
                <a:lnTo>
                  <a:pt x="823" y="711"/>
                </a:lnTo>
                <a:lnTo>
                  <a:pt x="815" y="707"/>
                </a:lnTo>
                <a:lnTo>
                  <a:pt x="828" y="722"/>
                </a:lnTo>
                <a:lnTo>
                  <a:pt x="810" y="737"/>
                </a:lnTo>
                <a:lnTo>
                  <a:pt x="818" y="744"/>
                </a:lnTo>
                <a:lnTo>
                  <a:pt x="816" y="754"/>
                </a:lnTo>
                <a:lnTo>
                  <a:pt x="798" y="750"/>
                </a:lnTo>
                <a:lnTo>
                  <a:pt x="796" y="762"/>
                </a:lnTo>
                <a:lnTo>
                  <a:pt x="810" y="771"/>
                </a:lnTo>
                <a:lnTo>
                  <a:pt x="804" y="790"/>
                </a:lnTo>
                <a:lnTo>
                  <a:pt x="782" y="787"/>
                </a:lnTo>
                <a:lnTo>
                  <a:pt x="787" y="793"/>
                </a:lnTo>
                <a:lnTo>
                  <a:pt x="767" y="796"/>
                </a:lnTo>
                <a:lnTo>
                  <a:pt x="757" y="785"/>
                </a:lnTo>
                <a:lnTo>
                  <a:pt x="754" y="798"/>
                </a:lnTo>
                <a:lnTo>
                  <a:pt x="739" y="787"/>
                </a:lnTo>
                <a:lnTo>
                  <a:pt x="731" y="804"/>
                </a:lnTo>
                <a:lnTo>
                  <a:pt x="716" y="805"/>
                </a:lnTo>
                <a:lnTo>
                  <a:pt x="728" y="812"/>
                </a:lnTo>
                <a:lnTo>
                  <a:pt x="733" y="830"/>
                </a:lnTo>
                <a:lnTo>
                  <a:pt x="719" y="858"/>
                </a:lnTo>
                <a:lnTo>
                  <a:pt x="674" y="849"/>
                </a:lnTo>
                <a:lnTo>
                  <a:pt x="668" y="869"/>
                </a:lnTo>
                <a:lnTo>
                  <a:pt x="676" y="866"/>
                </a:lnTo>
                <a:lnTo>
                  <a:pt x="694" y="898"/>
                </a:lnTo>
                <a:lnTo>
                  <a:pt x="697" y="917"/>
                </a:lnTo>
                <a:lnTo>
                  <a:pt x="711" y="925"/>
                </a:lnTo>
                <a:lnTo>
                  <a:pt x="657" y="934"/>
                </a:lnTo>
                <a:lnTo>
                  <a:pt x="660" y="945"/>
                </a:lnTo>
                <a:lnTo>
                  <a:pt x="693" y="949"/>
                </a:lnTo>
                <a:lnTo>
                  <a:pt x="697" y="957"/>
                </a:lnTo>
                <a:lnTo>
                  <a:pt x="691" y="966"/>
                </a:lnTo>
                <a:lnTo>
                  <a:pt x="702" y="991"/>
                </a:lnTo>
                <a:lnTo>
                  <a:pt x="662" y="986"/>
                </a:lnTo>
                <a:lnTo>
                  <a:pt x="689" y="998"/>
                </a:lnTo>
                <a:lnTo>
                  <a:pt x="693" y="1013"/>
                </a:lnTo>
                <a:lnTo>
                  <a:pt x="685" y="1027"/>
                </a:lnTo>
                <a:lnTo>
                  <a:pt x="672" y="1025"/>
                </a:lnTo>
                <a:lnTo>
                  <a:pt x="677" y="1037"/>
                </a:lnTo>
                <a:lnTo>
                  <a:pt x="669" y="1037"/>
                </a:lnTo>
                <a:lnTo>
                  <a:pt x="671" y="1045"/>
                </a:lnTo>
                <a:lnTo>
                  <a:pt x="654" y="1037"/>
                </a:lnTo>
                <a:lnTo>
                  <a:pt x="657" y="1045"/>
                </a:lnTo>
                <a:lnTo>
                  <a:pt x="651" y="1049"/>
                </a:lnTo>
                <a:lnTo>
                  <a:pt x="652" y="1056"/>
                </a:lnTo>
                <a:lnTo>
                  <a:pt x="664" y="1064"/>
                </a:lnTo>
                <a:lnTo>
                  <a:pt x="630" y="1053"/>
                </a:lnTo>
                <a:lnTo>
                  <a:pt x="651" y="1070"/>
                </a:lnTo>
                <a:lnTo>
                  <a:pt x="659" y="1069"/>
                </a:lnTo>
                <a:lnTo>
                  <a:pt x="659" y="1078"/>
                </a:lnTo>
                <a:lnTo>
                  <a:pt x="649" y="1084"/>
                </a:lnTo>
                <a:lnTo>
                  <a:pt x="615" y="1087"/>
                </a:lnTo>
                <a:lnTo>
                  <a:pt x="598" y="1103"/>
                </a:lnTo>
                <a:lnTo>
                  <a:pt x="613" y="1109"/>
                </a:lnTo>
                <a:lnTo>
                  <a:pt x="621" y="1129"/>
                </a:lnTo>
                <a:lnTo>
                  <a:pt x="630" y="1189"/>
                </a:lnTo>
                <a:lnTo>
                  <a:pt x="603" y="1239"/>
                </a:lnTo>
                <a:lnTo>
                  <a:pt x="596" y="1304"/>
                </a:lnTo>
                <a:lnTo>
                  <a:pt x="579" y="1319"/>
                </a:lnTo>
                <a:lnTo>
                  <a:pt x="586" y="1347"/>
                </a:lnTo>
                <a:lnTo>
                  <a:pt x="542" y="1345"/>
                </a:lnTo>
                <a:lnTo>
                  <a:pt x="541" y="1333"/>
                </a:lnTo>
                <a:lnTo>
                  <a:pt x="513" y="1355"/>
                </a:lnTo>
                <a:lnTo>
                  <a:pt x="490" y="1341"/>
                </a:lnTo>
                <a:lnTo>
                  <a:pt x="501" y="1307"/>
                </a:lnTo>
                <a:lnTo>
                  <a:pt x="487" y="1318"/>
                </a:lnTo>
                <a:lnTo>
                  <a:pt x="488" y="1298"/>
                </a:lnTo>
                <a:lnTo>
                  <a:pt x="485" y="1298"/>
                </a:lnTo>
                <a:lnTo>
                  <a:pt x="473" y="1315"/>
                </a:lnTo>
                <a:lnTo>
                  <a:pt x="462" y="1294"/>
                </a:lnTo>
                <a:lnTo>
                  <a:pt x="478" y="1281"/>
                </a:lnTo>
                <a:lnTo>
                  <a:pt x="478" y="1268"/>
                </a:lnTo>
                <a:lnTo>
                  <a:pt x="445" y="1291"/>
                </a:lnTo>
                <a:lnTo>
                  <a:pt x="442" y="1290"/>
                </a:lnTo>
                <a:lnTo>
                  <a:pt x="445" y="1282"/>
                </a:lnTo>
                <a:lnTo>
                  <a:pt x="470" y="1267"/>
                </a:lnTo>
                <a:lnTo>
                  <a:pt x="451" y="1268"/>
                </a:lnTo>
                <a:lnTo>
                  <a:pt x="454" y="1259"/>
                </a:lnTo>
                <a:lnTo>
                  <a:pt x="352" y="1282"/>
                </a:lnTo>
                <a:lnTo>
                  <a:pt x="378" y="1260"/>
                </a:lnTo>
                <a:lnTo>
                  <a:pt x="349" y="1242"/>
                </a:lnTo>
                <a:lnTo>
                  <a:pt x="335" y="1245"/>
                </a:lnTo>
                <a:lnTo>
                  <a:pt x="330" y="1240"/>
                </a:lnTo>
                <a:lnTo>
                  <a:pt x="330" y="1228"/>
                </a:lnTo>
                <a:lnTo>
                  <a:pt x="312" y="1228"/>
                </a:lnTo>
                <a:lnTo>
                  <a:pt x="349" y="1214"/>
                </a:lnTo>
                <a:lnTo>
                  <a:pt x="301" y="1217"/>
                </a:lnTo>
                <a:lnTo>
                  <a:pt x="315" y="1201"/>
                </a:lnTo>
                <a:lnTo>
                  <a:pt x="295" y="1177"/>
                </a:lnTo>
                <a:lnTo>
                  <a:pt x="313" y="1159"/>
                </a:lnTo>
                <a:lnTo>
                  <a:pt x="283" y="1169"/>
                </a:lnTo>
                <a:lnTo>
                  <a:pt x="279" y="1160"/>
                </a:lnTo>
                <a:lnTo>
                  <a:pt x="284" y="1155"/>
                </a:lnTo>
                <a:lnTo>
                  <a:pt x="281" y="1151"/>
                </a:lnTo>
                <a:lnTo>
                  <a:pt x="290" y="1146"/>
                </a:lnTo>
                <a:lnTo>
                  <a:pt x="273" y="1142"/>
                </a:lnTo>
                <a:lnTo>
                  <a:pt x="276" y="1127"/>
                </a:lnTo>
                <a:lnTo>
                  <a:pt x="258" y="1117"/>
                </a:lnTo>
                <a:lnTo>
                  <a:pt x="263" y="1089"/>
                </a:lnTo>
                <a:lnTo>
                  <a:pt x="255" y="1098"/>
                </a:lnTo>
                <a:lnTo>
                  <a:pt x="247" y="1073"/>
                </a:lnTo>
                <a:lnTo>
                  <a:pt x="233" y="1070"/>
                </a:lnTo>
                <a:lnTo>
                  <a:pt x="217" y="1042"/>
                </a:lnTo>
                <a:lnTo>
                  <a:pt x="213" y="1025"/>
                </a:lnTo>
                <a:lnTo>
                  <a:pt x="199" y="1007"/>
                </a:lnTo>
                <a:lnTo>
                  <a:pt x="207" y="993"/>
                </a:lnTo>
                <a:lnTo>
                  <a:pt x="199" y="996"/>
                </a:lnTo>
                <a:lnTo>
                  <a:pt x="200" y="974"/>
                </a:lnTo>
                <a:lnTo>
                  <a:pt x="196" y="957"/>
                </a:lnTo>
                <a:lnTo>
                  <a:pt x="221" y="942"/>
                </a:lnTo>
                <a:lnTo>
                  <a:pt x="224" y="929"/>
                </a:lnTo>
                <a:lnTo>
                  <a:pt x="258" y="917"/>
                </a:lnTo>
                <a:lnTo>
                  <a:pt x="230" y="908"/>
                </a:lnTo>
                <a:lnTo>
                  <a:pt x="239" y="894"/>
                </a:lnTo>
                <a:lnTo>
                  <a:pt x="264" y="900"/>
                </a:lnTo>
                <a:lnTo>
                  <a:pt x="259" y="886"/>
                </a:lnTo>
                <a:lnTo>
                  <a:pt x="233" y="880"/>
                </a:lnTo>
                <a:lnTo>
                  <a:pt x="227" y="894"/>
                </a:lnTo>
                <a:lnTo>
                  <a:pt x="210" y="895"/>
                </a:lnTo>
                <a:lnTo>
                  <a:pt x="188" y="939"/>
                </a:lnTo>
                <a:lnTo>
                  <a:pt x="171" y="942"/>
                </a:lnTo>
                <a:lnTo>
                  <a:pt x="170" y="898"/>
                </a:lnTo>
                <a:lnTo>
                  <a:pt x="182" y="880"/>
                </a:lnTo>
                <a:lnTo>
                  <a:pt x="171" y="881"/>
                </a:lnTo>
                <a:lnTo>
                  <a:pt x="168" y="860"/>
                </a:lnTo>
                <a:lnTo>
                  <a:pt x="159" y="855"/>
                </a:lnTo>
                <a:lnTo>
                  <a:pt x="165" y="839"/>
                </a:lnTo>
                <a:lnTo>
                  <a:pt x="162" y="827"/>
                </a:lnTo>
                <a:lnTo>
                  <a:pt x="154" y="839"/>
                </a:lnTo>
                <a:lnTo>
                  <a:pt x="151" y="827"/>
                </a:lnTo>
                <a:lnTo>
                  <a:pt x="165" y="813"/>
                </a:lnTo>
                <a:lnTo>
                  <a:pt x="142" y="805"/>
                </a:lnTo>
                <a:lnTo>
                  <a:pt x="140" y="779"/>
                </a:lnTo>
                <a:lnTo>
                  <a:pt x="122" y="788"/>
                </a:lnTo>
                <a:lnTo>
                  <a:pt x="136" y="761"/>
                </a:lnTo>
                <a:lnTo>
                  <a:pt x="122" y="768"/>
                </a:lnTo>
                <a:lnTo>
                  <a:pt x="111" y="747"/>
                </a:lnTo>
                <a:lnTo>
                  <a:pt x="131" y="728"/>
                </a:lnTo>
                <a:lnTo>
                  <a:pt x="105" y="728"/>
                </a:lnTo>
                <a:lnTo>
                  <a:pt x="114" y="717"/>
                </a:lnTo>
                <a:lnTo>
                  <a:pt x="102" y="710"/>
                </a:lnTo>
                <a:lnTo>
                  <a:pt x="105" y="688"/>
                </a:lnTo>
                <a:lnTo>
                  <a:pt x="120" y="691"/>
                </a:lnTo>
                <a:lnTo>
                  <a:pt x="108" y="678"/>
                </a:lnTo>
                <a:lnTo>
                  <a:pt x="125" y="663"/>
                </a:lnTo>
                <a:lnTo>
                  <a:pt x="128" y="646"/>
                </a:lnTo>
                <a:lnTo>
                  <a:pt x="100" y="648"/>
                </a:lnTo>
                <a:lnTo>
                  <a:pt x="102" y="635"/>
                </a:lnTo>
                <a:lnTo>
                  <a:pt x="86" y="624"/>
                </a:lnTo>
                <a:lnTo>
                  <a:pt x="86" y="604"/>
                </a:lnTo>
                <a:lnTo>
                  <a:pt x="97" y="592"/>
                </a:lnTo>
                <a:lnTo>
                  <a:pt x="94" y="583"/>
                </a:lnTo>
                <a:lnTo>
                  <a:pt x="112" y="570"/>
                </a:lnTo>
                <a:lnTo>
                  <a:pt x="98" y="566"/>
                </a:lnTo>
                <a:lnTo>
                  <a:pt x="106" y="555"/>
                </a:lnTo>
                <a:lnTo>
                  <a:pt x="103" y="529"/>
                </a:lnTo>
                <a:lnTo>
                  <a:pt x="128" y="519"/>
                </a:lnTo>
                <a:lnTo>
                  <a:pt x="108" y="501"/>
                </a:lnTo>
                <a:lnTo>
                  <a:pt x="222" y="502"/>
                </a:lnTo>
                <a:lnTo>
                  <a:pt x="196" y="480"/>
                </a:lnTo>
                <a:lnTo>
                  <a:pt x="208" y="471"/>
                </a:lnTo>
                <a:lnTo>
                  <a:pt x="210" y="460"/>
                </a:lnTo>
                <a:lnTo>
                  <a:pt x="195" y="458"/>
                </a:lnTo>
                <a:lnTo>
                  <a:pt x="202" y="473"/>
                </a:lnTo>
                <a:lnTo>
                  <a:pt x="157" y="487"/>
                </a:lnTo>
                <a:lnTo>
                  <a:pt x="136" y="485"/>
                </a:lnTo>
                <a:lnTo>
                  <a:pt x="132" y="467"/>
                </a:lnTo>
                <a:lnTo>
                  <a:pt x="149" y="445"/>
                </a:lnTo>
                <a:lnTo>
                  <a:pt x="212" y="442"/>
                </a:lnTo>
                <a:lnTo>
                  <a:pt x="222" y="419"/>
                </a:lnTo>
                <a:lnTo>
                  <a:pt x="207" y="416"/>
                </a:lnTo>
                <a:lnTo>
                  <a:pt x="217" y="406"/>
                </a:lnTo>
                <a:lnTo>
                  <a:pt x="212" y="399"/>
                </a:lnTo>
                <a:lnTo>
                  <a:pt x="213" y="374"/>
                </a:lnTo>
                <a:lnTo>
                  <a:pt x="247" y="380"/>
                </a:lnTo>
                <a:lnTo>
                  <a:pt x="239" y="372"/>
                </a:lnTo>
                <a:lnTo>
                  <a:pt x="255" y="361"/>
                </a:lnTo>
                <a:lnTo>
                  <a:pt x="247" y="348"/>
                </a:lnTo>
                <a:lnTo>
                  <a:pt x="232" y="360"/>
                </a:lnTo>
                <a:lnTo>
                  <a:pt x="221" y="349"/>
                </a:lnTo>
                <a:lnTo>
                  <a:pt x="222" y="329"/>
                </a:lnTo>
                <a:lnTo>
                  <a:pt x="232" y="324"/>
                </a:lnTo>
                <a:lnTo>
                  <a:pt x="227" y="307"/>
                </a:lnTo>
                <a:lnTo>
                  <a:pt x="239" y="301"/>
                </a:lnTo>
                <a:lnTo>
                  <a:pt x="236" y="287"/>
                </a:lnTo>
                <a:lnTo>
                  <a:pt x="250" y="282"/>
                </a:lnTo>
                <a:lnTo>
                  <a:pt x="246" y="269"/>
                </a:lnTo>
                <a:lnTo>
                  <a:pt x="247" y="255"/>
                </a:lnTo>
                <a:lnTo>
                  <a:pt x="156" y="247"/>
                </a:lnTo>
                <a:lnTo>
                  <a:pt x="136" y="222"/>
                </a:lnTo>
                <a:lnTo>
                  <a:pt x="85" y="204"/>
                </a:lnTo>
                <a:lnTo>
                  <a:pt x="58" y="163"/>
                </a:lnTo>
                <a:lnTo>
                  <a:pt x="83" y="146"/>
                </a:lnTo>
                <a:lnTo>
                  <a:pt x="136" y="154"/>
                </a:lnTo>
                <a:lnTo>
                  <a:pt x="188" y="197"/>
                </a:lnTo>
                <a:lnTo>
                  <a:pt x="236" y="211"/>
                </a:lnTo>
                <a:lnTo>
                  <a:pt x="233" y="193"/>
                </a:lnTo>
                <a:lnTo>
                  <a:pt x="217" y="199"/>
                </a:lnTo>
                <a:lnTo>
                  <a:pt x="207" y="176"/>
                </a:lnTo>
                <a:lnTo>
                  <a:pt x="222" y="182"/>
                </a:lnTo>
                <a:lnTo>
                  <a:pt x="219" y="174"/>
                </a:lnTo>
                <a:lnTo>
                  <a:pt x="229" y="165"/>
                </a:lnTo>
                <a:lnTo>
                  <a:pt x="233" y="163"/>
                </a:lnTo>
                <a:lnTo>
                  <a:pt x="229" y="150"/>
                </a:lnTo>
                <a:lnTo>
                  <a:pt x="178" y="111"/>
                </a:lnTo>
                <a:lnTo>
                  <a:pt x="202" y="121"/>
                </a:lnTo>
                <a:lnTo>
                  <a:pt x="204" y="116"/>
                </a:lnTo>
                <a:lnTo>
                  <a:pt x="199" y="109"/>
                </a:lnTo>
                <a:lnTo>
                  <a:pt x="202" y="97"/>
                </a:lnTo>
                <a:lnTo>
                  <a:pt x="165" y="103"/>
                </a:lnTo>
                <a:lnTo>
                  <a:pt x="188" y="72"/>
                </a:lnTo>
                <a:lnTo>
                  <a:pt x="149" y="95"/>
                </a:lnTo>
                <a:lnTo>
                  <a:pt x="161" y="66"/>
                </a:lnTo>
                <a:lnTo>
                  <a:pt x="178" y="55"/>
                </a:lnTo>
                <a:lnTo>
                  <a:pt x="128" y="61"/>
                </a:lnTo>
                <a:lnTo>
                  <a:pt x="179" y="23"/>
                </a:lnTo>
                <a:lnTo>
                  <a:pt x="122" y="18"/>
                </a:lnTo>
                <a:lnTo>
                  <a:pt x="128" y="0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35" name="Freeform 224"/>
          <p:cNvSpPr>
            <a:spLocks noChangeAspect="1" noEditPoints="1"/>
          </p:cNvSpPr>
          <p:nvPr/>
        </p:nvSpPr>
        <p:spPr bwMode="gray">
          <a:xfrm>
            <a:off x="2632075" y="3209925"/>
            <a:ext cx="168275" cy="142875"/>
          </a:xfrm>
          <a:custGeom>
            <a:avLst/>
            <a:gdLst>
              <a:gd name="T0" fmla="*/ 2147483647 w 343"/>
              <a:gd name="T1" fmla="*/ 2147483647 h 293"/>
              <a:gd name="T2" fmla="*/ 2147483647 w 343"/>
              <a:gd name="T3" fmla="*/ 2147483647 h 293"/>
              <a:gd name="T4" fmla="*/ 2147483647 w 343"/>
              <a:gd name="T5" fmla="*/ 2147483647 h 293"/>
              <a:gd name="T6" fmla="*/ 2147483647 w 343"/>
              <a:gd name="T7" fmla="*/ 2147483647 h 293"/>
              <a:gd name="T8" fmla="*/ 2147483647 w 343"/>
              <a:gd name="T9" fmla="*/ 2147483647 h 293"/>
              <a:gd name="T10" fmla="*/ 2147483647 w 343"/>
              <a:gd name="T11" fmla="*/ 2147483647 h 293"/>
              <a:gd name="T12" fmla="*/ 2147483647 w 343"/>
              <a:gd name="T13" fmla="*/ 2147483647 h 293"/>
              <a:gd name="T14" fmla="*/ 2147483647 w 343"/>
              <a:gd name="T15" fmla="*/ 2147483647 h 293"/>
              <a:gd name="T16" fmla="*/ 2147483647 w 343"/>
              <a:gd name="T17" fmla="*/ 2147483647 h 293"/>
              <a:gd name="T18" fmla="*/ 2147483647 w 343"/>
              <a:gd name="T19" fmla="*/ 2147483647 h 293"/>
              <a:gd name="T20" fmla="*/ 2147483647 w 343"/>
              <a:gd name="T21" fmla="*/ 2147483647 h 293"/>
              <a:gd name="T22" fmla="*/ 2147483647 w 343"/>
              <a:gd name="T23" fmla="*/ 2147483647 h 293"/>
              <a:gd name="T24" fmla="*/ 2147483647 w 343"/>
              <a:gd name="T25" fmla="*/ 2147483647 h 293"/>
              <a:gd name="T26" fmla="*/ 2147483647 w 343"/>
              <a:gd name="T27" fmla="*/ 2147483647 h 293"/>
              <a:gd name="T28" fmla="*/ 2147483647 w 343"/>
              <a:gd name="T29" fmla="*/ 2147483647 h 293"/>
              <a:gd name="T30" fmla="*/ 2147483647 w 343"/>
              <a:gd name="T31" fmla="*/ 2147483647 h 293"/>
              <a:gd name="T32" fmla="*/ 2147483647 w 343"/>
              <a:gd name="T33" fmla="*/ 2147483647 h 293"/>
              <a:gd name="T34" fmla="*/ 2147483647 w 343"/>
              <a:gd name="T35" fmla="*/ 2147483647 h 293"/>
              <a:gd name="T36" fmla="*/ 2147483647 w 343"/>
              <a:gd name="T37" fmla="*/ 2147483647 h 293"/>
              <a:gd name="T38" fmla="*/ 2147483647 w 343"/>
              <a:gd name="T39" fmla="*/ 2147483647 h 293"/>
              <a:gd name="T40" fmla="*/ 2147483647 w 343"/>
              <a:gd name="T41" fmla="*/ 2147483647 h 293"/>
              <a:gd name="T42" fmla="*/ 2147483647 w 343"/>
              <a:gd name="T43" fmla="*/ 2147483647 h 293"/>
              <a:gd name="T44" fmla="*/ 2147483647 w 343"/>
              <a:gd name="T45" fmla="*/ 2147483647 h 293"/>
              <a:gd name="T46" fmla="*/ 2147483647 w 343"/>
              <a:gd name="T47" fmla="*/ 2147483647 h 293"/>
              <a:gd name="T48" fmla="*/ 2147483647 w 343"/>
              <a:gd name="T49" fmla="*/ 2147483647 h 293"/>
              <a:gd name="T50" fmla="*/ 2147483647 w 343"/>
              <a:gd name="T51" fmla="*/ 2147483647 h 293"/>
              <a:gd name="T52" fmla="*/ 2147483647 w 343"/>
              <a:gd name="T53" fmla="*/ 2147483647 h 293"/>
              <a:gd name="T54" fmla="*/ 2147483647 w 343"/>
              <a:gd name="T55" fmla="*/ 2147483647 h 293"/>
              <a:gd name="T56" fmla="*/ 2147483647 w 343"/>
              <a:gd name="T57" fmla="*/ 2147483647 h 293"/>
              <a:gd name="T58" fmla="*/ 2147483647 w 343"/>
              <a:gd name="T59" fmla="*/ 2147483647 h 293"/>
              <a:gd name="T60" fmla="*/ 2147483647 w 343"/>
              <a:gd name="T61" fmla="*/ 2147483647 h 293"/>
              <a:gd name="T62" fmla="*/ 2147483647 w 343"/>
              <a:gd name="T63" fmla="*/ 2147483647 h 293"/>
              <a:gd name="T64" fmla="*/ 2147483647 w 343"/>
              <a:gd name="T65" fmla="*/ 2147483647 h 293"/>
              <a:gd name="T66" fmla="*/ 2147483647 w 343"/>
              <a:gd name="T67" fmla="*/ 2147483647 h 293"/>
              <a:gd name="T68" fmla="*/ 2147483647 w 343"/>
              <a:gd name="T69" fmla="*/ 2147483647 h 293"/>
              <a:gd name="T70" fmla="*/ 2147483647 w 343"/>
              <a:gd name="T71" fmla="*/ 0 h 293"/>
              <a:gd name="T72" fmla="*/ 2147483647 w 343"/>
              <a:gd name="T73" fmla="*/ 2147483647 h 293"/>
              <a:gd name="T74" fmla="*/ 2147483647 w 343"/>
              <a:gd name="T75" fmla="*/ 2147483647 h 293"/>
              <a:gd name="T76" fmla="*/ 2147483647 w 343"/>
              <a:gd name="T77" fmla="*/ 0 h 293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343"/>
              <a:gd name="T118" fmla="*/ 0 h 293"/>
              <a:gd name="T119" fmla="*/ 343 w 343"/>
              <a:gd name="T120" fmla="*/ 293 h 293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343" h="293">
                <a:moveTo>
                  <a:pt x="41" y="88"/>
                </a:moveTo>
                <a:lnTo>
                  <a:pt x="52" y="105"/>
                </a:lnTo>
                <a:lnTo>
                  <a:pt x="47" y="124"/>
                </a:lnTo>
                <a:lnTo>
                  <a:pt x="43" y="124"/>
                </a:lnTo>
                <a:lnTo>
                  <a:pt x="27" y="105"/>
                </a:lnTo>
                <a:lnTo>
                  <a:pt x="32" y="83"/>
                </a:lnTo>
                <a:lnTo>
                  <a:pt x="39" y="81"/>
                </a:lnTo>
                <a:lnTo>
                  <a:pt x="41" y="88"/>
                </a:lnTo>
                <a:close/>
                <a:moveTo>
                  <a:pt x="313" y="243"/>
                </a:moveTo>
                <a:lnTo>
                  <a:pt x="318" y="240"/>
                </a:lnTo>
                <a:lnTo>
                  <a:pt x="343" y="256"/>
                </a:lnTo>
                <a:lnTo>
                  <a:pt x="320" y="245"/>
                </a:lnTo>
                <a:lnTo>
                  <a:pt x="304" y="252"/>
                </a:lnTo>
                <a:lnTo>
                  <a:pt x="313" y="243"/>
                </a:lnTo>
                <a:close/>
                <a:moveTo>
                  <a:pt x="288" y="225"/>
                </a:moveTo>
                <a:lnTo>
                  <a:pt x="284" y="220"/>
                </a:lnTo>
                <a:lnTo>
                  <a:pt x="270" y="223"/>
                </a:lnTo>
                <a:lnTo>
                  <a:pt x="288" y="225"/>
                </a:lnTo>
                <a:close/>
                <a:moveTo>
                  <a:pt x="275" y="271"/>
                </a:moveTo>
                <a:lnTo>
                  <a:pt x="273" y="286"/>
                </a:lnTo>
                <a:lnTo>
                  <a:pt x="246" y="293"/>
                </a:lnTo>
                <a:lnTo>
                  <a:pt x="247" y="282"/>
                </a:lnTo>
                <a:lnTo>
                  <a:pt x="262" y="281"/>
                </a:lnTo>
                <a:lnTo>
                  <a:pt x="275" y="271"/>
                </a:lnTo>
                <a:close/>
                <a:moveTo>
                  <a:pt x="207" y="134"/>
                </a:moveTo>
                <a:lnTo>
                  <a:pt x="204" y="143"/>
                </a:lnTo>
                <a:lnTo>
                  <a:pt x="208" y="143"/>
                </a:lnTo>
                <a:lnTo>
                  <a:pt x="212" y="134"/>
                </a:lnTo>
                <a:lnTo>
                  <a:pt x="207" y="134"/>
                </a:lnTo>
                <a:close/>
                <a:moveTo>
                  <a:pt x="171" y="163"/>
                </a:moveTo>
                <a:lnTo>
                  <a:pt x="188" y="197"/>
                </a:lnTo>
                <a:lnTo>
                  <a:pt x="178" y="186"/>
                </a:lnTo>
                <a:lnTo>
                  <a:pt x="171" y="163"/>
                </a:lnTo>
                <a:close/>
                <a:moveTo>
                  <a:pt x="227" y="210"/>
                </a:moveTo>
                <a:lnTo>
                  <a:pt x="212" y="202"/>
                </a:lnTo>
                <a:lnTo>
                  <a:pt x="232" y="208"/>
                </a:lnTo>
                <a:lnTo>
                  <a:pt x="233" y="215"/>
                </a:lnTo>
                <a:lnTo>
                  <a:pt x="219" y="231"/>
                </a:lnTo>
                <a:lnTo>
                  <a:pt x="217" y="225"/>
                </a:lnTo>
                <a:lnTo>
                  <a:pt x="227" y="214"/>
                </a:lnTo>
                <a:lnTo>
                  <a:pt x="227" y="210"/>
                </a:lnTo>
                <a:close/>
                <a:moveTo>
                  <a:pt x="165" y="126"/>
                </a:moveTo>
                <a:lnTo>
                  <a:pt x="170" y="134"/>
                </a:lnTo>
                <a:lnTo>
                  <a:pt x="159" y="134"/>
                </a:lnTo>
                <a:lnTo>
                  <a:pt x="163" y="127"/>
                </a:lnTo>
                <a:lnTo>
                  <a:pt x="148" y="103"/>
                </a:lnTo>
                <a:lnTo>
                  <a:pt x="165" y="126"/>
                </a:lnTo>
                <a:close/>
                <a:moveTo>
                  <a:pt x="54" y="143"/>
                </a:moveTo>
                <a:lnTo>
                  <a:pt x="61" y="132"/>
                </a:lnTo>
                <a:lnTo>
                  <a:pt x="63" y="152"/>
                </a:lnTo>
                <a:lnTo>
                  <a:pt x="56" y="151"/>
                </a:lnTo>
                <a:lnTo>
                  <a:pt x="54" y="143"/>
                </a:lnTo>
                <a:close/>
                <a:moveTo>
                  <a:pt x="56" y="127"/>
                </a:moveTo>
                <a:lnTo>
                  <a:pt x="51" y="138"/>
                </a:lnTo>
                <a:lnTo>
                  <a:pt x="60" y="129"/>
                </a:lnTo>
                <a:lnTo>
                  <a:pt x="56" y="127"/>
                </a:lnTo>
                <a:close/>
                <a:moveTo>
                  <a:pt x="128" y="81"/>
                </a:moveTo>
                <a:lnTo>
                  <a:pt x="129" y="107"/>
                </a:lnTo>
                <a:lnTo>
                  <a:pt x="122" y="96"/>
                </a:lnTo>
                <a:lnTo>
                  <a:pt x="128" y="81"/>
                </a:lnTo>
                <a:close/>
                <a:moveTo>
                  <a:pt x="75" y="90"/>
                </a:moveTo>
                <a:lnTo>
                  <a:pt x="78" y="87"/>
                </a:lnTo>
                <a:lnTo>
                  <a:pt x="72" y="87"/>
                </a:lnTo>
                <a:lnTo>
                  <a:pt x="66" y="90"/>
                </a:lnTo>
                <a:lnTo>
                  <a:pt x="75" y="90"/>
                </a:lnTo>
                <a:close/>
                <a:moveTo>
                  <a:pt x="86" y="24"/>
                </a:moveTo>
                <a:lnTo>
                  <a:pt x="81" y="45"/>
                </a:lnTo>
                <a:lnTo>
                  <a:pt x="75" y="37"/>
                </a:lnTo>
                <a:lnTo>
                  <a:pt x="78" y="25"/>
                </a:lnTo>
                <a:lnTo>
                  <a:pt x="83" y="11"/>
                </a:lnTo>
                <a:lnTo>
                  <a:pt x="86" y="24"/>
                </a:lnTo>
                <a:close/>
                <a:moveTo>
                  <a:pt x="43" y="0"/>
                </a:moveTo>
                <a:lnTo>
                  <a:pt x="49" y="11"/>
                </a:lnTo>
                <a:lnTo>
                  <a:pt x="41" y="5"/>
                </a:lnTo>
                <a:lnTo>
                  <a:pt x="13" y="11"/>
                </a:lnTo>
                <a:lnTo>
                  <a:pt x="4" y="11"/>
                </a:lnTo>
                <a:lnTo>
                  <a:pt x="0" y="5"/>
                </a:lnTo>
                <a:lnTo>
                  <a:pt x="43" y="0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36" name="Freeform 225"/>
          <p:cNvSpPr>
            <a:spLocks noChangeAspect="1" noEditPoints="1"/>
          </p:cNvSpPr>
          <p:nvPr/>
        </p:nvSpPr>
        <p:spPr bwMode="gray">
          <a:xfrm>
            <a:off x="2500313" y="3300413"/>
            <a:ext cx="239712" cy="79375"/>
          </a:xfrm>
          <a:custGeom>
            <a:avLst/>
            <a:gdLst>
              <a:gd name="T0" fmla="*/ 2147483647 w 492"/>
              <a:gd name="T1" fmla="*/ 2147483647 h 166"/>
              <a:gd name="T2" fmla="*/ 2147483647 w 492"/>
              <a:gd name="T3" fmla="*/ 2147483647 h 166"/>
              <a:gd name="T4" fmla="*/ 2147483647 w 492"/>
              <a:gd name="T5" fmla="*/ 2147483647 h 166"/>
              <a:gd name="T6" fmla="*/ 2147483647 w 492"/>
              <a:gd name="T7" fmla="*/ 2147483647 h 166"/>
              <a:gd name="T8" fmla="*/ 2147483647 w 492"/>
              <a:gd name="T9" fmla="*/ 2147483647 h 166"/>
              <a:gd name="T10" fmla="*/ 2147483647 w 492"/>
              <a:gd name="T11" fmla="*/ 2147483647 h 166"/>
              <a:gd name="T12" fmla="*/ 2147483647 w 492"/>
              <a:gd name="T13" fmla="*/ 2147483647 h 166"/>
              <a:gd name="T14" fmla="*/ 2147483647 w 492"/>
              <a:gd name="T15" fmla="*/ 2147483647 h 166"/>
              <a:gd name="T16" fmla="*/ 2147483647 w 492"/>
              <a:gd name="T17" fmla="*/ 2147483647 h 166"/>
              <a:gd name="T18" fmla="*/ 2147483647 w 492"/>
              <a:gd name="T19" fmla="*/ 2147483647 h 166"/>
              <a:gd name="T20" fmla="*/ 2147483647 w 492"/>
              <a:gd name="T21" fmla="*/ 2147483647 h 166"/>
              <a:gd name="T22" fmla="*/ 2147483647 w 492"/>
              <a:gd name="T23" fmla="*/ 2147483647 h 166"/>
              <a:gd name="T24" fmla="*/ 2147483647 w 492"/>
              <a:gd name="T25" fmla="*/ 2147483647 h 166"/>
              <a:gd name="T26" fmla="*/ 2147483647 w 492"/>
              <a:gd name="T27" fmla="*/ 2147483647 h 166"/>
              <a:gd name="T28" fmla="*/ 2147483647 w 492"/>
              <a:gd name="T29" fmla="*/ 2147483647 h 166"/>
              <a:gd name="T30" fmla="*/ 2147483647 w 492"/>
              <a:gd name="T31" fmla="*/ 2147483647 h 166"/>
              <a:gd name="T32" fmla="*/ 2147483647 w 492"/>
              <a:gd name="T33" fmla="*/ 2147483647 h 166"/>
              <a:gd name="T34" fmla="*/ 2147483647 w 492"/>
              <a:gd name="T35" fmla="*/ 2147483647 h 166"/>
              <a:gd name="T36" fmla="*/ 2147483647 w 492"/>
              <a:gd name="T37" fmla="*/ 2147483647 h 166"/>
              <a:gd name="T38" fmla="*/ 2147483647 w 492"/>
              <a:gd name="T39" fmla="*/ 2147483647 h 166"/>
              <a:gd name="T40" fmla="*/ 2147483647 w 492"/>
              <a:gd name="T41" fmla="*/ 2147483647 h 166"/>
              <a:gd name="T42" fmla="*/ 2147483647 w 492"/>
              <a:gd name="T43" fmla="*/ 2147483647 h 166"/>
              <a:gd name="T44" fmla="*/ 2147483647 w 492"/>
              <a:gd name="T45" fmla="*/ 2147483647 h 166"/>
              <a:gd name="T46" fmla="*/ 2147483647 w 492"/>
              <a:gd name="T47" fmla="*/ 2147483647 h 166"/>
              <a:gd name="T48" fmla="*/ 2147483647 w 492"/>
              <a:gd name="T49" fmla="*/ 2147483647 h 166"/>
              <a:gd name="T50" fmla="*/ 2147483647 w 492"/>
              <a:gd name="T51" fmla="*/ 2147483647 h 166"/>
              <a:gd name="T52" fmla="*/ 2147483647 w 492"/>
              <a:gd name="T53" fmla="*/ 2147483647 h 166"/>
              <a:gd name="T54" fmla="*/ 2147483647 w 492"/>
              <a:gd name="T55" fmla="*/ 2147483647 h 166"/>
              <a:gd name="T56" fmla="*/ 0 w 492"/>
              <a:gd name="T57" fmla="*/ 2147483647 h 166"/>
              <a:gd name="T58" fmla="*/ 2147483647 w 492"/>
              <a:gd name="T59" fmla="*/ 2147483647 h 166"/>
              <a:gd name="T60" fmla="*/ 2147483647 w 492"/>
              <a:gd name="T61" fmla="*/ 2147483647 h 166"/>
              <a:gd name="T62" fmla="*/ 2147483647 w 492"/>
              <a:gd name="T63" fmla="*/ 2147483647 h 166"/>
              <a:gd name="T64" fmla="*/ 2147483647 w 492"/>
              <a:gd name="T65" fmla="*/ 2147483647 h 166"/>
              <a:gd name="T66" fmla="*/ 2147483647 w 492"/>
              <a:gd name="T67" fmla="*/ 0 h 166"/>
              <a:gd name="T68" fmla="*/ 2147483647 w 492"/>
              <a:gd name="T69" fmla="*/ 2147483647 h 166"/>
              <a:gd name="T70" fmla="*/ 2147483647 w 492"/>
              <a:gd name="T71" fmla="*/ 2147483647 h 166"/>
              <a:gd name="T72" fmla="*/ 2147483647 w 492"/>
              <a:gd name="T73" fmla="*/ 2147483647 h 166"/>
              <a:gd name="T74" fmla="*/ 2147483647 w 492"/>
              <a:gd name="T75" fmla="*/ 2147483647 h 166"/>
              <a:gd name="T76" fmla="*/ 2147483647 w 492"/>
              <a:gd name="T77" fmla="*/ 2147483647 h 166"/>
              <a:gd name="T78" fmla="*/ 2147483647 w 492"/>
              <a:gd name="T79" fmla="*/ 2147483647 h 166"/>
              <a:gd name="T80" fmla="*/ 2147483647 w 492"/>
              <a:gd name="T81" fmla="*/ 2147483647 h 166"/>
              <a:gd name="T82" fmla="*/ 2147483647 w 492"/>
              <a:gd name="T83" fmla="*/ 2147483647 h 166"/>
              <a:gd name="T84" fmla="*/ 2147483647 w 492"/>
              <a:gd name="T85" fmla="*/ 2147483647 h 166"/>
              <a:gd name="T86" fmla="*/ 2147483647 w 492"/>
              <a:gd name="T87" fmla="*/ 2147483647 h 166"/>
              <a:gd name="T88" fmla="*/ 2147483647 w 492"/>
              <a:gd name="T89" fmla="*/ 2147483647 h 166"/>
              <a:gd name="T90" fmla="*/ 2147483647 w 492"/>
              <a:gd name="T91" fmla="*/ 2147483647 h 166"/>
              <a:gd name="T92" fmla="*/ 2147483647 w 492"/>
              <a:gd name="T93" fmla="*/ 2147483647 h 166"/>
              <a:gd name="T94" fmla="*/ 2147483647 w 492"/>
              <a:gd name="T95" fmla="*/ 2147483647 h 166"/>
              <a:gd name="T96" fmla="*/ 2147483647 w 492"/>
              <a:gd name="T97" fmla="*/ 2147483647 h 166"/>
              <a:gd name="T98" fmla="*/ 2147483647 w 492"/>
              <a:gd name="T99" fmla="*/ 2147483647 h 166"/>
              <a:gd name="T100" fmla="*/ 2147483647 w 492"/>
              <a:gd name="T101" fmla="*/ 2147483647 h 166"/>
              <a:gd name="T102" fmla="*/ 2147483647 w 492"/>
              <a:gd name="T103" fmla="*/ 2147483647 h 166"/>
              <a:gd name="T104" fmla="*/ 2147483647 w 492"/>
              <a:gd name="T105" fmla="*/ 2147483647 h 166"/>
              <a:gd name="T106" fmla="*/ 2147483647 w 492"/>
              <a:gd name="T107" fmla="*/ 2147483647 h 166"/>
              <a:gd name="T108" fmla="*/ 2147483647 w 492"/>
              <a:gd name="T109" fmla="*/ 2147483647 h 166"/>
              <a:gd name="T110" fmla="*/ 2147483647 w 492"/>
              <a:gd name="T111" fmla="*/ 2147483647 h 166"/>
              <a:gd name="T112" fmla="*/ 2147483647 w 492"/>
              <a:gd name="T113" fmla="*/ 2147483647 h 16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92"/>
              <a:gd name="T172" fmla="*/ 0 h 166"/>
              <a:gd name="T173" fmla="*/ 492 w 492"/>
              <a:gd name="T174" fmla="*/ 166 h 16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92" h="166">
                <a:moveTo>
                  <a:pt x="353" y="74"/>
                </a:moveTo>
                <a:lnTo>
                  <a:pt x="376" y="93"/>
                </a:lnTo>
                <a:lnTo>
                  <a:pt x="404" y="102"/>
                </a:lnTo>
                <a:lnTo>
                  <a:pt x="422" y="102"/>
                </a:lnTo>
                <a:lnTo>
                  <a:pt x="422" y="120"/>
                </a:lnTo>
                <a:lnTo>
                  <a:pt x="460" y="122"/>
                </a:lnTo>
                <a:lnTo>
                  <a:pt x="480" y="139"/>
                </a:lnTo>
                <a:lnTo>
                  <a:pt x="492" y="142"/>
                </a:lnTo>
                <a:lnTo>
                  <a:pt x="492" y="147"/>
                </a:lnTo>
                <a:lnTo>
                  <a:pt x="441" y="164"/>
                </a:lnTo>
                <a:lnTo>
                  <a:pt x="371" y="159"/>
                </a:lnTo>
                <a:lnTo>
                  <a:pt x="334" y="166"/>
                </a:lnTo>
                <a:lnTo>
                  <a:pt x="329" y="161"/>
                </a:lnTo>
                <a:lnTo>
                  <a:pt x="359" y="141"/>
                </a:lnTo>
                <a:lnTo>
                  <a:pt x="361" y="132"/>
                </a:lnTo>
                <a:lnTo>
                  <a:pt x="316" y="124"/>
                </a:lnTo>
                <a:lnTo>
                  <a:pt x="297" y="107"/>
                </a:lnTo>
                <a:lnTo>
                  <a:pt x="285" y="82"/>
                </a:lnTo>
                <a:lnTo>
                  <a:pt x="231" y="76"/>
                </a:lnTo>
                <a:lnTo>
                  <a:pt x="198" y="57"/>
                </a:lnTo>
                <a:lnTo>
                  <a:pt x="133" y="51"/>
                </a:lnTo>
                <a:lnTo>
                  <a:pt x="127" y="40"/>
                </a:lnTo>
                <a:lnTo>
                  <a:pt x="146" y="34"/>
                </a:lnTo>
                <a:lnTo>
                  <a:pt x="136" y="28"/>
                </a:lnTo>
                <a:lnTo>
                  <a:pt x="97" y="25"/>
                </a:lnTo>
                <a:lnTo>
                  <a:pt x="76" y="43"/>
                </a:lnTo>
                <a:lnTo>
                  <a:pt x="48" y="51"/>
                </a:lnTo>
                <a:lnTo>
                  <a:pt x="19" y="71"/>
                </a:lnTo>
                <a:lnTo>
                  <a:pt x="0" y="66"/>
                </a:lnTo>
                <a:lnTo>
                  <a:pt x="19" y="57"/>
                </a:lnTo>
                <a:lnTo>
                  <a:pt x="25" y="34"/>
                </a:lnTo>
                <a:lnTo>
                  <a:pt x="50" y="20"/>
                </a:lnTo>
                <a:lnTo>
                  <a:pt x="110" y="2"/>
                </a:lnTo>
                <a:lnTo>
                  <a:pt x="147" y="0"/>
                </a:lnTo>
                <a:lnTo>
                  <a:pt x="219" y="10"/>
                </a:lnTo>
                <a:lnTo>
                  <a:pt x="249" y="36"/>
                </a:lnTo>
                <a:lnTo>
                  <a:pt x="288" y="40"/>
                </a:lnTo>
                <a:lnTo>
                  <a:pt x="288" y="45"/>
                </a:lnTo>
                <a:lnTo>
                  <a:pt x="308" y="52"/>
                </a:lnTo>
                <a:lnTo>
                  <a:pt x="319" y="62"/>
                </a:lnTo>
                <a:lnTo>
                  <a:pt x="353" y="74"/>
                </a:lnTo>
                <a:close/>
                <a:moveTo>
                  <a:pt x="97" y="64"/>
                </a:moveTo>
                <a:lnTo>
                  <a:pt x="102" y="82"/>
                </a:lnTo>
                <a:lnTo>
                  <a:pt x="80" y="85"/>
                </a:lnTo>
                <a:lnTo>
                  <a:pt x="79" y="77"/>
                </a:lnTo>
                <a:lnTo>
                  <a:pt x="85" y="81"/>
                </a:lnTo>
                <a:lnTo>
                  <a:pt x="85" y="66"/>
                </a:lnTo>
                <a:lnTo>
                  <a:pt x="97" y="64"/>
                </a:lnTo>
                <a:close/>
                <a:moveTo>
                  <a:pt x="317" y="43"/>
                </a:moveTo>
                <a:lnTo>
                  <a:pt x="331" y="54"/>
                </a:lnTo>
                <a:lnTo>
                  <a:pt x="333" y="60"/>
                </a:lnTo>
                <a:lnTo>
                  <a:pt x="325" y="60"/>
                </a:lnTo>
                <a:lnTo>
                  <a:pt x="305" y="42"/>
                </a:lnTo>
                <a:lnTo>
                  <a:pt x="291" y="39"/>
                </a:lnTo>
                <a:lnTo>
                  <a:pt x="286" y="32"/>
                </a:lnTo>
                <a:lnTo>
                  <a:pt x="299" y="32"/>
                </a:lnTo>
                <a:lnTo>
                  <a:pt x="317" y="43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37" name="Freeform 226"/>
          <p:cNvSpPr>
            <a:spLocks noChangeAspect="1" noEditPoints="1"/>
          </p:cNvSpPr>
          <p:nvPr/>
        </p:nvSpPr>
        <p:spPr bwMode="gray">
          <a:xfrm>
            <a:off x="2735263" y="3371850"/>
            <a:ext cx="61912" cy="50800"/>
          </a:xfrm>
          <a:custGeom>
            <a:avLst/>
            <a:gdLst>
              <a:gd name="T0" fmla="*/ 2147483647 w 128"/>
              <a:gd name="T1" fmla="*/ 2147483647 h 102"/>
              <a:gd name="T2" fmla="*/ 2147483647 w 128"/>
              <a:gd name="T3" fmla="*/ 2147483647 h 102"/>
              <a:gd name="T4" fmla="*/ 2147483647 w 128"/>
              <a:gd name="T5" fmla="*/ 2147483647 h 102"/>
              <a:gd name="T6" fmla="*/ 2147483647 w 128"/>
              <a:gd name="T7" fmla="*/ 2147483647 h 102"/>
              <a:gd name="T8" fmla="*/ 2147483647 w 128"/>
              <a:gd name="T9" fmla="*/ 2147483647 h 102"/>
              <a:gd name="T10" fmla="*/ 2147483647 w 128"/>
              <a:gd name="T11" fmla="*/ 2147483647 h 102"/>
              <a:gd name="T12" fmla="*/ 2147483647 w 128"/>
              <a:gd name="T13" fmla="*/ 2147483647 h 102"/>
              <a:gd name="T14" fmla="*/ 2147483647 w 128"/>
              <a:gd name="T15" fmla="*/ 2147483647 h 102"/>
              <a:gd name="T16" fmla="*/ 2147483647 w 128"/>
              <a:gd name="T17" fmla="*/ 2147483647 h 102"/>
              <a:gd name="T18" fmla="*/ 2147483647 w 128"/>
              <a:gd name="T19" fmla="*/ 2147483647 h 102"/>
              <a:gd name="T20" fmla="*/ 2147483647 w 128"/>
              <a:gd name="T21" fmla="*/ 2147483647 h 102"/>
              <a:gd name="T22" fmla="*/ 2147483647 w 128"/>
              <a:gd name="T23" fmla="*/ 2147483647 h 102"/>
              <a:gd name="T24" fmla="*/ 2147483647 w 128"/>
              <a:gd name="T25" fmla="*/ 2147483647 h 102"/>
              <a:gd name="T26" fmla="*/ 2147483647 w 128"/>
              <a:gd name="T27" fmla="*/ 2147483647 h 102"/>
              <a:gd name="T28" fmla="*/ 2147483647 w 128"/>
              <a:gd name="T29" fmla="*/ 2147483647 h 102"/>
              <a:gd name="T30" fmla="*/ 2147483647 w 128"/>
              <a:gd name="T31" fmla="*/ 2147483647 h 102"/>
              <a:gd name="T32" fmla="*/ 0 w 128"/>
              <a:gd name="T33" fmla="*/ 2147483647 h 102"/>
              <a:gd name="T34" fmla="*/ 2147483647 w 128"/>
              <a:gd name="T35" fmla="*/ 2147483647 h 102"/>
              <a:gd name="T36" fmla="*/ 2147483647 w 128"/>
              <a:gd name="T37" fmla="*/ 2147483647 h 102"/>
              <a:gd name="T38" fmla="*/ 2147483647 w 128"/>
              <a:gd name="T39" fmla="*/ 2147483647 h 102"/>
              <a:gd name="T40" fmla="*/ 2147483647 w 128"/>
              <a:gd name="T41" fmla="*/ 2147483647 h 102"/>
              <a:gd name="T42" fmla="*/ 2147483647 w 128"/>
              <a:gd name="T43" fmla="*/ 2147483647 h 102"/>
              <a:gd name="T44" fmla="*/ 2147483647 w 128"/>
              <a:gd name="T45" fmla="*/ 0 h 102"/>
              <a:gd name="T46" fmla="*/ 2147483647 w 128"/>
              <a:gd name="T47" fmla="*/ 2147483647 h 102"/>
              <a:gd name="T48" fmla="*/ 2147483647 w 128"/>
              <a:gd name="T49" fmla="*/ 2147483647 h 102"/>
              <a:gd name="T50" fmla="*/ 2147483647 w 128"/>
              <a:gd name="T51" fmla="*/ 0 h 102"/>
              <a:gd name="T52" fmla="*/ 2147483647 w 128"/>
              <a:gd name="T53" fmla="*/ 2147483647 h 102"/>
              <a:gd name="T54" fmla="*/ 2147483647 w 128"/>
              <a:gd name="T55" fmla="*/ 2147483647 h 102"/>
              <a:gd name="T56" fmla="*/ 2147483647 w 128"/>
              <a:gd name="T57" fmla="*/ 2147483647 h 102"/>
              <a:gd name="T58" fmla="*/ 2147483647 w 128"/>
              <a:gd name="T59" fmla="*/ 2147483647 h 102"/>
              <a:gd name="T60" fmla="*/ 2147483647 w 128"/>
              <a:gd name="T61" fmla="*/ 2147483647 h 102"/>
              <a:gd name="T62" fmla="*/ 2147483647 w 128"/>
              <a:gd name="T63" fmla="*/ 2147483647 h 10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28"/>
              <a:gd name="T97" fmla="*/ 0 h 102"/>
              <a:gd name="T98" fmla="*/ 128 w 128"/>
              <a:gd name="T99" fmla="*/ 102 h 102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28" h="102">
                <a:moveTo>
                  <a:pt x="122" y="102"/>
                </a:moveTo>
                <a:lnTo>
                  <a:pt x="123" y="88"/>
                </a:lnTo>
                <a:lnTo>
                  <a:pt x="118" y="75"/>
                </a:lnTo>
                <a:lnTo>
                  <a:pt x="125" y="67"/>
                </a:lnTo>
                <a:lnTo>
                  <a:pt x="128" y="46"/>
                </a:lnTo>
                <a:lnTo>
                  <a:pt x="120" y="16"/>
                </a:lnTo>
                <a:lnTo>
                  <a:pt x="95" y="19"/>
                </a:lnTo>
                <a:lnTo>
                  <a:pt x="66" y="9"/>
                </a:lnTo>
                <a:lnTo>
                  <a:pt x="44" y="19"/>
                </a:lnTo>
                <a:lnTo>
                  <a:pt x="49" y="26"/>
                </a:lnTo>
                <a:lnTo>
                  <a:pt x="72" y="29"/>
                </a:lnTo>
                <a:lnTo>
                  <a:pt x="76" y="58"/>
                </a:lnTo>
                <a:lnTo>
                  <a:pt x="92" y="70"/>
                </a:lnTo>
                <a:lnTo>
                  <a:pt x="91" y="76"/>
                </a:lnTo>
                <a:lnTo>
                  <a:pt x="55" y="80"/>
                </a:lnTo>
                <a:lnTo>
                  <a:pt x="1" y="75"/>
                </a:lnTo>
                <a:lnTo>
                  <a:pt x="0" y="82"/>
                </a:lnTo>
                <a:lnTo>
                  <a:pt x="26" y="101"/>
                </a:lnTo>
                <a:lnTo>
                  <a:pt x="37" y="92"/>
                </a:lnTo>
                <a:lnTo>
                  <a:pt x="74" y="99"/>
                </a:lnTo>
                <a:lnTo>
                  <a:pt x="101" y="93"/>
                </a:lnTo>
                <a:lnTo>
                  <a:pt x="122" y="102"/>
                </a:lnTo>
                <a:close/>
                <a:moveTo>
                  <a:pt x="72" y="0"/>
                </a:moveTo>
                <a:lnTo>
                  <a:pt x="78" y="8"/>
                </a:lnTo>
                <a:lnTo>
                  <a:pt x="69" y="6"/>
                </a:lnTo>
                <a:lnTo>
                  <a:pt x="72" y="0"/>
                </a:lnTo>
                <a:close/>
                <a:moveTo>
                  <a:pt x="63" y="58"/>
                </a:moveTo>
                <a:lnTo>
                  <a:pt x="69" y="62"/>
                </a:lnTo>
                <a:lnTo>
                  <a:pt x="71" y="68"/>
                </a:lnTo>
                <a:lnTo>
                  <a:pt x="54" y="65"/>
                </a:lnTo>
                <a:lnTo>
                  <a:pt x="50" y="58"/>
                </a:lnTo>
                <a:lnTo>
                  <a:pt x="63" y="58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38" name="Freeform 227"/>
          <p:cNvSpPr>
            <a:spLocks noChangeAspect="1" noEditPoints="1"/>
          </p:cNvSpPr>
          <p:nvPr/>
        </p:nvSpPr>
        <p:spPr bwMode="gray">
          <a:xfrm>
            <a:off x="2994025" y="3436938"/>
            <a:ext cx="44450" cy="84137"/>
          </a:xfrm>
          <a:custGeom>
            <a:avLst/>
            <a:gdLst>
              <a:gd name="T0" fmla="*/ 2147483647 w 92"/>
              <a:gd name="T1" fmla="*/ 2147483647 h 178"/>
              <a:gd name="T2" fmla="*/ 2147483647 w 92"/>
              <a:gd name="T3" fmla="*/ 2147483647 h 178"/>
              <a:gd name="T4" fmla="*/ 2147483647 w 92"/>
              <a:gd name="T5" fmla="*/ 2147483647 h 178"/>
              <a:gd name="T6" fmla="*/ 2147483647 w 92"/>
              <a:gd name="T7" fmla="*/ 2147483647 h 178"/>
              <a:gd name="T8" fmla="*/ 2147483647 w 92"/>
              <a:gd name="T9" fmla="*/ 0 h 178"/>
              <a:gd name="T10" fmla="*/ 0 w 92"/>
              <a:gd name="T11" fmla="*/ 0 h 178"/>
              <a:gd name="T12" fmla="*/ 2147483647 w 92"/>
              <a:gd name="T13" fmla="*/ 2147483647 h 178"/>
              <a:gd name="T14" fmla="*/ 2147483647 w 92"/>
              <a:gd name="T15" fmla="*/ 0 h 178"/>
              <a:gd name="T16" fmla="*/ 2147483647 w 92"/>
              <a:gd name="T17" fmla="*/ 2147483647 h 178"/>
              <a:gd name="T18" fmla="*/ 2147483647 w 92"/>
              <a:gd name="T19" fmla="*/ 2147483647 h 178"/>
              <a:gd name="T20" fmla="*/ 2147483647 w 92"/>
              <a:gd name="T21" fmla="*/ 2147483647 h 178"/>
              <a:gd name="T22" fmla="*/ 2147483647 w 92"/>
              <a:gd name="T23" fmla="*/ 2147483647 h 178"/>
              <a:gd name="T24" fmla="*/ 2147483647 w 92"/>
              <a:gd name="T25" fmla="*/ 2147483647 h 178"/>
              <a:gd name="T26" fmla="*/ 2147483647 w 92"/>
              <a:gd name="T27" fmla="*/ 2147483647 h 178"/>
              <a:gd name="T28" fmla="*/ 2147483647 w 92"/>
              <a:gd name="T29" fmla="*/ 2147483647 h 178"/>
              <a:gd name="T30" fmla="*/ 2147483647 w 92"/>
              <a:gd name="T31" fmla="*/ 2147483647 h 178"/>
              <a:gd name="T32" fmla="*/ 2147483647 w 92"/>
              <a:gd name="T33" fmla="*/ 2147483647 h 178"/>
              <a:gd name="T34" fmla="*/ 2147483647 w 92"/>
              <a:gd name="T35" fmla="*/ 2147483647 h 178"/>
              <a:gd name="T36" fmla="*/ 2147483647 w 92"/>
              <a:gd name="T37" fmla="*/ 2147483647 h 178"/>
              <a:gd name="T38" fmla="*/ 2147483647 w 92"/>
              <a:gd name="T39" fmla="*/ 2147483647 h 178"/>
              <a:gd name="T40" fmla="*/ 2147483647 w 92"/>
              <a:gd name="T41" fmla="*/ 2147483647 h 178"/>
              <a:gd name="T42" fmla="*/ 2147483647 w 92"/>
              <a:gd name="T43" fmla="*/ 2147483647 h 178"/>
              <a:gd name="T44" fmla="*/ 2147483647 w 92"/>
              <a:gd name="T45" fmla="*/ 2147483647 h 178"/>
              <a:gd name="T46" fmla="*/ 2147483647 w 92"/>
              <a:gd name="T47" fmla="*/ 2147483647 h 178"/>
              <a:gd name="T48" fmla="*/ 2147483647 w 92"/>
              <a:gd name="T49" fmla="*/ 2147483647 h 178"/>
              <a:gd name="T50" fmla="*/ 2147483647 w 92"/>
              <a:gd name="T51" fmla="*/ 2147483647 h 178"/>
              <a:gd name="T52" fmla="*/ 2147483647 w 92"/>
              <a:gd name="T53" fmla="*/ 2147483647 h 178"/>
              <a:gd name="T54" fmla="*/ 2147483647 w 92"/>
              <a:gd name="T55" fmla="*/ 2147483647 h 178"/>
              <a:gd name="T56" fmla="*/ 2147483647 w 92"/>
              <a:gd name="T57" fmla="*/ 2147483647 h 178"/>
              <a:gd name="T58" fmla="*/ 2147483647 w 92"/>
              <a:gd name="T59" fmla="*/ 2147483647 h 178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92"/>
              <a:gd name="T91" fmla="*/ 0 h 178"/>
              <a:gd name="T92" fmla="*/ 92 w 92"/>
              <a:gd name="T93" fmla="*/ 178 h 178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92" h="178">
                <a:moveTo>
                  <a:pt x="89" y="164"/>
                </a:moveTo>
                <a:lnTo>
                  <a:pt x="86" y="177"/>
                </a:lnTo>
                <a:lnTo>
                  <a:pt x="89" y="178"/>
                </a:lnTo>
                <a:lnTo>
                  <a:pt x="89" y="164"/>
                </a:lnTo>
                <a:close/>
                <a:moveTo>
                  <a:pt x="4" y="0"/>
                </a:moveTo>
                <a:lnTo>
                  <a:pt x="0" y="0"/>
                </a:lnTo>
                <a:lnTo>
                  <a:pt x="3" y="8"/>
                </a:lnTo>
                <a:lnTo>
                  <a:pt x="4" y="0"/>
                </a:lnTo>
                <a:close/>
                <a:moveTo>
                  <a:pt x="49" y="14"/>
                </a:moveTo>
                <a:lnTo>
                  <a:pt x="49" y="23"/>
                </a:lnTo>
                <a:lnTo>
                  <a:pt x="54" y="17"/>
                </a:lnTo>
                <a:lnTo>
                  <a:pt x="49" y="14"/>
                </a:lnTo>
                <a:close/>
                <a:moveTo>
                  <a:pt x="67" y="45"/>
                </a:moveTo>
                <a:lnTo>
                  <a:pt x="60" y="53"/>
                </a:lnTo>
                <a:lnTo>
                  <a:pt x="52" y="51"/>
                </a:lnTo>
                <a:lnTo>
                  <a:pt x="51" y="68"/>
                </a:lnTo>
                <a:lnTo>
                  <a:pt x="57" y="68"/>
                </a:lnTo>
                <a:lnTo>
                  <a:pt x="63" y="60"/>
                </a:lnTo>
                <a:lnTo>
                  <a:pt x="74" y="57"/>
                </a:lnTo>
                <a:lnTo>
                  <a:pt x="67" y="45"/>
                </a:lnTo>
                <a:close/>
                <a:moveTo>
                  <a:pt x="72" y="87"/>
                </a:moveTo>
                <a:lnTo>
                  <a:pt x="69" y="101"/>
                </a:lnTo>
                <a:lnTo>
                  <a:pt x="75" y="105"/>
                </a:lnTo>
                <a:lnTo>
                  <a:pt x="75" y="90"/>
                </a:lnTo>
                <a:lnTo>
                  <a:pt x="72" y="87"/>
                </a:lnTo>
                <a:close/>
                <a:moveTo>
                  <a:pt x="77" y="121"/>
                </a:moveTo>
                <a:lnTo>
                  <a:pt x="86" y="128"/>
                </a:lnTo>
                <a:lnTo>
                  <a:pt x="92" y="143"/>
                </a:lnTo>
                <a:lnTo>
                  <a:pt x="84" y="141"/>
                </a:lnTo>
                <a:lnTo>
                  <a:pt x="77" y="121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39" name="Freeform 228"/>
          <p:cNvSpPr>
            <a:spLocks noChangeAspect="1" noEditPoints="1"/>
          </p:cNvSpPr>
          <p:nvPr/>
        </p:nvSpPr>
        <p:spPr bwMode="gray">
          <a:xfrm>
            <a:off x="2543175" y="3614738"/>
            <a:ext cx="128588" cy="55562"/>
          </a:xfrm>
          <a:custGeom>
            <a:avLst/>
            <a:gdLst>
              <a:gd name="T0" fmla="*/ 2147483647 w 267"/>
              <a:gd name="T1" fmla="*/ 2147483647 h 111"/>
              <a:gd name="T2" fmla="*/ 2147483647 w 267"/>
              <a:gd name="T3" fmla="*/ 2147483647 h 111"/>
              <a:gd name="T4" fmla="*/ 2147483647 w 267"/>
              <a:gd name="T5" fmla="*/ 2147483647 h 111"/>
              <a:gd name="T6" fmla="*/ 2147483647 w 267"/>
              <a:gd name="T7" fmla="*/ 2147483647 h 111"/>
              <a:gd name="T8" fmla="*/ 2147483647 w 267"/>
              <a:gd name="T9" fmla="*/ 2147483647 h 111"/>
              <a:gd name="T10" fmla="*/ 2147483647 w 267"/>
              <a:gd name="T11" fmla="*/ 2147483647 h 111"/>
              <a:gd name="T12" fmla="*/ 2147483647 w 267"/>
              <a:gd name="T13" fmla="*/ 2147483647 h 111"/>
              <a:gd name="T14" fmla="*/ 2147483647 w 267"/>
              <a:gd name="T15" fmla="*/ 0 h 111"/>
              <a:gd name="T16" fmla="*/ 2147483647 w 267"/>
              <a:gd name="T17" fmla="*/ 2147483647 h 111"/>
              <a:gd name="T18" fmla="*/ 2147483647 w 267"/>
              <a:gd name="T19" fmla="*/ 2147483647 h 111"/>
              <a:gd name="T20" fmla="*/ 2147483647 w 267"/>
              <a:gd name="T21" fmla="*/ 2147483647 h 111"/>
              <a:gd name="T22" fmla="*/ 2147483647 w 267"/>
              <a:gd name="T23" fmla="*/ 2147483647 h 111"/>
              <a:gd name="T24" fmla="*/ 2147483647 w 267"/>
              <a:gd name="T25" fmla="*/ 2147483647 h 111"/>
              <a:gd name="T26" fmla="*/ 2147483647 w 267"/>
              <a:gd name="T27" fmla="*/ 2147483647 h 111"/>
              <a:gd name="T28" fmla="*/ 2147483647 w 267"/>
              <a:gd name="T29" fmla="*/ 2147483647 h 111"/>
              <a:gd name="T30" fmla="*/ 2147483647 w 267"/>
              <a:gd name="T31" fmla="*/ 2147483647 h 111"/>
              <a:gd name="T32" fmla="*/ 2147483647 w 267"/>
              <a:gd name="T33" fmla="*/ 2147483647 h 111"/>
              <a:gd name="T34" fmla="*/ 2147483647 w 267"/>
              <a:gd name="T35" fmla="*/ 0 h 111"/>
              <a:gd name="T36" fmla="*/ 2147483647 w 267"/>
              <a:gd name="T37" fmla="*/ 0 h 111"/>
              <a:gd name="T38" fmla="*/ 2147483647 w 267"/>
              <a:gd name="T39" fmla="*/ 2147483647 h 111"/>
              <a:gd name="T40" fmla="*/ 2147483647 w 267"/>
              <a:gd name="T41" fmla="*/ 2147483647 h 111"/>
              <a:gd name="T42" fmla="*/ 2147483647 w 267"/>
              <a:gd name="T43" fmla="*/ 2147483647 h 111"/>
              <a:gd name="T44" fmla="*/ 2147483647 w 267"/>
              <a:gd name="T45" fmla="*/ 2147483647 h 111"/>
              <a:gd name="T46" fmla="*/ 0 w 267"/>
              <a:gd name="T47" fmla="*/ 2147483647 h 111"/>
              <a:gd name="T48" fmla="*/ 2147483647 w 267"/>
              <a:gd name="T49" fmla="*/ 2147483647 h 111"/>
              <a:gd name="T50" fmla="*/ 2147483647 w 267"/>
              <a:gd name="T51" fmla="*/ 2147483647 h 111"/>
              <a:gd name="T52" fmla="*/ 2147483647 w 267"/>
              <a:gd name="T53" fmla="*/ 2147483647 h 111"/>
              <a:gd name="T54" fmla="*/ 2147483647 w 267"/>
              <a:gd name="T55" fmla="*/ 2147483647 h 111"/>
              <a:gd name="T56" fmla="*/ 2147483647 w 267"/>
              <a:gd name="T57" fmla="*/ 2147483647 h 111"/>
              <a:gd name="T58" fmla="*/ 2147483647 w 267"/>
              <a:gd name="T59" fmla="*/ 2147483647 h 111"/>
              <a:gd name="T60" fmla="*/ 2147483647 w 267"/>
              <a:gd name="T61" fmla="*/ 2147483647 h 111"/>
              <a:gd name="T62" fmla="*/ 2147483647 w 267"/>
              <a:gd name="T63" fmla="*/ 2147483647 h 111"/>
              <a:gd name="T64" fmla="*/ 2147483647 w 267"/>
              <a:gd name="T65" fmla="*/ 2147483647 h 111"/>
              <a:gd name="T66" fmla="*/ 2147483647 w 267"/>
              <a:gd name="T67" fmla="*/ 2147483647 h 111"/>
              <a:gd name="T68" fmla="*/ 2147483647 w 267"/>
              <a:gd name="T69" fmla="*/ 2147483647 h 111"/>
              <a:gd name="T70" fmla="*/ 2147483647 w 267"/>
              <a:gd name="T71" fmla="*/ 2147483647 h 111"/>
              <a:gd name="T72" fmla="*/ 2147483647 w 267"/>
              <a:gd name="T73" fmla="*/ 2147483647 h 111"/>
              <a:gd name="T74" fmla="*/ 2147483647 w 267"/>
              <a:gd name="T75" fmla="*/ 2147483647 h 111"/>
              <a:gd name="T76" fmla="*/ 2147483647 w 267"/>
              <a:gd name="T77" fmla="*/ 2147483647 h 111"/>
              <a:gd name="T78" fmla="*/ 2147483647 w 267"/>
              <a:gd name="T79" fmla="*/ 2147483647 h 111"/>
              <a:gd name="T80" fmla="*/ 2147483647 w 267"/>
              <a:gd name="T81" fmla="*/ 2147483647 h 111"/>
              <a:gd name="T82" fmla="*/ 2147483647 w 267"/>
              <a:gd name="T83" fmla="*/ 2147483647 h 111"/>
              <a:gd name="T84" fmla="*/ 2147483647 w 267"/>
              <a:gd name="T85" fmla="*/ 2147483647 h 111"/>
              <a:gd name="T86" fmla="*/ 2147483647 w 267"/>
              <a:gd name="T87" fmla="*/ 2147483647 h 111"/>
              <a:gd name="T88" fmla="*/ 2147483647 w 267"/>
              <a:gd name="T89" fmla="*/ 2147483647 h 111"/>
              <a:gd name="T90" fmla="*/ 2147483647 w 267"/>
              <a:gd name="T91" fmla="*/ 2147483647 h 111"/>
              <a:gd name="T92" fmla="*/ 2147483647 w 267"/>
              <a:gd name="T93" fmla="*/ 2147483647 h 111"/>
              <a:gd name="T94" fmla="*/ 2147483647 w 267"/>
              <a:gd name="T95" fmla="*/ 2147483647 h 111"/>
              <a:gd name="T96" fmla="*/ 2147483647 w 267"/>
              <a:gd name="T97" fmla="*/ 2147483647 h 111"/>
              <a:gd name="T98" fmla="*/ 2147483647 w 267"/>
              <a:gd name="T99" fmla="*/ 2147483647 h 111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267"/>
              <a:gd name="T151" fmla="*/ 0 h 111"/>
              <a:gd name="T152" fmla="*/ 267 w 267"/>
              <a:gd name="T153" fmla="*/ 111 h 111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267" h="111">
                <a:moveTo>
                  <a:pt x="235" y="107"/>
                </a:moveTo>
                <a:lnTo>
                  <a:pt x="244" y="91"/>
                </a:lnTo>
                <a:lnTo>
                  <a:pt x="252" y="93"/>
                </a:lnTo>
                <a:lnTo>
                  <a:pt x="267" y="74"/>
                </a:lnTo>
                <a:lnTo>
                  <a:pt x="255" y="54"/>
                </a:lnTo>
                <a:lnTo>
                  <a:pt x="258" y="46"/>
                </a:lnTo>
                <a:lnTo>
                  <a:pt x="225" y="15"/>
                </a:lnTo>
                <a:lnTo>
                  <a:pt x="176" y="0"/>
                </a:lnTo>
                <a:lnTo>
                  <a:pt x="153" y="1"/>
                </a:lnTo>
                <a:lnTo>
                  <a:pt x="149" y="22"/>
                </a:lnTo>
                <a:lnTo>
                  <a:pt x="141" y="25"/>
                </a:lnTo>
                <a:lnTo>
                  <a:pt x="139" y="17"/>
                </a:lnTo>
                <a:lnTo>
                  <a:pt x="132" y="17"/>
                </a:lnTo>
                <a:lnTo>
                  <a:pt x="85" y="37"/>
                </a:lnTo>
                <a:lnTo>
                  <a:pt x="60" y="29"/>
                </a:lnTo>
                <a:lnTo>
                  <a:pt x="40" y="29"/>
                </a:lnTo>
                <a:lnTo>
                  <a:pt x="32" y="6"/>
                </a:lnTo>
                <a:lnTo>
                  <a:pt x="20" y="0"/>
                </a:lnTo>
                <a:lnTo>
                  <a:pt x="12" y="0"/>
                </a:lnTo>
                <a:lnTo>
                  <a:pt x="6" y="6"/>
                </a:lnTo>
                <a:lnTo>
                  <a:pt x="5" y="18"/>
                </a:lnTo>
                <a:lnTo>
                  <a:pt x="14" y="25"/>
                </a:lnTo>
                <a:lnTo>
                  <a:pt x="6" y="51"/>
                </a:lnTo>
                <a:lnTo>
                  <a:pt x="0" y="59"/>
                </a:lnTo>
                <a:lnTo>
                  <a:pt x="5" y="68"/>
                </a:lnTo>
                <a:lnTo>
                  <a:pt x="12" y="59"/>
                </a:lnTo>
                <a:lnTo>
                  <a:pt x="57" y="68"/>
                </a:lnTo>
                <a:lnTo>
                  <a:pt x="77" y="93"/>
                </a:lnTo>
                <a:lnTo>
                  <a:pt x="93" y="86"/>
                </a:lnTo>
                <a:lnTo>
                  <a:pt x="100" y="111"/>
                </a:lnTo>
                <a:lnTo>
                  <a:pt x="115" y="111"/>
                </a:lnTo>
                <a:lnTo>
                  <a:pt x="134" y="98"/>
                </a:lnTo>
                <a:lnTo>
                  <a:pt x="119" y="77"/>
                </a:lnTo>
                <a:lnTo>
                  <a:pt x="119" y="68"/>
                </a:lnTo>
                <a:lnTo>
                  <a:pt x="142" y="56"/>
                </a:lnTo>
                <a:lnTo>
                  <a:pt x="161" y="34"/>
                </a:lnTo>
                <a:lnTo>
                  <a:pt x="174" y="29"/>
                </a:lnTo>
                <a:lnTo>
                  <a:pt x="203" y="43"/>
                </a:lnTo>
                <a:lnTo>
                  <a:pt x="212" y="54"/>
                </a:lnTo>
                <a:lnTo>
                  <a:pt x="225" y="52"/>
                </a:lnTo>
                <a:lnTo>
                  <a:pt x="230" y="56"/>
                </a:lnTo>
                <a:lnTo>
                  <a:pt x="218" y="66"/>
                </a:lnTo>
                <a:lnTo>
                  <a:pt x="216" y="77"/>
                </a:lnTo>
                <a:lnTo>
                  <a:pt x="221" y="93"/>
                </a:lnTo>
                <a:lnTo>
                  <a:pt x="235" y="107"/>
                </a:lnTo>
                <a:close/>
                <a:moveTo>
                  <a:pt x="57" y="88"/>
                </a:moveTo>
                <a:lnTo>
                  <a:pt x="52" y="100"/>
                </a:lnTo>
                <a:lnTo>
                  <a:pt x="59" y="107"/>
                </a:lnTo>
                <a:lnTo>
                  <a:pt x="60" y="90"/>
                </a:lnTo>
                <a:lnTo>
                  <a:pt x="57" y="88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40" name="Freeform 229"/>
          <p:cNvSpPr>
            <a:spLocks noChangeAspect="1" noEditPoints="1"/>
          </p:cNvSpPr>
          <p:nvPr/>
        </p:nvSpPr>
        <p:spPr bwMode="gray">
          <a:xfrm>
            <a:off x="1754188" y="3059113"/>
            <a:ext cx="704850" cy="442912"/>
          </a:xfrm>
          <a:custGeom>
            <a:avLst/>
            <a:gdLst>
              <a:gd name="T0" fmla="*/ 2147483647 w 1450"/>
              <a:gd name="T1" fmla="*/ 2147483647 h 908"/>
              <a:gd name="T2" fmla="*/ 2147483647 w 1450"/>
              <a:gd name="T3" fmla="*/ 2147483647 h 908"/>
              <a:gd name="T4" fmla="*/ 2147483647 w 1450"/>
              <a:gd name="T5" fmla="*/ 2147483647 h 908"/>
              <a:gd name="T6" fmla="*/ 2147483647 w 1450"/>
              <a:gd name="T7" fmla="*/ 2147483647 h 908"/>
              <a:gd name="T8" fmla="*/ 2147483647 w 1450"/>
              <a:gd name="T9" fmla="*/ 2147483647 h 908"/>
              <a:gd name="T10" fmla="*/ 2147483647 w 1450"/>
              <a:gd name="T11" fmla="*/ 2147483647 h 908"/>
              <a:gd name="T12" fmla="*/ 2147483647 w 1450"/>
              <a:gd name="T13" fmla="*/ 2147483647 h 908"/>
              <a:gd name="T14" fmla="*/ 2147483647 w 1450"/>
              <a:gd name="T15" fmla="*/ 2147483647 h 908"/>
              <a:gd name="T16" fmla="*/ 2147483647 w 1450"/>
              <a:gd name="T17" fmla="*/ 2147483647 h 908"/>
              <a:gd name="T18" fmla="*/ 2147483647 w 1450"/>
              <a:gd name="T19" fmla="*/ 2147483647 h 908"/>
              <a:gd name="T20" fmla="*/ 2147483647 w 1450"/>
              <a:gd name="T21" fmla="*/ 2147483647 h 908"/>
              <a:gd name="T22" fmla="*/ 2147483647 w 1450"/>
              <a:gd name="T23" fmla="*/ 2147483647 h 908"/>
              <a:gd name="T24" fmla="*/ 2147483647 w 1450"/>
              <a:gd name="T25" fmla="*/ 2147483647 h 908"/>
              <a:gd name="T26" fmla="*/ 2147483647 w 1450"/>
              <a:gd name="T27" fmla="*/ 2147483647 h 908"/>
              <a:gd name="T28" fmla="*/ 2147483647 w 1450"/>
              <a:gd name="T29" fmla="*/ 2147483647 h 908"/>
              <a:gd name="T30" fmla="*/ 2147483647 w 1450"/>
              <a:gd name="T31" fmla="*/ 2147483647 h 908"/>
              <a:gd name="T32" fmla="*/ 2147483647 w 1450"/>
              <a:gd name="T33" fmla="*/ 2147483647 h 908"/>
              <a:gd name="T34" fmla="*/ 2147483647 w 1450"/>
              <a:gd name="T35" fmla="*/ 2147483647 h 908"/>
              <a:gd name="T36" fmla="*/ 2147483647 w 1450"/>
              <a:gd name="T37" fmla="*/ 2147483647 h 908"/>
              <a:gd name="T38" fmla="*/ 2147483647 w 1450"/>
              <a:gd name="T39" fmla="*/ 2147483647 h 908"/>
              <a:gd name="T40" fmla="*/ 2147483647 w 1450"/>
              <a:gd name="T41" fmla="*/ 2147483647 h 908"/>
              <a:gd name="T42" fmla="*/ 2147483647 w 1450"/>
              <a:gd name="T43" fmla="*/ 2147483647 h 908"/>
              <a:gd name="T44" fmla="*/ 2147483647 w 1450"/>
              <a:gd name="T45" fmla="*/ 2147483647 h 908"/>
              <a:gd name="T46" fmla="*/ 2147483647 w 1450"/>
              <a:gd name="T47" fmla="*/ 2147483647 h 908"/>
              <a:gd name="T48" fmla="*/ 2147483647 w 1450"/>
              <a:gd name="T49" fmla="*/ 2147483647 h 908"/>
              <a:gd name="T50" fmla="*/ 2147483647 w 1450"/>
              <a:gd name="T51" fmla="*/ 2147483647 h 908"/>
              <a:gd name="T52" fmla="*/ 2147483647 w 1450"/>
              <a:gd name="T53" fmla="*/ 2147483647 h 908"/>
              <a:gd name="T54" fmla="*/ 2147483647 w 1450"/>
              <a:gd name="T55" fmla="*/ 2147483647 h 908"/>
              <a:gd name="T56" fmla="*/ 2147483647 w 1450"/>
              <a:gd name="T57" fmla="*/ 2147483647 h 908"/>
              <a:gd name="T58" fmla="*/ 2147483647 w 1450"/>
              <a:gd name="T59" fmla="*/ 2147483647 h 908"/>
              <a:gd name="T60" fmla="*/ 2147483647 w 1450"/>
              <a:gd name="T61" fmla="*/ 2147483647 h 908"/>
              <a:gd name="T62" fmla="*/ 2147483647 w 1450"/>
              <a:gd name="T63" fmla="*/ 2147483647 h 908"/>
              <a:gd name="T64" fmla="*/ 2147483647 w 1450"/>
              <a:gd name="T65" fmla="*/ 2147483647 h 908"/>
              <a:gd name="T66" fmla="*/ 2147483647 w 1450"/>
              <a:gd name="T67" fmla="*/ 2147483647 h 908"/>
              <a:gd name="T68" fmla="*/ 2147483647 w 1450"/>
              <a:gd name="T69" fmla="*/ 2147483647 h 908"/>
              <a:gd name="T70" fmla="*/ 2147483647 w 1450"/>
              <a:gd name="T71" fmla="*/ 2147483647 h 908"/>
              <a:gd name="T72" fmla="*/ 2147483647 w 1450"/>
              <a:gd name="T73" fmla="*/ 2147483647 h 908"/>
              <a:gd name="T74" fmla="*/ 2147483647 w 1450"/>
              <a:gd name="T75" fmla="*/ 2147483647 h 908"/>
              <a:gd name="T76" fmla="*/ 2147483647 w 1450"/>
              <a:gd name="T77" fmla="*/ 2147483647 h 908"/>
              <a:gd name="T78" fmla="*/ 2147483647 w 1450"/>
              <a:gd name="T79" fmla="*/ 2147483647 h 908"/>
              <a:gd name="T80" fmla="*/ 2147483647 w 1450"/>
              <a:gd name="T81" fmla="*/ 2147483647 h 908"/>
              <a:gd name="T82" fmla="*/ 2147483647 w 1450"/>
              <a:gd name="T83" fmla="*/ 2147483647 h 908"/>
              <a:gd name="T84" fmla="*/ 2147483647 w 1450"/>
              <a:gd name="T85" fmla="*/ 2147483647 h 908"/>
              <a:gd name="T86" fmla="*/ 2147483647 w 1450"/>
              <a:gd name="T87" fmla="*/ 2147483647 h 908"/>
              <a:gd name="T88" fmla="*/ 2147483647 w 1450"/>
              <a:gd name="T89" fmla="*/ 2147483647 h 908"/>
              <a:gd name="T90" fmla="*/ 2147483647 w 1450"/>
              <a:gd name="T91" fmla="*/ 2147483647 h 908"/>
              <a:gd name="T92" fmla="*/ 2147483647 w 1450"/>
              <a:gd name="T93" fmla="*/ 2147483647 h 908"/>
              <a:gd name="T94" fmla="*/ 2147483647 w 1450"/>
              <a:gd name="T95" fmla="*/ 2147483647 h 908"/>
              <a:gd name="T96" fmla="*/ 2147483647 w 1450"/>
              <a:gd name="T97" fmla="*/ 2147483647 h 908"/>
              <a:gd name="T98" fmla="*/ 2147483647 w 1450"/>
              <a:gd name="T99" fmla="*/ 2147483647 h 908"/>
              <a:gd name="T100" fmla="*/ 2147483647 w 1450"/>
              <a:gd name="T101" fmla="*/ 2147483647 h 908"/>
              <a:gd name="T102" fmla="*/ 2147483647 w 1450"/>
              <a:gd name="T103" fmla="*/ 2147483647 h 908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1450"/>
              <a:gd name="T157" fmla="*/ 0 h 908"/>
              <a:gd name="T158" fmla="*/ 1450 w 1450"/>
              <a:gd name="T159" fmla="*/ 908 h 908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1450" h="908">
                <a:moveTo>
                  <a:pt x="159" y="45"/>
                </a:moveTo>
                <a:lnTo>
                  <a:pt x="190" y="63"/>
                </a:lnTo>
                <a:lnTo>
                  <a:pt x="207" y="63"/>
                </a:lnTo>
                <a:lnTo>
                  <a:pt x="214" y="74"/>
                </a:lnTo>
                <a:lnTo>
                  <a:pt x="238" y="82"/>
                </a:lnTo>
                <a:lnTo>
                  <a:pt x="243" y="110"/>
                </a:lnTo>
                <a:lnTo>
                  <a:pt x="258" y="148"/>
                </a:lnTo>
                <a:lnTo>
                  <a:pt x="268" y="156"/>
                </a:lnTo>
                <a:lnTo>
                  <a:pt x="274" y="177"/>
                </a:lnTo>
                <a:lnTo>
                  <a:pt x="280" y="184"/>
                </a:lnTo>
                <a:lnTo>
                  <a:pt x="297" y="214"/>
                </a:lnTo>
                <a:lnTo>
                  <a:pt x="334" y="249"/>
                </a:lnTo>
                <a:lnTo>
                  <a:pt x="356" y="257"/>
                </a:lnTo>
                <a:lnTo>
                  <a:pt x="354" y="272"/>
                </a:lnTo>
                <a:lnTo>
                  <a:pt x="361" y="285"/>
                </a:lnTo>
                <a:lnTo>
                  <a:pt x="382" y="299"/>
                </a:lnTo>
                <a:lnTo>
                  <a:pt x="395" y="317"/>
                </a:lnTo>
                <a:lnTo>
                  <a:pt x="407" y="317"/>
                </a:lnTo>
                <a:lnTo>
                  <a:pt x="422" y="333"/>
                </a:lnTo>
                <a:lnTo>
                  <a:pt x="412" y="356"/>
                </a:lnTo>
                <a:lnTo>
                  <a:pt x="418" y="373"/>
                </a:lnTo>
                <a:lnTo>
                  <a:pt x="433" y="368"/>
                </a:lnTo>
                <a:lnTo>
                  <a:pt x="433" y="382"/>
                </a:lnTo>
                <a:lnTo>
                  <a:pt x="455" y="392"/>
                </a:lnTo>
                <a:lnTo>
                  <a:pt x="463" y="390"/>
                </a:lnTo>
                <a:lnTo>
                  <a:pt x="480" y="405"/>
                </a:lnTo>
                <a:lnTo>
                  <a:pt x="481" y="426"/>
                </a:lnTo>
                <a:lnTo>
                  <a:pt x="526" y="460"/>
                </a:lnTo>
                <a:lnTo>
                  <a:pt x="531" y="473"/>
                </a:lnTo>
                <a:lnTo>
                  <a:pt x="537" y="477"/>
                </a:lnTo>
                <a:lnTo>
                  <a:pt x="551" y="498"/>
                </a:lnTo>
                <a:lnTo>
                  <a:pt x="583" y="526"/>
                </a:lnTo>
                <a:lnTo>
                  <a:pt x="590" y="558"/>
                </a:lnTo>
                <a:lnTo>
                  <a:pt x="597" y="565"/>
                </a:lnTo>
                <a:lnTo>
                  <a:pt x="607" y="590"/>
                </a:lnTo>
                <a:lnTo>
                  <a:pt x="605" y="602"/>
                </a:lnTo>
                <a:lnTo>
                  <a:pt x="597" y="612"/>
                </a:lnTo>
                <a:lnTo>
                  <a:pt x="603" y="624"/>
                </a:lnTo>
                <a:lnTo>
                  <a:pt x="586" y="634"/>
                </a:lnTo>
                <a:lnTo>
                  <a:pt x="597" y="661"/>
                </a:lnTo>
                <a:lnTo>
                  <a:pt x="627" y="688"/>
                </a:lnTo>
                <a:lnTo>
                  <a:pt x="647" y="693"/>
                </a:lnTo>
                <a:lnTo>
                  <a:pt x="668" y="709"/>
                </a:lnTo>
                <a:lnTo>
                  <a:pt x="688" y="734"/>
                </a:lnTo>
                <a:lnTo>
                  <a:pt x="739" y="749"/>
                </a:lnTo>
                <a:lnTo>
                  <a:pt x="756" y="751"/>
                </a:lnTo>
                <a:lnTo>
                  <a:pt x="803" y="786"/>
                </a:lnTo>
                <a:lnTo>
                  <a:pt x="894" y="819"/>
                </a:lnTo>
                <a:lnTo>
                  <a:pt x="902" y="817"/>
                </a:lnTo>
                <a:lnTo>
                  <a:pt x="930" y="837"/>
                </a:lnTo>
                <a:lnTo>
                  <a:pt x="958" y="848"/>
                </a:lnTo>
                <a:lnTo>
                  <a:pt x="981" y="849"/>
                </a:lnTo>
                <a:lnTo>
                  <a:pt x="1004" y="859"/>
                </a:lnTo>
                <a:lnTo>
                  <a:pt x="1021" y="859"/>
                </a:lnTo>
                <a:lnTo>
                  <a:pt x="1071" y="832"/>
                </a:lnTo>
                <a:lnTo>
                  <a:pt x="1100" y="835"/>
                </a:lnTo>
                <a:lnTo>
                  <a:pt x="1139" y="852"/>
                </a:lnTo>
                <a:lnTo>
                  <a:pt x="1199" y="908"/>
                </a:lnTo>
                <a:lnTo>
                  <a:pt x="1205" y="890"/>
                </a:lnTo>
                <a:lnTo>
                  <a:pt x="1203" y="883"/>
                </a:lnTo>
                <a:lnTo>
                  <a:pt x="1232" y="835"/>
                </a:lnTo>
                <a:lnTo>
                  <a:pt x="1278" y="834"/>
                </a:lnTo>
                <a:lnTo>
                  <a:pt x="1279" y="822"/>
                </a:lnTo>
                <a:lnTo>
                  <a:pt x="1265" y="803"/>
                </a:lnTo>
                <a:lnTo>
                  <a:pt x="1230" y="775"/>
                </a:lnTo>
                <a:lnTo>
                  <a:pt x="1259" y="775"/>
                </a:lnTo>
                <a:lnTo>
                  <a:pt x="1259" y="751"/>
                </a:lnTo>
                <a:lnTo>
                  <a:pt x="1303" y="751"/>
                </a:lnTo>
                <a:lnTo>
                  <a:pt x="1338" y="751"/>
                </a:lnTo>
                <a:lnTo>
                  <a:pt x="1354" y="749"/>
                </a:lnTo>
                <a:lnTo>
                  <a:pt x="1367" y="726"/>
                </a:lnTo>
                <a:lnTo>
                  <a:pt x="1375" y="724"/>
                </a:lnTo>
                <a:lnTo>
                  <a:pt x="1386" y="705"/>
                </a:lnTo>
                <a:lnTo>
                  <a:pt x="1391" y="707"/>
                </a:lnTo>
                <a:lnTo>
                  <a:pt x="1389" y="721"/>
                </a:lnTo>
                <a:lnTo>
                  <a:pt x="1396" y="724"/>
                </a:lnTo>
                <a:lnTo>
                  <a:pt x="1396" y="744"/>
                </a:lnTo>
                <a:lnTo>
                  <a:pt x="1400" y="741"/>
                </a:lnTo>
                <a:lnTo>
                  <a:pt x="1414" y="684"/>
                </a:lnTo>
                <a:lnTo>
                  <a:pt x="1408" y="676"/>
                </a:lnTo>
                <a:lnTo>
                  <a:pt x="1414" y="671"/>
                </a:lnTo>
                <a:lnTo>
                  <a:pt x="1414" y="667"/>
                </a:lnTo>
                <a:lnTo>
                  <a:pt x="1408" y="662"/>
                </a:lnTo>
                <a:lnTo>
                  <a:pt x="1426" y="624"/>
                </a:lnTo>
                <a:lnTo>
                  <a:pt x="1443" y="607"/>
                </a:lnTo>
                <a:lnTo>
                  <a:pt x="1447" y="590"/>
                </a:lnTo>
                <a:lnTo>
                  <a:pt x="1440" y="573"/>
                </a:lnTo>
                <a:lnTo>
                  <a:pt x="1414" y="569"/>
                </a:lnTo>
                <a:lnTo>
                  <a:pt x="1403" y="580"/>
                </a:lnTo>
                <a:lnTo>
                  <a:pt x="1403" y="569"/>
                </a:lnTo>
                <a:lnTo>
                  <a:pt x="1389" y="566"/>
                </a:lnTo>
                <a:lnTo>
                  <a:pt x="1352" y="578"/>
                </a:lnTo>
                <a:lnTo>
                  <a:pt x="1312" y="582"/>
                </a:lnTo>
                <a:lnTo>
                  <a:pt x="1284" y="594"/>
                </a:lnTo>
                <a:lnTo>
                  <a:pt x="1276" y="644"/>
                </a:lnTo>
                <a:lnTo>
                  <a:pt x="1262" y="681"/>
                </a:lnTo>
                <a:lnTo>
                  <a:pt x="1241" y="696"/>
                </a:lnTo>
                <a:lnTo>
                  <a:pt x="1242" y="712"/>
                </a:lnTo>
                <a:lnTo>
                  <a:pt x="1227" y="721"/>
                </a:lnTo>
                <a:lnTo>
                  <a:pt x="1215" y="721"/>
                </a:lnTo>
                <a:lnTo>
                  <a:pt x="1211" y="712"/>
                </a:lnTo>
                <a:lnTo>
                  <a:pt x="1190" y="710"/>
                </a:lnTo>
                <a:lnTo>
                  <a:pt x="1186" y="712"/>
                </a:lnTo>
                <a:lnTo>
                  <a:pt x="1165" y="721"/>
                </a:lnTo>
                <a:lnTo>
                  <a:pt x="1125" y="726"/>
                </a:lnTo>
                <a:lnTo>
                  <a:pt x="1106" y="735"/>
                </a:lnTo>
                <a:lnTo>
                  <a:pt x="1094" y="735"/>
                </a:lnTo>
                <a:lnTo>
                  <a:pt x="1071" y="713"/>
                </a:lnTo>
                <a:lnTo>
                  <a:pt x="1057" y="713"/>
                </a:lnTo>
                <a:lnTo>
                  <a:pt x="1037" y="704"/>
                </a:lnTo>
                <a:lnTo>
                  <a:pt x="1018" y="687"/>
                </a:lnTo>
                <a:lnTo>
                  <a:pt x="1004" y="650"/>
                </a:lnTo>
                <a:lnTo>
                  <a:pt x="981" y="622"/>
                </a:lnTo>
                <a:lnTo>
                  <a:pt x="969" y="602"/>
                </a:lnTo>
                <a:lnTo>
                  <a:pt x="966" y="594"/>
                </a:lnTo>
                <a:lnTo>
                  <a:pt x="971" y="583"/>
                </a:lnTo>
                <a:lnTo>
                  <a:pt x="969" y="574"/>
                </a:lnTo>
                <a:lnTo>
                  <a:pt x="954" y="558"/>
                </a:lnTo>
                <a:lnTo>
                  <a:pt x="947" y="541"/>
                </a:lnTo>
                <a:lnTo>
                  <a:pt x="950" y="481"/>
                </a:lnTo>
                <a:lnTo>
                  <a:pt x="942" y="418"/>
                </a:lnTo>
                <a:lnTo>
                  <a:pt x="953" y="402"/>
                </a:lnTo>
                <a:lnTo>
                  <a:pt x="954" y="385"/>
                </a:lnTo>
                <a:lnTo>
                  <a:pt x="969" y="384"/>
                </a:lnTo>
                <a:lnTo>
                  <a:pt x="975" y="376"/>
                </a:lnTo>
                <a:lnTo>
                  <a:pt x="978" y="363"/>
                </a:lnTo>
                <a:lnTo>
                  <a:pt x="969" y="371"/>
                </a:lnTo>
                <a:lnTo>
                  <a:pt x="975" y="356"/>
                </a:lnTo>
                <a:lnTo>
                  <a:pt x="976" y="354"/>
                </a:lnTo>
                <a:lnTo>
                  <a:pt x="961" y="356"/>
                </a:lnTo>
                <a:lnTo>
                  <a:pt x="945" y="348"/>
                </a:lnTo>
                <a:lnTo>
                  <a:pt x="922" y="346"/>
                </a:lnTo>
                <a:lnTo>
                  <a:pt x="899" y="337"/>
                </a:lnTo>
                <a:lnTo>
                  <a:pt x="885" y="329"/>
                </a:lnTo>
                <a:lnTo>
                  <a:pt x="869" y="308"/>
                </a:lnTo>
                <a:lnTo>
                  <a:pt x="857" y="266"/>
                </a:lnTo>
                <a:lnTo>
                  <a:pt x="842" y="257"/>
                </a:lnTo>
                <a:lnTo>
                  <a:pt x="835" y="241"/>
                </a:lnTo>
                <a:lnTo>
                  <a:pt x="822" y="228"/>
                </a:lnTo>
                <a:lnTo>
                  <a:pt x="805" y="189"/>
                </a:lnTo>
                <a:lnTo>
                  <a:pt x="778" y="160"/>
                </a:lnTo>
                <a:lnTo>
                  <a:pt x="769" y="152"/>
                </a:lnTo>
                <a:lnTo>
                  <a:pt x="724" y="150"/>
                </a:lnTo>
                <a:lnTo>
                  <a:pt x="713" y="155"/>
                </a:lnTo>
                <a:lnTo>
                  <a:pt x="692" y="198"/>
                </a:lnTo>
                <a:lnTo>
                  <a:pt x="673" y="192"/>
                </a:lnTo>
                <a:lnTo>
                  <a:pt x="636" y="167"/>
                </a:lnTo>
                <a:lnTo>
                  <a:pt x="624" y="150"/>
                </a:lnTo>
                <a:lnTo>
                  <a:pt x="611" y="108"/>
                </a:lnTo>
                <a:lnTo>
                  <a:pt x="586" y="93"/>
                </a:lnTo>
                <a:lnTo>
                  <a:pt x="563" y="67"/>
                </a:lnTo>
                <a:lnTo>
                  <a:pt x="552" y="62"/>
                </a:lnTo>
                <a:lnTo>
                  <a:pt x="548" y="51"/>
                </a:lnTo>
                <a:lnTo>
                  <a:pt x="534" y="45"/>
                </a:lnTo>
                <a:lnTo>
                  <a:pt x="498" y="45"/>
                </a:lnTo>
                <a:lnTo>
                  <a:pt x="459" y="45"/>
                </a:lnTo>
                <a:lnTo>
                  <a:pt x="458" y="70"/>
                </a:lnTo>
                <a:lnTo>
                  <a:pt x="382" y="70"/>
                </a:lnTo>
                <a:lnTo>
                  <a:pt x="334" y="70"/>
                </a:lnTo>
                <a:lnTo>
                  <a:pt x="268" y="45"/>
                </a:lnTo>
                <a:lnTo>
                  <a:pt x="202" y="21"/>
                </a:lnTo>
                <a:lnTo>
                  <a:pt x="158" y="4"/>
                </a:lnTo>
                <a:lnTo>
                  <a:pt x="158" y="0"/>
                </a:lnTo>
                <a:lnTo>
                  <a:pt x="126" y="3"/>
                </a:lnTo>
                <a:lnTo>
                  <a:pt x="92" y="6"/>
                </a:lnTo>
                <a:lnTo>
                  <a:pt x="53" y="8"/>
                </a:lnTo>
                <a:lnTo>
                  <a:pt x="79" y="46"/>
                </a:lnTo>
                <a:lnTo>
                  <a:pt x="79" y="60"/>
                </a:lnTo>
                <a:lnTo>
                  <a:pt x="102" y="99"/>
                </a:lnTo>
                <a:lnTo>
                  <a:pt x="109" y="124"/>
                </a:lnTo>
                <a:lnTo>
                  <a:pt x="114" y="122"/>
                </a:lnTo>
                <a:lnTo>
                  <a:pt x="122" y="156"/>
                </a:lnTo>
                <a:lnTo>
                  <a:pt x="148" y="175"/>
                </a:lnTo>
                <a:lnTo>
                  <a:pt x="155" y="175"/>
                </a:lnTo>
                <a:lnTo>
                  <a:pt x="197" y="224"/>
                </a:lnTo>
                <a:lnTo>
                  <a:pt x="198" y="248"/>
                </a:lnTo>
                <a:lnTo>
                  <a:pt x="192" y="252"/>
                </a:lnTo>
                <a:lnTo>
                  <a:pt x="193" y="260"/>
                </a:lnTo>
                <a:lnTo>
                  <a:pt x="187" y="257"/>
                </a:lnTo>
                <a:lnTo>
                  <a:pt x="173" y="261"/>
                </a:lnTo>
                <a:lnTo>
                  <a:pt x="155" y="260"/>
                </a:lnTo>
                <a:lnTo>
                  <a:pt x="155" y="265"/>
                </a:lnTo>
                <a:lnTo>
                  <a:pt x="159" y="265"/>
                </a:lnTo>
                <a:lnTo>
                  <a:pt x="176" y="275"/>
                </a:lnTo>
                <a:lnTo>
                  <a:pt x="181" y="289"/>
                </a:lnTo>
                <a:lnTo>
                  <a:pt x="197" y="294"/>
                </a:lnTo>
                <a:lnTo>
                  <a:pt x="221" y="312"/>
                </a:lnTo>
                <a:lnTo>
                  <a:pt x="231" y="314"/>
                </a:lnTo>
                <a:lnTo>
                  <a:pt x="241" y="303"/>
                </a:lnTo>
                <a:lnTo>
                  <a:pt x="244" y="319"/>
                </a:lnTo>
                <a:lnTo>
                  <a:pt x="254" y="333"/>
                </a:lnTo>
                <a:lnTo>
                  <a:pt x="275" y="342"/>
                </a:lnTo>
                <a:lnTo>
                  <a:pt x="286" y="365"/>
                </a:lnTo>
                <a:lnTo>
                  <a:pt x="288" y="390"/>
                </a:lnTo>
                <a:lnTo>
                  <a:pt x="282" y="416"/>
                </a:lnTo>
                <a:lnTo>
                  <a:pt x="286" y="410"/>
                </a:lnTo>
                <a:lnTo>
                  <a:pt x="288" y="416"/>
                </a:lnTo>
                <a:lnTo>
                  <a:pt x="299" y="418"/>
                </a:lnTo>
                <a:lnTo>
                  <a:pt x="302" y="426"/>
                </a:lnTo>
                <a:lnTo>
                  <a:pt x="311" y="427"/>
                </a:lnTo>
                <a:lnTo>
                  <a:pt x="319" y="439"/>
                </a:lnTo>
                <a:lnTo>
                  <a:pt x="363" y="472"/>
                </a:lnTo>
                <a:lnTo>
                  <a:pt x="373" y="481"/>
                </a:lnTo>
                <a:lnTo>
                  <a:pt x="385" y="509"/>
                </a:lnTo>
                <a:lnTo>
                  <a:pt x="405" y="495"/>
                </a:lnTo>
                <a:lnTo>
                  <a:pt x="410" y="483"/>
                </a:lnTo>
                <a:lnTo>
                  <a:pt x="407" y="477"/>
                </a:lnTo>
                <a:lnTo>
                  <a:pt x="393" y="455"/>
                </a:lnTo>
                <a:lnTo>
                  <a:pt x="375" y="439"/>
                </a:lnTo>
                <a:lnTo>
                  <a:pt x="367" y="446"/>
                </a:lnTo>
                <a:lnTo>
                  <a:pt x="358" y="439"/>
                </a:lnTo>
                <a:lnTo>
                  <a:pt x="351" y="424"/>
                </a:lnTo>
                <a:lnTo>
                  <a:pt x="351" y="410"/>
                </a:lnTo>
                <a:lnTo>
                  <a:pt x="341" y="393"/>
                </a:lnTo>
                <a:lnTo>
                  <a:pt x="341" y="379"/>
                </a:lnTo>
                <a:lnTo>
                  <a:pt x="325" y="363"/>
                </a:lnTo>
                <a:lnTo>
                  <a:pt x="322" y="339"/>
                </a:lnTo>
                <a:lnTo>
                  <a:pt x="312" y="317"/>
                </a:lnTo>
                <a:lnTo>
                  <a:pt x="300" y="311"/>
                </a:lnTo>
                <a:lnTo>
                  <a:pt x="305" y="325"/>
                </a:lnTo>
                <a:lnTo>
                  <a:pt x="299" y="319"/>
                </a:lnTo>
                <a:lnTo>
                  <a:pt x="294" y="300"/>
                </a:lnTo>
                <a:lnTo>
                  <a:pt x="283" y="292"/>
                </a:lnTo>
                <a:lnTo>
                  <a:pt x="278" y="275"/>
                </a:lnTo>
                <a:lnTo>
                  <a:pt x="261" y="258"/>
                </a:lnTo>
                <a:lnTo>
                  <a:pt x="254" y="229"/>
                </a:lnTo>
                <a:lnTo>
                  <a:pt x="246" y="224"/>
                </a:lnTo>
                <a:lnTo>
                  <a:pt x="238" y="206"/>
                </a:lnTo>
                <a:lnTo>
                  <a:pt x="226" y="203"/>
                </a:lnTo>
                <a:lnTo>
                  <a:pt x="217" y="182"/>
                </a:lnTo>
                <a:lnTo>
                  <a:pt x="192" y="158"/>
                </a:lnTo>
                <a:lnTo>
                  <a:pt x="185" y="158"/>
                </a:lnTo>
                <a:lnTo>
                  <a:pt x="173" y="136"/>
                </a:lnTo>
                <a:lnTo>
                  <a:pt x="168" y="96"/>
                </a:lnTo>
                <a:lnTo>
                  <a:pt x="163" y="84"/>
                </a:lnTo>
                <a:lnTo>
                  <a:pt x="159" y="45"/>
                </a:lnTo>
                <a:close/>
                <a:moveTo>
                  <a:pt x="1450" y="619"/>
                </a:moveTo>
                <a:lnTo>
                  <a:pt x="1443" y="620"/>
                </a:lnTo>
                <a:lnTo>
                  <a:pt x="1439" y="633"/>
                </a:lnTo>
                <a:lnTo>
                  <a:pt x="1450" y="619"/>
                </a:lnTo>
                <a:close/>
                <a:moveTo>
                  <a:pt x="269" y="195"/>
                </a:moveTo>
                <a:lnTo>
                  <a:pt x="271" y="187"/>
                </a:lnTo>
                <a:lnTo>
                  <a:pt x="277" y="189"/>
                </a:lnTo>
                <a:lnTo>
                  <a:pt x="280" y="209"/>
                </a:lnTo>
                <a:lnTo>
                  <a:pt x="269" y="207"/>
                </a:lnTo>
                <a:lnTo>
                  <a:pt x="269" y="195"/>
                </a:lnTo>
                <a:close/>
                <a:moveTo>
                  <a:pt x="241" y="198"/>
                </a:moveTo>
                <a:lnTo>
                  <a:pt x="238" y="198"/>
                </a:lnTo>
                <a:lnTo>
                  <a:pt x="221" y="170"/>
                </a:lnTo>
                <a:lnTo>
                  <a:pt x="241" y="198"/>
                </a:lnTo>
                <a:close/>
                <a:moveTo>
                  <a:pt x="0" y="198"/>
                </a:moveTo>
                <a:lnTo>
                  <a:pt x="2" y="190"/>
                </a:lnTo>
                <a:lnTo>
                  <a:pt x="3" y="206"/>
                </a:lnTo>
                <a:lnTo>
                  <a:pt x="0" y="198"/>
                </a:lnTo>
                <a:close/>
                <a:moveTo>
                  <a:pt x="144" y="248"/>
                </a:moveTo>
                <a:lnTo>
                  <a:pt x="139" y="243"/>
                </a:lnTo>
                <a:lnTo>
                  <a:pt x="146" y="231"/>
                </a:lnTo>
                <a:lnTo>
                  <a:pt x="144" y="248"/>
                </a:lnTo>
                <a:close/>
                <a:moveTo>
                  <a:pt x="964" y="387"/>
                </a:moveTo>
                <a:lnTo>
                  <a:pt x="967" y="396"/>
                </a:lnTo>
                <a:lnTo>
                  <a:pt x="962" y="401"/>
                </a:lnTo>
                <a:lnTo>
                  <a:pt x="961" y="393"/>
                </a:lnTo>
                <a:lnTo>
                  <a:pt x="964" y="387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41" name="Freeform 230"/>
          <p:cNvSpPr>
            <a:spLocks noChangeAspect="1"/>
          </p:cNvSpPr>
          <p:nvPr/>
        </p:nvSpPr>
        <p:spPr bwMode="gray">
          <a:xfrm>
            <a:off x="2592388" y="3802063"/>
            <a:ext cx="125412" cy="139700"/>
          </a:xfrm>
          <a:custGeom>
            <a:avLst/>
            <a:gdLst>
              <a:gd name="T0" fmla="*/ 2147483647 w 260"/>
              <a:gd name="T1" fmla="*/ 2147483647 h 289"/>
              <a:gd name="T2" fmla="*/ 2147483647 w 260"/>
              <a:gd name="T3" fmla="*/ 2147483647 h 289"/>
              <a:gd name="T4" fmla="*/ 2147483647 w 260"/>
              <a:gd name="T5" fmla="*/ 2147483647 h 289"/>
              <a:gd name="T6" fmla="*/ 2147483647 w 260"/>
              <a:gd name="T7" fmla="*/ 2147483647 h 289"/>
              <a:gd name="T8" fmla="*/ 2147483647 w 260"/>
              <a:gd name="T9" fmla="*/ 2147483647 h 289"/>
              <a:gd name="T10" fmla="*/ 2147483647 w 260"/>
              <a:gd name="T11" fmla="*/ 2147483647 h 289"/>
              <a:gd name="T12" fmla="*/ 2147483647 w 260"/>
              <a:gd name="T13" fmla="*/ 2147483647 h 289"/>
              <a:gd name="T14" fmla="*/ 2147483647 w 260"/>
              <a:gd name="T15" fmla="*/ 0 h 289"/>
              <a:gd name="T16" fmla="*/ 2147483647 w 260"/>
              <a:gd name="T17" fmla="*/ 2147483647 h 289"/>
              <a:gd name="T18" fmla="*/ 2147483647 w 260"/>
              <a:gd name="T19" fmla="*/ 2147483647 h 289"/>
              <a:gd name="T20" fmla="*/ 2147483647 w 260"/>
              <a:gd name="T21" fmla="*/ 2147483647 h 289"/>
              <a:gd name="T22" fmla="*/ 2147483647 w 260"/>
              <a:gd name="T23" fmla="*/ 2147483647 h 289"/>
              <a:gd name="T24" fmla="*/ 2147483647 w 260"/>
              <a:gd name="T25" fmla="*/ 2147483647 h 289"/>
              <a:gd name="T26" fmla="*/ 2147483647 w 260"/>
              <a:gd name="T27" fmla="*/ 2147483647 h 289"/>
              <a:gd name="T28" fmla="*/ 0 w 260"/>
              <a:gd name="T29" fmla="*/ 2147483647 h 289"/>
              <a:gd name="T30" fmla="*/ 0 w 260"/>
              <a:gd name="T31" fmla="*/ 2147483647 h 289"/>
              <a:gd name="T32" fmla="*/ 2147483647 w 260"/>
              <a:gd name="T33" fmla="*/ 2147483647 h 289"/>
              <a:gd name="T34" fmla="*/ 2147483647 w 260"/>
              <a:gd name="T35" fmla="*/ 2147483647 h 289"/>
              <a:gd name="T36" fmla="*/ 2147483647 w 260"/>
              <a:gd name="T37" fmla="*/ 2147483647 h 289"/>
              <a:gd name="T38" fmla="*/ 2147483647 w 260"/>
              <a:gd name="T39" fmla="*/ 2147483647 h 289"/>
              <a:gd name="T40" fmla="*/ 2147483647 w 260"/>
              <a:gd name="T41" fmla="*/ 2147483647 h 289"/>
              <a:gd name="T42" fmla="*/ 2147483647 w 260"/>
              <a:gd name="T43" fmla="*/ 2147483647 h 289"/>
              <a:gd name="T44" fmla="*/ 2147483647 w 260"/>
              <a:gd name="T45" fmla="*/ 2147483647 h 289"/>
              <a:gd name="T46" fmla="*/ 2147483647 w 260"/>
              <a:gd name="T47" fmla="*/ 2147483647 h 289"/>
              <a:gd name="T48" fmla="*/ 2147483647 w 260"/>
              <a:gd name="T49" fmla="*/ 2147483647 h 289"/>
              <a:gd name="T50" fmla="*/ 2147483647 w 260"/>
              <a:gd name="T51" fmla="*/ 2147483647 h 289"/>
              <a:gd name="T52" fmla="*/ 2147483647 w 260"/>
              <a:gd name="T53" fmla="*/ 2147483647 h 289"/>
              <a:gd name="T54" fmla="*/ 2147483647 w 260"/>
              <a:gd name="T55" fmla="*/ 2147483647 h 289"/>
              <a:gd name="T56" fmla="*/ 2147483647 w 260"/>
              <a:gd name="T57" fmla="*/ 2147483647 h 289"/>
              <a:gd name="T58" fmla="*/ 2147483647 w 260"/>
              <a:gd name="T59" fmla="*/ 2147483647 h 289"/>
              <a:gd name="T60" fmla="*/ 2147483647 w 260"/>
              <a:gd name="T61" fmla="*/ 2147483647 h 289"/>
              <a:gd name="T62" fmla="*/ 2147483647 w 260"/>
              <a:gd name="T63" fmla="*/ 2147483647 h 289"/>
              <a:gd name="T64" fmla="*/ 2147483647 w 260"/>
              <a:gd name="T65" fmla="*/ 2147483647 h 289"/>
              <a:gd name="T66" fmla="*/ 2147483647 w 260"/>
              <a:gd name="T67" fmla="*/ 2147483647 h 289"/>
              <a:gd name="T68" fmla="*/ 2147483647 w 260"/>
              <a:gd name="T69" fmla="*/ 2147483647 h 289"/>
              <a:gd name="T70" fmla="*/ 2147483647 w 260"/>
              <a:gd name="T71" fmla="*/ 2147483647 h 289"/>
              <a:gd name="T72" fmla="*/ 2147483647 w 260"/>
              <a:gd name="T73" fmla="*/ 2147483647 h 289"/>
              <a:gd name="T74" fmla="*/ 2147483647 w 260"/>
              <a:gd name="T75" fmla="*/ 2147483647 h 289"/>
              <a:gd name="T76" fmla="*/ 2147483647 w 260"/>
              <a:gd name="T77" fmla="*/ 2147483647 h 289"/>
              <a:gd name="T78" fmla="*/ 2147483647 w 260"/>
              <a:gd name="T79" fmla="*/ 2147483647 h 289"/>
              <a:gd name="T80" fmla="*/ 2147483647 w 260"/>
              <a:gd name="T81" fmla="*/ 2147483647 h 289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260"/>
              <a:gd name="T124" fmla="*/ 0 h 289"/>
              <a:gd name="T125" fmla="*/ 260 w 260"/>
              <a:gd name="T126" fmla="*/ 289 h 289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260" h="289">
                <a:moveTo>
                  <a:pt x="254" y="66"/>
                </a:moveTo>
                <a:lnTo>
                  <a:pt x="220" y="46"/>
                </a:lnTo>
                <a:lnTo>
                  <a:pt x="209" y="52"/>
                </a:lnTo>
                <a:lnTo>
                  <a:pt x="164" y="52"/>
                </a:lnTo>
                <a:lnTo>
                  <a:pt x="156" y="37"/>
                </a:lnTo>
                <a:lnTo>
                  <a:pt x="147" y="29"/>
                </a:lnTo>
                <a:lnTo>
                  <a:pt x="119" y="15"/>
                </a:lnTo>
                <a:lnTo>
                  <a:pt x="89" y="0"/>
                </a:lnTo>
                <a:lnTo>
                  <a:pt x="56" y="23"/>
                </a:lnTo>
                <a:lnTo>
                  <a:pt x="37" y="23"/>
                </a:lnTo>
                <a:lnTo>
                  <a:pt x="34" y="29"/>
                </a:lnTo>
                <a:lnTo>
                  <a:pt x="35" y="55"/>
                </a:lnTo>
                <a:lnTo>
                  <a:pt x="22" y="76"/>
                </a:lnTo>
                <a:lnTo>
                  <a:pt x="18" y="94"/>
                </a:lnTo>
                <a:lnTo>
                  <a:pt x="0" y="110"/>
                </a:lnTo>
                <a:lnTo>
                  <a:pt x="0" y="167"/>
                </a:lnTo>
                <a:lnTo>
                  <a:pt x="23" y="182"/>
                </a:lnTo>
                <a:lnTo>
                  <a:pt x="42" y="162"/>
                </a:lnTo>
                <a:lnTo>
                  <a:pt x="47" y="181"/>
                </a:lnTo>
                <a:lnTo>
                  <a:pt x="42" y="204"/>
                </a:lnTo>
                <a:lnTo>
                  <a:pt x="20" y="219"/>
                </a:lnTo>
                <a:lnTo>
                  <a:pt x="25" y="240"/>
                </a:lnTo>
                <a:lnTo>
                  <a:pt x="9" y="250"/>
                </a:lnTo>
                <a:lnTo>
                  <a:pt x="15" y="270"/>
                </a:lnTo>
                <a:lnTo>
                  <a:pt x="34" y="266"/>
                </a:lnTo>
                <a:lnTo>
                  <a:pt x="40" y="270"/>
                </a:lnTo>
                <a:lnTo>
                  <a:pt x="54" y="270"/>
                </a:lnTo>
                <a:lnTo>
                  <a:pt x="64" y="289"/>
                </a:lnTo>
                <a:lnTo>
                  <a:pt x="79" y="287"/>
                </a:lnTo>
                <a:lnTo>
                  <a:pt x="94" y="275"/>
                </a:lnTo>
                <a:lnTo>
                  <a:pt x="99" y="242"/>
                </a:lnTo>
                <a:lnTo>
                  <a:pt x="111" y="224"/>
                </a:lnTo>
                <a:lnTo>
                  <a:pt x="122" y="225"/>
                </a:lnTo>
                <a:lnTo>
                  <a:pt x="128" y="207"/>
                </a:lnTo>
                <a:lnTo>
                  <a:pt x="193" y="181"/>
                </a:lnTo>
                <a:lnTo>
                  <a:pt x="233" y="140"/>
                </a:lnTo>
                <a:lnTo>
                  <a:pt x="252" y="106"/>
                </a:lnTo>
                <a:lnTo>
                  <a:pt x="260" y="106"/>
                </a:lnTo>
                <a:lnTo>
                  <a:pt x="241" y="74"/>
                </a:lnTo>
                <a:lnTo>
                  <a:pt x="243" y="68"/>
                </a:lnTo>
                <a:lnTo>
                  <a:pt x="254" y="66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42" name="Freeform 231"/>
          <p:cNvSpPr>
            <a:spLocks noChangeAspect="1"/>
          </p:cNvSpPr>
          <p:nvPr/>
        </p:nvSpPr>
        <p:spPr bwMode="gray">
          <a:xfrm>
            <a:off x="2632075" y="3552825"/>
            <a:ext cx="273050" cy="371475"/>
          </a:xfrm>
          <a:custGeom>
            <a:avLst/>
            <a:gdLst>
              <a:gd name="T0" fmla="*/ 2147483647 w 559"/>
              <a:gd name="T1" fmla="*/ 2147483647 h 763"/>
              <a:gd name="T2" fmla="*/ 2147483647 w 559"/>
              <a:gd name="T3" fmla="*/ 2147483647 h 763"/>
              <a:gd name="T4" fmla="*/ 2147483647 w 559"/>
              <a:gd name="T5" fmla="*/ 2147483647 h 763"/>
              <a:gd name="T6" fmla="*/ 2147483647 w 559"/>
              <a:gd name="T7" fmla="*/ 2147483647 h 763"/>
              <a:gd name="T8" fmla="*/ 2147483647 w 559"/>
              <a:gd name="T9" fmla="*/ 2147483647 h 763"/>
              <a:gd name="T10" fmla="*/ 2147483647 w 559"/>
              <a:gd name="T11" fmla="*/ 2147483647 h 763"/>
              <a:gd name="T12" fmla="*/ 2147483647 w 559"/>
              <a:gd name="T13" fmla="*/ 2147483647 h 763"/>
              <a:gd name="T14" fmla="*/ 2147483647 w 559"/>
              <a:gd name="T15" fmla="*/ 2147483647 h 763"/>
              <a:gd name="T16" fmla="*/ 2147483647 w 559"/>
              <a:gd name="T17" fmla="*/ 2147483647 h 763"/>
              <a:gd name="T18" fmla="*/ 2147483647 w 559"/>
              <a:gd name="T19" fmla="*/ 2147483647 h 763"/>
              <a:gd name="T20" fmla="*/ 2147483647 w 559"/>
              <a:gd name="T21" fmla="*/ 2147483647 h 763"/>
              <a:gd name="T22" fmla="*/ 2147483647 w 559"/>
              <a:gd name="T23" fmla="*/ 2147483647 h 763"/>
              <a:gd name="T24" fmla="*/ 2147483647 w 559"/>
              <a:gd name="T25" fmla="*/ 2147483647 h 763"/>
              <a:gd name="T26" fmla="*/ 2147483647 w 559"/>
              <a:gd name="T27" fmla="*/ 2147483647 h 763"/>
              <a:gd name="T28" fmla="*/ 2147483647 w 559"/>
              <a:gd name="T29" fmla="*/ 2147483647 h 763"/>
              <a:gd name="T30" fmla="*/ 2147483647 w 559"/>
              <a:gd name="T31" fmla="*/ 2147483647 h 763"/>
              <a:gd name="T32" fmla="*/ 2147483647 w 559"/>
              <a:gd name="T33" fmla="*/ 2147483647 h 763"/>
              <a:gd name="T34" fmla="*/ 2147483647 w 559"/>
              <a:gd name="T35" fmla="*/ 2147483647 h 763"/>
              <a:gd name="T36" fmla="*/ 2147483647 w 559"/>
              <a:gd name="T37" fmla="*/ 2147483647 h 763"/>
              <a:gd name="T38" fmla="*/ 2147483647 w 559"/>
              <a:gd name="T39" fmla="*/ 2147483647 h 763"/>
              <a:gd name="T40" fmla="*/ 2147483647 w 559"/>
              <a:gd name="T41" fmla="*/ 2147483647 h 763"/>
              <a:gd name="T42" fmla="*/ 2147483647 w 559"/>
              <a:gd name="T43" fmla="*/ 2147483647 h 763"/>
              <a:gd name="T44" fmla="*/ 2147483647 w 559"/>
              <a:gd name="T45" fmla="*/ 2147483647 h 763"/>
              <a:gd name="T46" fmla="*/ 2147483647 w 559"/>
              <a:gd name="T47" fmla="*/ 2147483647 h 763"/>
              <a:gd name="T48" fmla="*/ 2147483647 w 559"/>
              <a:gd name="T49" fmla="*/ 2147483647 h 763"/>
              <a:gd name="T50" fmla="*/ 2147483647 w 559"/>
              <a:gd name="T51" fmla="*/ 2147483647 h 763"/>
              <a:gd name="T52" fmla="*/ 2147483647 w 559"/>
              <a:gd name="T53" fmla="*/ 2147483647 h 763"/>
              <a:gd name="T54" fmla="*/ 2147483647 w 559"/>
              <a:gd name="T55" fmla="*/ 2147483647 h 763"/>
              <a:gd name="T56" fmla="*/ 2147483647 w 559"/>
              <a:gd name="T57" fmla="*/ 2147483647 h 763"/>
              <a:gd name="T58" fmla="*/ 2147483647 w 559"/>
              <a:gd name="T59" fmla="*/ 2147483647 h 763"/>
              <a:gd name="T60" fmla="*/ 2147483647 w 559"/>
              <a:gd name="T61" fmla="*/ 2147483647 h 763"/>
              <a:gd name="T62" fmla="*/ 2147483647 w 559"/>
              <a:gd name="T63" fmla="*/ 2147483647 h 763"/>
              <a:gd name="T64" fmla="*/ 2147483647 w 559"/>
              <a:gd name="T65" fmla="*/ 2147483647 h 763"/>
              <a:gd name="T66" fmla="*/ 2147483647 w 559"/>
              <a:gd name="T67" fmla="*/ 2147483647 h 763"/>
              <a:gd name="T68" fmla="*/ 2147483647 w 559"/>
              <a:gd name="T69" fmla="*/ 2147483647 h 763"/>
              <a:gd name="T70" fmla="*/ 2147483647 w 559"/>
              <a:gd name="T71" fmla="*/ 2147483647 h 763"/>
              <a:gd name="T72" fmla="*/ 2147483647 w 559"/>
              <a:gd name="T73" fmla="*/ 2147483647 h 763"/>
              <a:gd name="T74" fmla="*/ 2147483647 w 559"/>
              <a:gd name="T75" fmla="*/ 2147483647 h 763"/>
              <a:gd name="T76" fmla="*/ 2147483647 w 559"/>
              <a:gd name="T77" fmla="*/ 2147483647 h 763"/>
              <a:gd name="T78" fmla="*/ 2147483647 w 559"/>
              <a:gd name="T79" fmla="*/ 2147483647 h 763"/>
              <a:gd name="T80" fmla="*/ 2147483647 w 559"/>
              <a:gd name="T81" fmla="*/ 2147483647 h 763"/>
              <a:gd name="T82" fmla="*/ 2147483647 w 559"/>
              <a:gd name="T83" fmla="*/ 2147483647 h 763"/>
              <a:gd name="T84" fmla="*/ 2147483647 w 559"/>
              <a:gd name="T85" fmla="*/ 2147483647 h 763"/>
              <a:gd name="T86" fmla="*/ 2147483647 w 559"/>
              <a:gd name="T87" fmla="*/ 2147483647 h 763"/>
              <a:gd name="T88" fmla="*/ 2147483647 w 559"/>
              <a:gd name="T89" fmla="*/ 2147483647 h 763"/>
              <a:gd name="T90" fmla="*/ 2147483647 w 559"/>
              <a:gd name="T91" fmla="*/ 2147483647 h 763"/>
              <a:gd name="T92" fmla="*/ 2147483647 w 559"/>
              <a:gd name="T93" fmla="*/ 2147483647 h 763"/>
              <a:gd name="T94" fmla="*/ 2147483647 w 559"/>
              <a:gd name="T95" fmla="*/ 2147483647 h 763"/>
              <a:gd name="T96" fmla="*/ 2147483647 w 559"/>
              <a:gd name="T97" fmla="*/ 2147483647 h 763"/>
              <a:gd name="T98" fmla="*/ 2147483647 w 559"/>
              <a:gd name="T99" fmla="*/ 2147483647 h 763"/>
              <a:gd name="T100" fmla="*/ 2147483647 w 559"/>
              <a:gd name="T101" fmla="*/ 2147483647 h 763"/>
              <a:gd name="T102" fmla="*/ 2147483647 w 559"/>
              <a:gd name="T103" fmla="*/ 2147483647 h 763"/>
              <a:gd name="T104" fmla="*/ 2147483647 w 559"/>
              <a:gd name="T105" fmla="*/ 2147483647 h 763"/>
              <a:gd name="T106" fmla="*/ 2147483647 w 559"/>
              <a:gd name="T107" fmla="*/ 2147483647 h 763"/>
              <a:gd name="T108" fmla="*/ 2147483647 w 559"/>
              <a:gd name="T109" fmla="*/ 2147483647 h 763"/>
              <a:gd name="T110" fmla="*/ 2147483647 w 559"/>
              <a:gd name="T111" fmla="*/ 2147483647 h 763"/>
              <a:gd name="T112" fmla="*/ 2147483647 w 559"/>
              <a:gd name="T113" fmla="*/ 2147483647 h 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559"/>
              <a:gd name="T172" fmla="*/ 0 h 763"/>
              <a:gd name="T173" fmla="*/ 559 w 559"/>
              <a:gd name="T174" fmla="*/ 763 h 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559" h="763">
                <a:moveTo>
                  <a:pt x="434" y="668"/>
                </a:moveTo>
                <a:lnTo>
                  <a:pt x="425" y="713"/>
                </a:lnTo>
                <a:lnTo>
                  <a:pt x="415" y="763"/>
                </a:lnTo>
                <a:lnTo>
                  <a:pt x="398" y="749"/>
                </a:lnTo>
                <a:lnTo>
                  <a:pt x="386" y="746"/>
                </a:lnTo>
                <a:lnTo>
                  <a:pt x="386" y="738"/>
                </a:lnTo>
                <a:lnTo>
                  <a:pt x="410" y="705"/>
                </a:lnTo>
                <a:lnTo>
                  <a:pt x="402" y="692"/>
                </a:lnTo>
                <a:lnTo>
                  <a:pt x="368" y="676"/>
                </a:lnTo>
                <a:lnTo>
                  <a:pt x="352" y="684"/>
                </a:lnTo>
                <a:lnTo>
                  <a:pt x="327" y="676"/>
                </a:lnTo>
                <a:lnTo>
                  <a:pt x="307" y="688"/>
                </a:lnTo>
                <a:lnTo>
                  <a:pt x="275" y="684"/>
                </a:lnTo>
                <a:lnTo>
                  <a:pt x="266" y="675"/>
                </a:lnTo>
                <a:lnTo>
                  <a:pt x="266" y="658"/>
                </a:lnTo>
                <a:lnTo>
                  <a:pt x="253" y="655"/>
                </a:lnTo>
                <a:lnTo>
                  <a:pt x="244" y="628"/>
                </a:lnTo>
                <a:lnTo>
                  <a:pt x="225" y="622"/>
                </a:lnTo>
                <a:lnTo>
                  <a:pt x="210" y="597"/>
                </a:lnTo>
                <a:lnTo>
                  <a:pt x="193" y="583"/>
                </a:lnTo>
                <a:lnTo>
                  <a:pt x="170" y="577"/>
                </a:lnTo>
                <a:lnTo>
                  <a:pt x="136" y="557"/>
                </a:lnTo>
                <a:lnTo>
                  <a:pt x="125" y="563"/>
                </a:lnTo>
                <a:lnTo>
                  <a:pt x="80" y="563"/>
                </a:lnTo>
                <a:lnTo>
                  <a:pt x="72" y="548"/>
                </a:lnTo>
                <a:lnTo>
                  <a:pt x="63" y="540"/>
                </a:lnTo>
                <a:lnTo>
                  <a:pt x="35" y="526"/>
                </a:lnTo>
                <a:lnTo>
                  <a:pt x="5" y="511"/>
                </a:lnTo>
                <a:lnTo>
                  <a:pt x="0" y="498"/>
                </a:lnTo>
                <a:lnTo>
                  <a:pt x="7" y="490"/>
                </a:lnTo>
                <a:lnTo>
                  <a:pt x="17" y="489"/>
                </a:lnTo>
                <a:lnTo>
                  <a:pt x="22" y="458"/>
                </a:lnTo>
                <a:lnTo>
                  <a:pt x="61" y="447"/>
                </a:lnTo>
                <a:lnTo>
                  <a:pt x="68" y="424"/>
                </a:lnTo>
                <a:lnTo>
                  <a:pt x="94" y="396"/>
                </a:lnTo>
                <a:lnTo>
                  <a:pt x="94" y="390"/>
                </a:lnTo>
                <a:lnTo>
                  <a:pt x="83" y="396"/>
                </a:lnTo>
                <a:lnTo>
                  <a:pt x="71" y="393"/>
                </a:lnTo>
                <a:lnTo>
                  <a:pt x="77" y="367"/>
                </a:lnTo>
                <a:lnTo>
                  <a:pt x="69" y="323"/>
                </a:lnTo>
                <a:lnTo>
                  <a:pt x="75" y="311"/>
                </a:lnTo>
                <a:lnTo>
                  <a:pt x="72" y="275"/>
                </a:lnTo>
                <a:lnTo>
                  <a:pt x="60" y="260"/>
                </a:lnTo>
                <a:lnTo>
                  <a:pt x="49" y="237"/>
                </a:lnTo>
                <a:lnTo>
                  <a:pt x="58" y="221"/>
                </a:lnTo>
                <a:lnTo>
                  <a:pt x="66" y="223"/>
                </a:lnTo>
                <a:lnTo>
                  <a:pt x="81" y="204"/>
                </a:lnTo>
                <a:lnTo>
                  <a:pt x="69" y="184"/>
                </a:lnTo>
                <a:lnTo>
                  <a:pt x="72" y="176"/>
                </a:lnTo>
                <a:lnTo>
                  <a:pt x="100" y="204"/>
                </a:lnTo>
                <a:lnTo>
                  <a:pt x="98" y="176"/>
                </a:lnTo>
                <a:lnTo>
                  <a:pt x="120" y="161"/>
                </a:lnTo>
                <a:lnTo>
                  <a:pt x="134" y="142"/>
                </a:lnTo>
                <a:lnTo>
                  <a:pt x="153" y="133"/>
                </a:lnTo>
                <a:lnTo>
                  <a:pt x="156" y="89"/>
                </a:lnTo>
                <a:lnTo>
                  <a:pt x="183" y="65"/>
                </a:lnTo>
                <a:lnTo>
                  <a:pt x="196" y="68"/>
                </a:lnTo>
                <a:lnTo>
                  <a:pt x="204" y="65"/>
                </a:lnTo>
                <a:lnTo>
                  <a:pt x="208" y="76"/>
                </a:lnTo>
                <a:lnTo>
                  <a:pt x="222" y="52"/>
                </a:lnTo>
                <a:lnTo>
                  <a:pt x="244" y="54"/>
                </a:lnTo>
                <a:lnTo>
                  <a:pt x="264" y="47"/>
                </a:lnTo>
                <a:lnTo>
                  <a:pt x="309" y="28"/>
                </a:lnTo>
                <a:lnTo>
                  <a:pt x="320" y="9"/>
                </a:lnTo>
                <a:lnTo>
                  <a:pt x="330" y="9"/>
                </a:lnTo>
                <a:lnTo>
                  <a:pt x="330" y="3"/>
                </a:lnTo>
                <a:lnTo>
                  <a:pt x="340" y="0"/>
                </a:lnTo>
                <a:lnTo>
                  <a:pt x="361" y="9"/>
                </a:lnTo>
                <a:lnTo>
                  <a:pt x="361" y="17"/>
                </a:lnTo>
                <a:lnTo>
                  <a:pt x="352" y="26"/>
                </a:lnTo>
                <a:lnTo>
                  <a:pt x="327" y="34"/>
                </a:lnTo>
                <a:lnTo>
                  <a:pt x="295" y="71"/>
                </a:lnTo>
                <a:lnTo>
                  <a:pt x="284" y="89"/>
                </a:lnTo>
                <a:lnTo>
                  <a:pt x="275" y="128"/>
                </a:lnTo>
                <a:lnTo>
                  <a:pt x="261" y="150"/>
                </a:lnTo>
                <a:lnTo>
                  <a:pt x="283" y="152"/>
                </a:lnTo>
                <a:lnTo>
                  <a:pt x="288" y="172"/>
                </a:lnTo>
                <a:lnTo>
                  <a:pt x="303" y="195"/>
                </a:lnTo>
                <a:lnTo>
                  <a:pt x="307" y="232"/>
                </a:lnTo>
                <a:lnTo>
                  <a:pt x="324" y="243"/>
                </a:lnTo>
                <a:lnTo>
                  <a:pt x="351" y="250"/>
                </a:lnTo>
                <a:lnTo>
                  <a:pt x="388" y="245"/>
                </a:lnTo>
                <a:lnTo>
                  <a:pt x="411" y="254"/>
                </a:lnTo>
                <a:lnTo>
                  <a:pt x="444" y="292"/>
                </a:lnTo>
                <a:lnTo>
                  <a:pt x="464" y="289"/>
                </a:lnTo>
                <a:lnTo>
                  <a:pt x="491" y="294"/>
                </a:lnTo>
                <a:lnTo>
                  <a:pt x="516" y="286"/>
                </a:lnTo>
                <a:lnTo>
                  <a:pt x="530" y="288"/>
                </a:lnTo>
                <a:lnTo>
                  <a:pt x="533" y="299"/>
                </a:lnTo>
                <a:lnTo>
                  <a:pt x="518" y="328"/>
                </a:lnTo>
                <a:lnTo>
                  <a:pt x="513" y="362"/>
                </a:lnTo>
                <a:lnTo>
                  <a:pt x="518" y="388"/>
                </a:lnTo>
                <a:lnTo>
                  <a:pt x="533" y="401"/>
                </a:lnTo>
                <a:lnTo>
                  <a:pt x="541" y="419"/>
                </a:lnTo>
                <a:lnTo>
                  <a:pt x="518" y="444"/>
                </a:lnTo>
                <a:lnTo>
                  <a:pt x="539" y="465"/>
                </a:lnTo>
                <a:lnTo>
                  <a:pt x="559" y="512"/>
                </a:lnTo>
                <a:lnTo>
                  <a:pt x="549" y="520"/>
                </a:lnTo>
                <a:lnTo>
                  <a:pt x="544" y="494"/>
                </a:lnTo>
                <a:lnTo>
                  <a:pt x="532" y="480"/>
                </a:lnTo>
                <a:lnTo>
                  <a:pt x="508" y="489"/>
                </a:lnTo>
                <a:lnTo>
                  <a:pt x="496" y="481"/>
                </a:lnTo>
                <a:lnTo>
                  <a:pt x="490" y="494"/>
                </a:lnTo>
                <a:lnTo>
                  <a:pt x="422" y="494"/>
                </a:lnTo>
                <a:lnTo>
                  <a:pt x="422" y="523"/>
                </a:lnTo>
                <a:lnTo>
                  <a:pt x="428" y="526"/>
                </a:lnTo>
                <a:lnTo>
                  <a:pt x="445" y="524"/>
                </a:lnTo>
                <a:lnTo>
                  <a:pt x="454" y="545"/>
                </a:lnTo>
                <a:lnTo>
                  <a:pt x="436" y="543"/>
                </a:lnTo>
                <a:lnTo>
                  <a:pt x="411" y="549"/>
                </a:lnTo>
                <a:lnTo>
                  <a:pt x="411" y="580"/>
                </a:lnTo>
                <a:lnTo>
                  <a:pt x="432" y="599"/>
                </a:lnTo>
                <a:lnTo>
                  <a:pt x="440" y="630"/>
                </a:lnTo>
                <a:lnTo>
                  <a:pt x="434" y="668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43" name="Freeform 232"/>
          <p:cNvSpPr>
            <a:spLocks noChangeAspect="1"/>
          </p:cNvSpPr>
          <p:nvPr/>
        </p:nvSpPr>
        <p:spPr bwMode="gray">
          <a:xfrm>
            <a:off x="2581275" y="3832225"/>
            <a:ext cx="280988" cy="411163"/>
          </a:xfrm>
          <a:custGeom>
            <a:avLst/>
            <a:gdLst>
              <a:gd name="T0" fmla="*/ 2147483647 w 575"/>
              <a:gd name="T1" fmla="*/ 2147483647 h 843"/>
              <a:gd name="T2" fmla="*/ 2147483647 w 575"/>
              <a:gd name="T3" fmla="*/ 2147483647 h 843"/>
              <a:gd name="T4" fmla="*/ 2147483647 w 575"/>
              <a:gd name="T5" fmla="*/ 2147483647 h 843"/>
              <a:gd name="T6" fmla="*/ 2147483647 w 575"/>
              <a:gd name="T7" fmla="*/ 2147483647 h 843"/>
              <a:gd name="T8" fmla="*/ 2147483647 w 575"/>
              <a:gd name="T9" fmla="*/ 2147483647 h 843"/>
              <a:gd name="T10" fmla="*/ 2147483647 w 575"/>
              <a:gd name="T11" fmla="*/ 2147483647 h 843"/>
              <a:gd name="T12" fmla="*/ 2147483647 w 575"/>
              <a:gd name="T13" fmla="*/ 2147483647 h 843"/>
              <a:gd name="T14" fmla="*/ 2147483647 w 575"/>
              <a:gd name="T15" fmla="*/ 2147483647 h 843"/>
              <a:gd name="T16" fmla="*/ 2147483647 w 575"/>
              <a:gd name="T17" fmla="*/ 2147483647 h 843"/>
              <a:gd name="T18" fmla="*/ 2147483647 w 575"/>
              <a:gd name="T19" fmla="*/ 2147483647 h 843"/>
              <a:gd name="T20" fmla="*/ 2147483647 w 575"/>
              <a:gd name="T21" fmla="*/ 2147483647 h 843"/>
              <a:gd name="T22" fmla="*/ 2147483647 w 575"/>
              <a:gd name="T23" fmla="*/ 2147483647 h 843"/>
              <a:gd name="T24" fmla="*/ 2147483647 w 575"/>
              <a:gd name="T25" fmla="*/ 2147483647 h 843"/>
              <a:gd name="T26" fmla="*/ 2147483647 w 575"/>
              <a:gd name="T27" fmla="*/ 2147483647 h 843"/>
              <a:gd name="T28" fmla="*/ 2147483647 w 575"/>
              <a:gd name="T29" fmla="*/ 2147483647 h 843"/>
              <a:gd name="T30" fmla="*/ 2147483647 w 575"/>
              <a:gd name="T31" fmla="*/ 2147483647 h 843"/>
              <a:gd name="T32" fmla="*/ 2147483647 w 575"/>
              <a:gd name="T33" fmla="*/ 2147483647 h 843"/>
              <a:gd name="T34" fmla="*/ 2147483647 w 575"/>
              <a:gd name="T35" fmla="*/ 2147483647 h 843"/>
              <a:gd name="T36" fmla="*/ 2147483647 w 575"/>
              <a:gd name="T37" fmla="*/ 2147483647 h 843"/>
              <a:gd name="T38" fmla="*/ 2147483647 w 575"/>
              <a:gd name="T39" fmla="*/ 2147483647 h 843"/>
              <a:gd name="T40" fmla="*/ 2147483647 w 575"/>
              <a:gd name="T41" fmla="*/ 2147483647 h 843"/>
              <a:gd name="T42" fmla="*/ 2147483647 w 575"/>
              <a:gd name="T43" fmla="*/ 2147483647 h 843"/>
              <a:gd name="T44" fmla="*/ 2147483647 w 575"/>
              <a:gd name="T45" fmla="*/ 2147483647 h 843"/>
              <a:gd name="T46" fmla="*/ 2147483647 w 575"/>
              <a:gd name="T47" fmla="*/ 2147483647 h 843"/>
              <a:gd name="T48" fmla="*/ 2147483647 w 575"/>
              <a:gd name="T49" fmla="*/ 2147483647 h 843"/>
              <a:gd name="T50" fmla="*/ 2147483647 w 575"/>
              <a:gd name="T51" fmla="*/ 0 h 843"/>
              <a:gd name="T52" fmla="*/ 2147483647 w 575"/>
              <a:gd name="T53" fmla="*/ 2147483647 h 843"/>
              <a:gd name="T54" fmla="*/ 2147483647 w 575"/>
              <a:gd name="T55" fmla="*/ 2147483647 h 843"/>
              <a:gd name="T56" fmla="*/ 2147483647 w 575"/>
              <a:gd name="T57" fmla="*/ 2147483647 h 843"/>
              <a:gd name="T58" fmla="*/ 2147483647 w 575"/>
              <a:gd name="T59" fmla="*/ 2147483647 h 843"/>
              <a:gd name="T60" fmla="*/ 2147483647 w 575"/>
              <a:gd name="T61" fmla="*/ 2147483647 h 843"/>
              <a:gd name="T62" fmla="*/ 2147483647 w 575"/>
              <a:gd name="T63" fmla="*/ 2147483647 h 843"/>
              <a:gd name="T64" fmla="*/ 2147483647 w 575"/>
              <a:gd name="T65" fmla="*/ 2147483647 h 843"/>
              <a:gd name="T66" fmla="*/ 2147483647 w 575"/>
              <a:gd name="T67" fmla="*/ 2147483647 h 843"/>
              <a:gd name="T68" fmla="*/ 2147483647 w 575"/>
              <a:gd name="T69" fmla="*/ 2147483647 h 843"/>
              <a:gd name="T70" fmla="*/ 2147483647 w 575"/>
              <a:gd name="T71" fmla="*/ 2147483647 h 843"/>
              <a:gd name="T72" fmla="*/ 2147483647 w 575"/>
              <a:gd name="T73" fmla="*/ 2147483647 h 843"/>
              <a:gd name="T74" fmla="*/ 2147483647 w 575"/>
              <a:gd name="T75" fmla="*/ 2147483647 h 843"/>
              <a:gd name="T76" fmla="*/ 2147483647 w 575"/>
              <a:gd name="T77" fmla="*/ 2147483647 h 843"/>
              <a:gd name="T78" fmla="*/ 2147483647 w 575"/>
              <a:gd name="T79" fmla="*/ 2147483647 h 843"/>
              <a:gd name="T80" fmla="*/ 2147483647 w 575"/>
              <a:gd name="T81" fmla="*/ 2147483647 h 843"/>
              <a:gd name="T82" fmla="*/ 2147483647 w 575"/>
              <a:gd name="T83" fmla="*/ 2147483647 h 843"/>
              <a:gd name="T84" fmla="*/ 2147483647 w 575"/>
              <a:gd name="T85" fmla="*/ 2147483647 h 843"/>
              <a:gd name="T86" fmla="*/ 2147483647 w 575"/>
              <a:gd name="T87" fmla="*/ 2147483647 h 843"/>
              <a:gd name="T88" fmla="*/ 2147483647 w 575"/>
              <a:gd name="T89" fmla="*/ 2147483647 h 843"/>
              <a:gd name="T90" fmla="*/ 2147483647 w 575"/>
              <a:gd name="T91" fmla="*/ 2147483647 h 843"/>
              <a:gd name="T92" fmla="*/ 2147483647 w 575"/>
              <a:gd name="T93" fmla="*/ 2147483647 h 843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575"/>
              <a:gd name="T142" fmla="*/ 0 h 843"/>
              <a:gd name="T143" fmla="*/ 575 w 575"/>
              <a:gd name="T144" fmla="*/ 843 h 843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575" h="843">
                <a:moveTo>
                  <a:pt x="493" y="843"/>
                </a:moveTo>
                <a:lnTo>
                  <a:pt x="504" y="834"/>
                </a:lnTo>
                <a:lnTo>
                  <a:pt x="524" y="833"/>
                </a:lnTo>
                <a:lnTo>
                  <a:pt x="538" y="811"/>
                </a:lnTo>
                <a:lnTo>
                  <a:pt x="532" y="800"/>
                </a:lnTo>
                <a:lnTo>
                  <a:pt x="563" y="760"/>
                </a:lnTo>
                <a:lnTo>
                  <a:pt x="561" y="749"/>
                </a:lnTo>
                <a:lnTo>
                  <a:pt x="546" y="732"/>
                </a:lnTo>
                <a:lnTo>
                  <a:pt x="546" y="714"/>
                </a:lnTo>
                <a:lnTo>
                  <a:pt x="557" y="698"/>
                </a:lnTo>
                <a:lnTo>
                  <a:pt x="548" y="675"/>
                </a:lnTo>
                <a:lnTo>
                  <a:pt x="563" y="664"/>
                </a:lnTo>
                <a:lnTo>
                  <a:pt x="563" y="587"/>
                </a:lnTo>
                <a:lnTo>
                  <a:pt x="575" y="567"/>
                </a:lnTo>
                <a:lnTo>
                  <a:pt x="532" y="497"/>
                </a:lnTo>
                <a:lnTo>
                  <a:pt x="506" y="503"/>
                </a:lnTo>
                <a:lnTo>
                  <a:pt x="495" y="497"/>
                </a:lnTo>
                <a:lnTo>
                  <a:pt x="495" y="421"/>
                </a:lnTo>
                <a:lnTo>
                  <a:pt x="465" y="444"/>
                </a:lnTo>
                <a:lnTo>
                  <a:pt x="442" y="453"/>
                </a:lnTo>
                <a:lnTo>
                  <a:pt x="421" y="449"/>
                </a:lnTo>
                <a:lnTo>
                  <a:pt x="408" y="430"/>
                </a:lnTo>
                <a:lnTo>
                  <a:pt x="380" y="426"/>
                </a:lnTo>
                <a:lnTo>
                  <a:pt x="385" y="407"/>
                </a:lnTo>
                <a:lnTo>
                  <a:pt x="354" y="376"/>
                </a:lnTo>
                <a:lnTo>
                  <a:pt x="343" y="342"/>
                </a:lnTo>
                <a:lnTo>
                  <a:pt x="359" y="303"/>
                </a:lnTo>
                <a:lnTo>
                  <a:pt x="377" y="296"/>
                </a:lnTo>
                <a:lnTo>
                  <a:pt x="379" y="266"/>
                </a:lnTo>
                <a:lnTo>
                  <a:pt x="404" y="228"/>
                </a:lnTo>
                <a:lnTo>
                  <a:pt x="442" y="206"/>
                </a:lnTo>
                <a:lnTo>
                  <a:pt x="497" y="189"/>
                </a:lnTo>
                <a:lnTo>
                  <a:pt x="514" y="191"/>
                </a:lnTo>
                <a:lnTo>
                  <a:pt x="519" y="186"/>
                </a:lnTo>
                <a:lnTo>
                  <a:pt x="502" y="172"/>
                </a:lnTo>
                <a:lnTo>
                  <a:pt x="490" y="169"/>
                </a:lnTo>
                <a:lnTo>
                  <a:pt x="490" y="161"/>
                </a:lnTo>
                <a:lnTo>
                  <a:pt x="514" y="128"/>
                </a:lnTo>
                <a:lnTo>
                  <a:pt x="506" y="115"/>
                </a:lnTo>
                <a:lnTo>
                  <a:pt x="472" y="99"/>
                </a:lnTo>
                <a:lnTo>
                  <a:pt x="456" y="107"/>
                </a:lnTo>
                <a:lnTo>
                  <a:pt x="431" y="99"/>
                </a:lnTo>
                <a:lnTo>
                  <a:pt x="411" y="111"/>
                </a:lnTo>
                <a:lnTo>
                  <a:pt x="379" y="107"/>
                </a:lnTo>
                <a:lnTo>
                  <a:pt x="370" y="98"/>
                </a:lnTo>
                <a:lnTo>
                  <a:pt x="370" y="81"/>
                </a:lnTo>
                <a:lnTo>
                  <a:pt x="357" y="78"/>
                </a:lnTo>
                <a:lnTo>
                  <a:pt x="348" y="51"/>
                </a:lnTo>
                <a:lnTo>
                  <a:pt x="329" y="45"/>
                </a:lnTo>
                <a:lnTo>
                  <a:pt x="314" y="20"/>
                </a:lnTo>
                <a:lnTo>
                  <a:pt x="297" y="6"/>
                </a:lnTo>
                <a:lnTo>
                  <a:pt x="274" y="0"/>
                </a:lnTo>
                <a:lnTo>
                  <a:pt x="263" y="2"/>
                </a:lnTo>
                <a:lnTo>
                  <a:pt x="261" y="8"/>
                </a:lnTo>
                <a:lnTo>
                  <a:pt x="280" y="40"/>
                </a:lnTo>
                <a:lnTo>
                  <a:pt x="272" y="40"/>
                </a:lnTo>
                <a:lnTo>
                  <a:pt x="253" y="74"/>
                </a:lnTo>
                <a:lnTo>
                  <a:pt x="213" y="115"/>
                </a:lnTo>
                <a:lnTo>
                  <a:pt x="148" y="141"/>
                </a:lnTo>
                <a:lnTo>
                  <a:pt x="142" y="159"/>
                </a:lnTo>
                <a:lnTo>
                  <a:pt x="131" y="158"/>
                </a:lnTo>
                <a:lnTo>
                  <a:pt x="119" y="176"/>
                </a:lnTo>
                <a:lnTo>
                  <a:pt x="114" y="209"/>
                </a:lnTo>
                <a:lnTo>
                  <a:pt x="99" y="221"/>
                </a:lnTo>
                <a:lnTo>
                  <a:pt x="84" y="223"/>
                </a:lnTo>
                <a:lnTo>
                  <a:pt x="74" y="204"/>
                </a:lnTo>
                <a:lnTo>
                  <a:pt x="60" y="204"/>
                </a:lnTo>
                <a:lnTo>
                  <a:pt x="54" y="200"/>
                </a:lnTo>
                <a:lnTo>
                  <a:pt x="35" y="204"/>
                </a:lnTo>
                <a:lnTo>
                  <a:pt x="29" y="184"/>
                </a:lnTo>
                <a:lnTo>
                  <a:pt x="45" y="174"/>
                </a:lnTo>
                <a:lnTo>
                  <a:pt x="40" y="153"/>
                </a:lnTo>
                <a:lnTo>
                  <a:pt x="0" y="196"/>
                </a:lnTo>
                <a:lnTo>
                  <a:pt x="6" y="237"/>
                </a:lnTo>
                <a:lnTo>
                  <a:pt x="18" y="251"/>
                </a:lnTo>
                <a:lnTo>
                  <a:pt x="8" y="266"/>
                </a:lnTo>
                <a:lnTo>
                  <a:pt x="59" y="308"/>
                </a:lnTo>
                <a:lnTo>
                  <a:pt x="72" y="323"/>
                </a:lnTo>
                <a:lnTo>
                  <a:pt x="84" y="353"/>
                </a:lnTo>
                <a:lnTo>
                  <a:pt x="109" y="379"/>
                </a:lnTo>
                <a:lnTo>
                  <a:pt x="142" y="460"/>
                </a:lnTo>
                <a:lnTo>
                  <a:pt x="156" y="484"/>
                </a:lnTo>
                <a:lnTo>
                  <a:pt x="165" y="523"/>
                </a:lnTo>
                <a:lnTo>
                  <a:pt x="181" y="537"/>
                </a:lnTo>
                <a:lnTo>
                  <a:pt x="213" y="596"/>
                </a:lnTo>
                <a:lnTo>
                  <a:pt x="224" y="610"/>
                </a:lnTo>
                <a:lnTo>
                  <a:pt x="229" y="631"/>
                </a:lnTo>
                <a:lnTo>
                  <a:pt x="223" y="641"/>
                </a:lnTo>
                <a:lnTo>
                  <a:pt x="226" y="655"/>
                </a:lnTo>
                <a:lnTo>
                  <a:pt x="278" y="706"/>
                </a:lnTo>
                <a:lnTo>
                  <a:pt x="343" y="746"/>
                </a:lnTo>
                <a:lnTo>
                  <a:pt x="411" y="775"/>
                </a:lnTo>
                <a:lnTo>
                  <a:pt x="439" y="795"/>
                </a:lnTo>
                <a:lnTo>
                  <a:pt x="470" y="829"/>
                </a:lnTo>
                <a:lnTo>
                  <a:pt x="493" y="843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44" name="Freeform 233"/>
          <p:cNvSpPr>
            <a:spLocks noChangeAspect="1"/>
          </p:cNvSpPr>
          <p:nvPr/>
        </p:nvSpPr>
        <p:spPr bwMode="gray">
          <a:xfrm>
            <a:off x="3000375" y="4267200"/>
            <a:ext cx="187325" cy="201613"/>
          </a:xfrm>
          <a:custGeom>
            <a:avLst/>
            <a:gdLst>
              <a:gd name="T0" fmla="*/ 0 w 388"/>
              <a:gd name="T1" fmla="*/ 2147483647 h 411"/>
              <a:gd name="T2" fmla="*/ 2147483647 w 388"/>
              <a:gd name="T3" fmla="*/ 2147483647 h 411"/>
              <a:gd name="T4" fmla="*/ 2147483647 w 388"/>
              <a:gd name="T5" fmla="*/ 2147483647 h 411"/>
              <a:gd name="T6" fmla="*/ 2147483647 w 388"/>
              <a:gd name="T7" fmla="*/ 2147483647 h 411"/>
              <a:gd name="T8" fmla="*/ 2147483647 w 388"/>
              <a:gd name="T9" fmla="*/ 2147483647 h 411"/>
              <a:gd name="T10" fmla="*/ 2147483647 w 388"/>
              <a:gd name="T11" fmla="*/ 0 h 411"/>
              <a:gd name="T12" fmla="*/ 2147483647 w 388"/>
              <a:gd name="T13" fmla="*/ 0 h 411"/>
              <a:gd name="T14" fmla="*/ 2147483647 w 388"/>
              <a:gd name="T15" fmla="*/ 2147483647 h 411"/>
              <a:gd name="T16" fmla="*/ 2147483647 w 388"/>
              <a:gd name="T17" fmla="*/ 2147483647 h 411"/>
              <a:gd name="T18" fmla="*/ 2147483647 w 388"/>
              <a:gd name="T19" fmla="*/ 2147483647 h 411"/>
              <a:gd name="T20" fmla="*/ 2147483647 w 388"/>
              <a:gd name="T21" fmla="*/ 2147483647 h 411"/>
              <a:gd name="T22" fmla="*/ 2147483647 w 388"/>
              <a:gd name="T23" fmla="*/ 2147483647 h 411"/>
              <a:gd name="T24" fmla="*/ 2147483647 w 388"/>
              <a:gd name="T25" fmla="*/ 2147483647 h 411"/>
              <a:gd name="T26" fmla="*/ 2147483647 w 388"/>
              <a:gd name="T27" fmla="*/ 2147483647 h 411"/>
              <a:gd name="T28" fmla="*/ 2147483647 w 388"/>
              <a:gd name="T29" fmla="*/ 2147483647 h 411"/>
              <a:gd name="T30" fmla="*/ 2147483647 w 388"/>
              <a:gd name="T31" fmla="*/ 2147483647 h 411"/>
              <a:gd name="T32" fmla="*/ 2147483647 w 388"/>
              <a:gd name="T33" fmla="*/ 2147483647 h 411"/>
              <a:gd name="T34" fmla="*/ 2147483647 w 388"/>
              <a:gd name="T35" fmla="*/ 2147483647 h 411"/>
              <a:gd name="T36" fmla="*/ 2147483647 w 388"/>
              <a:gd name="T37" fmla="*/ 2147483647 h 411"/>
              <a:gd name="T38" fmla="*/ 2147483647 w 388"/>
              <a:gd name="T39" fmla="*/ 2147483647 h 411"/>
              <a:gd name="T40" fmla="*/ 2147483647 w 388"/>
              <a:gd name="T41" fmla="*/ 2147483647 h 411"/>
              <a:gd name="T42" fmla="*/ 2147483647 w 388"/>
              <a:gd name="T43" fmla="*/ 2147483647 h 411"/>
              <a:gd name="T44" fmla="*/ 2147483647 w 388"/>
              <a:gd name="T45" fmla="*/ 2147483647 h 411"/>
              <a:gd name="T46" fmla="*/ 2147483647 w 388"/>
              <a:gd name="T47" fmla="*/ 2147483647 h 411"/>
              <a:gd name="T48" fmla="*/ 2147483647 w 388"/>
              <a:gd name="T49" fmla="*/ 2147483647 h 411"/>
              <a:gd name="T50" fmla="*/ 2147483647 w 388"/>
              <a:gd name="T51" fmla="*/ 2147483647 h 411"/>
              <a:gd name="T52" fmla="*/ 2147483647 w 388"/>
              <a:gd name="T53" fmla="*/ 2147483647 h 411"/>
              <a:gd name="T54" fmla="*/ 2147483647 w 388"/>
              <a:gd name="T55" fmla="*/ 2147483647 h 411"/>
              <a:gd name="T56" fmla="*/ 2147483647 w 388"/>
              <a:gd name="T57" fmla="*/ 2147483647 h 411"/>
              <a:gd name="T58" fmla="*/ 2147483647 w 388"/>
              <a:gd name="T59" fmla="*/ 2147483647 h 411"/>
              <a:gd name="T60" fmla="*/ 2147483647 w 388"/>
              <a:gd name="T61" fmla="*/ 2147483647 h 411"/>
              <a:gd name="T62" fmla="*/ 2147483647 w 388"/>
              <a:gd name="T63" fmla="*/ 2147483647 h 411"/>
              <a:gd name="T64" fmla="*/ 2147483647 w 388"/>
              <a:gd name="T65" fmla="*/ 2147483647 h 411"/>
              <a:gd name="T66" fmla="*/ 2147483647 w 388"/>
              <a:gd name="T67" fmla="*/ 2147483647 h 411"/>
              <a:gd name="T68" fmla="*/ 2147483647 w 388"/>
              <a:gd name="T69" fmla="*/ 2147483647 h 411"/>
              <a:gd name="T70" fmla="*/ 2147483647 w 388"/>
              <a:gd name="T71" fmla="*/ 2147483647 h 411"/>
              <a:gd name="T72" fmla="*/ 2147483647 w 388"/>
              <a:gd name="T73" fmla="*/ 2147483647 h 411"/>
              <a:gd name="T74" fmla="*/ 2147483647 w 388"/>
              <a:gd name="T75" fmla="*/ 2147483647 h 411"/>
              <a:gd name="T76" fmla="*/ 2147483647 w 388"/>
              <a:gd name="T77" fmla="*/ 2147483647 h 411"/>
              <a:gd name="T78" fmla="*/ 0 w 388"/>
              <a:gd name="T79" fmla="*/ 2147483647 h 411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388"/>
              <a:gd name="T121" fmla="*/ 0 h 411"/>
              <a:gd name="T122" fmla="*/ 388 w 388"/>
              <a:gd name="T123" fmla="*/ 411 h 411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388" h="411">
                <a:moveTo>
                  <a:pt x="0" y="151"/>
                </a:moveTo>
                <a:lnTo>
                  <a:pt x="17" y="105"/>
                </a:lnTo>
                <a:lnTo>
                  <a:pt x="17" y="71"/>
                </a:lnTo>
                <a:lnTo>
                  <a:pt x="34" y="43"/>
                </a:lnTo>
                <a:lnTo>
                  <a:pt x="40" y="26"/>
                </a:lnTo>
                <a:lnTo>
                  <a:pt x="129" y="0"/>
                </a:lnTo>
                <a:lnTo>
                  <a:pt x="168" y="0"/>
                </a:lnTo>
                <a:lnTo>
                  <a:pt x="188" y="10"/>
                </a:lnTo>
                <a:lnTo>
                  <a:pt x="215" y="43"/>
                </a:lnTo>
                <a:lnTo>
                  <a:pt x="213" y="49"/>
                </a:lnTo>
                <a:lnTo>
                  <a:pt x="221" y="63"/>
                </a:lnTo>
                <a:lnTo>
                  <a:pt x="221" y="131"/>
                </a:lnTo>
                <a:lnTo>
                  <a:pt x="224" y="137"/>
                </a:lnTo>
                <a:lnTo>
                  <a:pt x="263" y="149"/>
                </a:lnTo>
                <a:lnTo>
                  <a:pt x="294" y="142"/>
                </a:lnTo>
                <a:lnTo>
                  <a:pt x="318" y="152"/>
                </a:lnTo>
                <a:lnTo>
                  <a:pt x="326" y="164"/>
                </a:lnTo>
                <a:lnTo>
                  <a:pt x="329" y="215"/>
                </a:lnTo>
                <a:lnTo>
                  <a:pt x="335" y="225"/>
                </a:lnTo>
                <a:lnTo>
                  <a:pt x="348" y="232"/>
                </a:lnTo>
                <a:lnTo>
                  <a:pt x="378" y="227"/>
                </a:lnTo>
                <a:lnTo>
                  <a:pt x="383" y="232"/>
                </a:lnTo>
                <a:lnTo>
                  <a:pt x="388" y="259"/>
                </a:lnTo>
                <a:lnTo>
                  <a:pt x="380" y="315"/>
                </a:lnTo>
                <a:lnTo>
                  <a:pt x="371" y="360"/>
                </a:lnTo>
                <a:lnTo>
                  <a:pt x="326" y="403"/>
                </a:lnTo>
                <a:lnTo>
                  <a:pt x="273" y="411"/>
                </a:lnTo>
                <a:lnTo>
                  <a:pt x="246" y="399"/>
                </a:lnTo>
                <a:lnTo>
                  <a:pt x="201" y="394"/>
                </a:lnTo>
                <a:lnTo>
                  <a:pt x="201" y="383"/>
                </a:lnTo>
                <a:lnTo>
                  <a:pt x="202" y="371"/>
                </a:lnTo>
                <a:lnTo>
                  <a:pt x="230" y="321"/>
                </a:lnTo>
                <a:lnTo>
                  <a:pt x="227" y="301"/>
                </a:lnTo>
                <a:lnTo>
                  <a:pt x="193" y="276"/>
                </a:lnTo>
                <a:lnTo>
                  <a:pt x="141" y="245"/>
                </a:lnTo>
                <a:lnTo>
                  <a:pt x="86" y="233"/>
                </a:lnTo>
                <a:lnTo>
                  <a:pt x="77" y="216"/>
                </a:lnTo>
                <a:lnTo>
                  <a:pt x="43" y="193"/>
                </a:lnTo>
                <a:lnTo>
                  <a:pt x="14" y="156"/>
                </a:lnTo>
                <a:lnTo>
                  <a:pt x="0" y="151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45" name="Freeform 234"/>
          <p:cNvSpPr>
            <a:spLocks noChangeAspect="1"/>
          </p:cNvSpPr>
          <p:nvPr/>
        </p:nvSpPr>
        <p:spPr bwMode="gray">
          <a:xfrm>
            <a:off x="3095625" y="4533900"/>
            <a:ext cx="117475" cy="128588"/>
          </a:xfrm>
          <a:custGeom>
            <a:avLst/>
            <a:gdLst>
              <a:gd name="T0" fmla="*/ 2147483647 w 246"/>
              <a:gd name="T1" fmla="*/ 2147483647 h 263"/>
              <a:gd name="T2" fmla="*/ 2147483647 w 246"/>
              <a:gd name="T3" fmla="*/ 2147483647 h 263"/>
              <a:gd name="T4" fmla="*/ 2147483647 w 246"/>
              <a:gd name="T5" fmla="*/ 2147483647 h 263"/>
              <a:gd name="T6" fmla="*/ 2147483647 w 246"/>
              <a:gd name="T7" fmla="*/ 2147483647 h 263"/>
              <a:gd name="T8" fmla="*/ 2147483647 w 246"/>
              <a:gd name="T9" fmla="*/ 2147483647 h 263"/>
              <a:gd name="T10" fmla="*/ 2147483647 w 246"/>
              <a:gd name="T11" fmla="*/ 2147483647 h 263"/>
              <a:gd name="T12" fmla="*/ 0 w 246"/>
              <a:gd name="T13" fmla="*/ 2147483647 h 263"/>
              <a:gd name="T14" fmla="*/ 2147483647 w 246"/>
              <a:gd name="T15" fmla="*/ 2147483647 h 263"/>
              <a:gd name="T16" fmla="*/ 2147483647 w 246"/>
              <a:gd name="T17" fmla="*/ 2147483647 h 263"/>
              <a:gd name="T18" fmla="*/ 2147483647 w 246"/>
              <a:gd name="T19" fmla="*/ 2147483647 h 263"/>
              <a:gd name="T20" fmla="*/ 2147483647 w 246"/>
              <a:gd name="T21" fmla="*/ 2147483647 h 263"/>
              <a:gd name="T22" fmla="*/ 2147483647 w 246"/>
              <a:gd name="T23" fmla="*/ 2147483647 h 263"/>
              <a:gd name="T24" fmla="*/ 2147483647 w 246"/>
              <a:gd name="T25" fmla="*/ 2147483647 h 263"/>
              <a:gd name="T26" fmla="*/ 2147483647 w 246"/>
              <a:gd name="T27" fmla="*/ 2147483647 h 263"/>
              <a:gd name="T28" fmla="*/ 2147483647 w 246"/>
              <a:gd name="T29" fmla="*/ 2147483647 h 263"/>
              <a:gd name="T30" fmla="*/ 2147483647 w 246"/>
              <a:gd name="T31" fmla="*/ 2147483647 h 263"/>
              <a:gd name="T32" fmla="*/ 2147483647 w 246"/>
              <a:gd name="T33" fmla="*/ 2147483647 h 263"/>
              <a:gd name="T34" fmla="*/ 2147483647 w 246"/>
              <a:gd name="T35" fmla="*/ 2147483647 h 263"/>
              <a:gd name="T36" fmla="*/ 2147483647 w 246"/>
              <a:gd name="T37" fmla="*/ 2147483647 h 263"/>
              <a:gd name="T38" fmla="*/ 2147483647 w 246"/>
              <a:gd name="T39" fmla="*/ 2147483647 h 263"/>
              <a:gd name="T40" fmla="*/ 2147483647 w 246"/>
              <a:gd name="T41" fmla="*/ 2147483647 h 263"/>
              <a:gd name="T42" fmla="*/ 2147483647 w 246"/>
              <a:gd name="T43" fmla="*/ 2147483647 h 263"/>
              <a:gd name="T44" fmla="*/ 2147483647 w 246"/>
              <a:gd name="T45" fmla="*/ 2147483647 h 263"/>
              <a:gd name="T46" fmla="*/ 2147483647 w 246"/>
              <a:gd name="T47" fmla="*/ 2147483647 h 263"/>
              <a:gd name="T48" fmla="*/ 2147483647 w 246"/>
              <a:gd name="T49" fmla="*/ 2147483647 h 263"/>
              <a:gd name="T50" fmla="*/ 2147483647 w 246"/>
              <a:gd name="T51" fmla="*/ 2147483647 h 263"/>
              <a:gd name="T52" fmla="*/ 2147483647 w 246"/>
              <a:gd name="T53" fmla="*/ 2147483647 h 263"/>
              <a:gd name="T54" fmla="*/ 2147483647 w 246"/>
              <a:gd name="T55" fmla="*/ 2147483647 h 263"/>
              <a:gd name="T56" fmla="*/ 2147483647 w 246"/>
              <a:gd name="T57" fmla="*/ 0 h 263"/>
              <a:gd name="T58" fmla="*/ 2147483647 w 246"/>
              <a:gd name="T59" fmla="*/ 2147483647 h 263"/>
              <a:gd name="T60" fmla="*/ 2147483647 w 246"/>
              <a:gd name="T61" fmla="*/ 2147483647 h 263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246"/>
              <a:gd name="T94" fmla="*/ 0 h 263"/>
              <a:gd name="T95" fmla="*/ 246 w 246"/>
              <a:gd name="T96" fmla="*/ 263 h 263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246" h="263">
                <a:moveTo>
                  <a:pt x="39" y="8"/>
                </a:moveTo>
                <a:lnTo>
                  <a:pt x="28" y="21"/>
                </a:lnTo>
                <a:lnTo>
                  <a:pt x="26" y="72"/>
                </a:lnTo>
                <a:lnTo>
                  <a:pt x="17" y="100"/>
                </a:lnTo>
                <a:lnTo>
                  <a:pt x="16" y="151"/>
                </a:lnTo>
                <a:lnTo>
                  <a:pt x="5" y="176"/>
                </a:lnTo>
                <a:lnTo>
                  <a:pt x="0" y="210"/>
                </a:lnTo>
                <a:lnTo>
                  <a:pt x="8" y="213"/>
                </a:lnTo>
                <a:lnTo>
                  <a:pt x="25" y="235"/>
                </a:lnTo>
                <a:lnTo>
                  <a:pt x="57" y="238"/>
                </a:lnTo>
                <a:lnTo>
                  <a:pt x="104" y="258"/>
                </a:lnTo>
                <a:lnTo>
                  <a:pt x="136" y="257"/>
                </a:lnTo>
                <a:lnTo>
                  <a:pt x="165" y="263"/>
                </a:lnTo>
                <a:lnTo>
                  <a:pt x="198" y="246"/>
                </a:lnTo>
                <a:lnTo>
                  <a:pt x="232" y="198"/>
                </a:lnTo>
                <a:lnTo>
                  <a:pt x="229" y="190"/>
                </a:lnTo>
                <a:lnTo>
                  <a:pt x="231" y="165"/>
                </a:lnTo>
                <a:lnTo>
                  <a:pt x="246" y="143"/>
                </a:lnTo>
                <a:lnTo>
                  <a:pt x="224" y="125"/>
                </a:lnTo>
                <a:lnTo>
                  <a:pt x="215" y="99"/>
                </a:lnTo>
                <a:lnTo>
                  <a:pt x="192" y="89"/>
                </a:lnTo>
                <a:lnTo>
                  <a:pt x="178" y="72"/>
                </a:lnTo>
                <a:lnTo>
                  <a:pt x="152" y="62"/>
                </a:lnTo>
                <a:lnTo>
                  <a:pt x="135" y="40"/>
                </a:lnTo>
                <a:lnTo>
                  <a:pt x="122" y="48"/>
                </a:lnTo>
                <a:lnTo>
                  <a:pt x="113" y="48"/>
                </a:lnTo>
                <a:lnTo>
                  <a:pt x="107" y="28"/>
                </a:lnTo>
                <a:lnTo>
                  <a:pt x="77" y="1"/>
                </a:lnTo>
                <a:lnTo>
                  <a:pt x="67" y="0"/>
                </a:lnTo>
                <a:lnTo>
                  <a:pt x="53" y="9"/>
                </a:lnTo>
                <a:lnTo>
                  <a:pt x="39" y="8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46" name="Freeform 235"/>
          <p:cNvSpPr>
            <a:spLocks noChangeAspect="1"/>
          </p:cNvSpPr>
          <p:nvPr/>
        </p:nvSpPr>
        <p:spPr bwMode="gray">
          <a:xfrm>
            <a:off x="2840038" y="4046538"/>
            <a:ext cx="273050" cy="307975"/>
          </a:xfrm>
          <a:custGeom>
            <a:avLst/>
            <a:gdLst>
              <a:gd name="T0" fmla="*/ 2147483647 w 554"/>
              <a:gd name="T1" fmla="*/ 2147483647 h 635"/>
              <a:gd name="T2" fmla="*/ 2147483647 w 554"/>
              <a:gd name="T3" fmla="*/ 2147483647 h 635"/>
              <a:gd name="T4" fmla="*/ 2147483647 w 554"/>
              <a:gd name="T5" fmla="*/ 2147483647 h 635"/>
              <a:gd name="T6" fmla="*/ 2147483647 w 554"/>
              <a:gd name="T7" fmla="*/ 2147483647 h 635"/>
              <a:gd name="T8" fmla="*/ 2147483647 w 554"/>
              <a:gd name="T9" fmla="*/ 2147483647 h 635"/>
              <a:gd name="T10" fmla="*/ 2147483647 w 554"/>
              <a:gd name="T11" fmla="*/ 2147483647 h 635"/>
              <a:gd name="T12" fmla="*/ 2147483647 w 554"/>
              <a:gd name="T13" fmla="*/ 2147483647 h 635"/>
              <a:gd name="T14" fmla="*/ 2147483647 w 554"/>
              <a:gd name="T15" fmla="*/ 2147483647 h 635"/>
              <a:gd name="T16" fmla="*/ 2147483647 w 554"/>
              <a:gd name="T17" fmla="*/ 2147483647 h 635"/>
              <a:gd name="T18" fmla="*/ 2147483647 w 554"/>
              <a:gd name="T19" fmla="*/ 2147483647 h 635"/>
              <a:gd name="T20" fmla="*/ 2147483647 w 554"/>
              <a:gd name="T21" fmla="*/ 2147483647 h 635"/>
              <a:gd name="T22" fmla="*/ 2147483647 w 554"/>
              <a:gd name="T23" fmla="*/ 2147483647 h 635"/>
              <a:gd name="T24" fmla="*/ 2147483647 w 554"/>
              <a:gd name="T25" fmla="*/ 2147483647 h 635"/>
              <a:gd name="T26" fmla="*/ 2147483647 w 554"/>
              <a:gd name="T27" fmla="*/ 2147483647 h 635"/>
              <a:gd name="T28" fmla="*/ 2147483647 w 554"/>
              <a:gd name="T29" fmla="*/ 2147483647 h 635"/>
              <a:gd name="T30" fmla="*/ 2147483647 w 554"/>
              <a:gd name="T31" fmla="*/ 2147483647 h 635"/>
              <a:gd name="T32" fmla="*/ 2147483647 w 554"/>
              <a:gd name="T33" fmla="*/ 2147483647 h 635"/>
              <a:gd name="T34" fmla="*/ 2147483647 w 554"/>
              <a:gd name="T35" fmla="*/ 2147483647 h 635"/>
              <a:gd name="T36" fmla="*/ 2147483647 w 554"/>
              <a:gd name="T37" fmla="*/ 2147483647 h 635"/>
              <a:gd name="T38" fmla="*/ 2147483647 w 554"/>
              <a:gd name="T39" fmla="*/ 2147483647 h 635"/>
              <a:gd name="T40" fmla="*/ 2147483647 w 554"/>
              <a:gd name="T41" fmla="*/ 2147483647 h 635"/>
              <a:gd name="T42" fmla="*/ 2147483647 w 554"/>
              <a:gd name="T43" fmla="*/ 2147483647 h 635"/>
              <a:gd name="T44" fmla="*/ 2147483647 w 554"/>
              <a:gd name="T45" fmla="*/ 2147483647 h 635"/>
              <a:gd name="T46" fmla="*/ 2147483647 w 554"/>
              <a:gd name="T47" fmla="*/ 2147483647 h 635"/>
              <a:gd name="T48" fmla="*/ 2147483647 w 554"/>
              <a:gd name="T49" fmla="*/ 2147483647 h 635"/>
              <a:gd name="T50" fmla="*/ 2147483647 w 554"/>
              <a:gd name="T51" fmla="*/ 2147483647 h 635"/>
              <a:gd name="T52" fmla="*/ 2147483647 w 554"/>
              <a:gd name="T53" fmla="*/ 2147483647 h 635"/>
              <a:gd name="T54" fmla="*/ 2147483647 w 554"/>
              <a:gd name="T55" fmla="*/ 2147483647 h 635"/>
              <a:gd name="T56" fmla="*/ 2147483647 w 554"/>
              <a:gd name="T57" fmla="*/ 2147483647 h 635"/>
              <a:gd name="T58" fmla="*/ 2147483647 w 554"/>
              <a:gd name="T59" fmla="*/ 2147483647 h 635"/>
              <a:gd name="T60" fmla="*/ 2147483647 w 554"/>
              <a:gd name="T61" fmla="*/ 2147483647 h 635"/>
              <a:gd name="T62" fmla="*/ 2147483647 w 554"/>
              <a:gd name="T63" fmla="*/ 2147483647 h 635"/>
              <a:gd name="T64" fmla="*/ 2147483647 w 554"/>
              <a:gd name="T65" fmla="*/ 2147483647 h 635"/>
              <a:gd name="T66" fmla="*/ 2147483647 w 554"/>
              <a:gd name="T67" fmla="*/ 2147483647 h 635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554"/>
              <a:gd name="T103" fmla="*/ 0 h 635"/>
              <a:gd name="T104" fmla="*/ 554 w 554"/>
              <a:gd name="T105" fmla="*/ 635 h 635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554" h="635">
                <a:moveTo>
                  <a:pt x="0" y="59"/>
                </a:moveTo>
                <a:lnTo>
                  <a:pt x="60" y="63"/>
                </a:lnTo>
                <a:lnTo>
                  <a:pt x="99" y="46"/>
                </a:lnTo>
                <a:lnTo>
                  <a:pt x="139" y="6"/>
                </a:lnTo>
                <a:lnTo>
                  <a:pt x="195" y="0"/>
                </a:lnTo>
                <a:lnTo>
                  <a:pt x="204" y="9"/>
                </a:lnTo>
                <a:lnTo>
                  <a:pt x="206" y="23"/>
                </a:lnTo>
                <a:lnTo>
                  <a:pt x="206" y="51"/>
                </a:lnTo>
                <a:lnTo>
                  <a:pt x="198" y="74"/>
                </a:lnTo>
                <a:lnTo>
                  <a:pt x="210" y="105"/>
                </a:lnTo>
                <a:lnTo>
                  <a:pt x="240" y="127"/>
                </a:lnTo>
                <a:lnTo>
                  <a:pt x="294" y="136"/>
                </a:lnTo>
                <a:lnTo>
                  <a:pt x="308" y="150"/>
                </a:lnTo>
                <a:lnTo>
                  <a:pt x="346" y="163"/>
                </a:lnTo>
                <a:lnTo>
                  <a:pt x="365" y="178"/>
                </a:lnTo>
                <a:lnTo>
                  <a:pt x="396" y="178"/>
                </a:lnTo>
                <a:lnTo>
                  <a:pt x="410" y="186"/>
                </a:lnTo>
                <a:lnTo>
                  <a:pt x="422" y="200"/>
                </a:lnTo>
                <a:lnTo>
                  <a:pt x="433" y="237"/>
                </a:lnTo>
                <a:lnTo>
                  <a:pt x="430" y="257"/>
                </a:lnTo>
                <a:lnTo>
                  <a:pt x="424" y="263"/>
                </a:lnTo>
                <a:lnTo>
                  <a:pt x="442" y="310"/>
                </a:lnTo>
                <a:lnTo>
                  <a:pt x="523" y="317"/>
                </a:lnTo>
                <a:lnTo>
                  <a:pt x="518" y="340"/>
                </a:lnTo>
                <a:lnTo>
                  <a:pt x="523" y="357"/>
                </a:lnTo>
                <a:lnTo>
                  <a:pt x="540" y="364"/>
                </a:lnTo>
                <a:lnTo>
                  <a:pt x="554" y="399"/>
                </a:lnTo>
                <a:lnTo>
                  <a:pt x="552" y="446"/>
                </a:lnTo>
                <a:lnTo>
                  <a:pt x="543" y="472"/>
                </a:lnTo>
                <a:lnTo>
                  <a:pt x="546" y="492"/>
                </a:lnTo>
                <a:lnTo>
                  <a:pt x="537" y="497"/>
                </a:lnTo>
                <a:lnTo>
                  <a:pt x="510" y="464"/>
                </a:lnTo>
                <a:lnTo>
                  <a:pt x="490" y="454"/>
                </a:lnTo>
                <a:lnTo>
                  <a:pt x="451" y="454"/>
                </a:lnTo>
                <a:lnTo>
                  <a:pt x="362" y="480"/>
                </a:lnTo>
                <a:lnTo>
                  <a:pt x="356" y="497"/>
                </a:lnTo>
                <a:lnTo>
                  <a:pt x="339" y="525"/>
                </a:lnTo>
                <a:lnTo>
                  <a:pt x="339" y="559"/>
                </a:lnTo>
                <a:lnTo>
                  <a:pt x="322" y="605"/>
                </a:lnTo>
                <a:lnTo>
                  <a:pt x="303" y="593"/>
                </a:lnTo>
                <a:lnTo>
                  <a:pt x="258" y="589"/>
                </a:lnTo>
                <a:lnTo>
                  <a:pt x="248" y="623"/>
                </a:lnTo>
                <a:lnTo>
                  <a:pt x="227" y="602"/>
                </a:lnTo>
                <a:lnTo>
                  <a:pt x="178" y="594"/>
                </a:lnTo>
                <a:lnTo>
                  <a:pt x="164" y="579"/>
                </a:lnTo>
                <a:lnTo>
                  <a:pt x="116" y="631"/>
                </a:lnTo>
                <a:lnTo>
                  <a:pt x="93" y="635"/>
                </a:lnTo>
                <a:lnTo>
                  <a:pt x="80" y="630"/>
                </a:lnTo>
                <a:lnTo>
                  <a:pt x="63" y="537"/>
                </a:lnTo>
                <a:lnTo>
                  <a:pt x="50" y="523"/>
                </a:lnTo>
                <a:lnTo>
                  <a:pt x="50" y="509"/>
                </a:lnTo>
                <a:lnTo>
                  <a:pt x="42" y="503"/>
                </a:lnTo>
                <a:lnTo>
                  <a:pt x="43" y="488"/>
                </a:lnTo>
                <a:lnTo>
                  <a:pt x="51" y="481"/>
                </a:lnTo>
                <a:lnTo>
                  <a:pt x="53" y="458"/>
                </a:lnTo>
                <a:lnTo>
                  <a:pt x="31" y="437"/>
                </a:lnTo>
                <a:lnTo>
                  <a:pt x="25" y="395"/>
                </a:lnTo>
                <a:lnTo>
                  <a:pt x="6" y="373"/>
                </a:lnTo>
                <a:lnTo>
                  <a:pt x="0" y="362"/>
                </a:lnTo>
                <a:lnTo>
                  <a:pt x="31" y="322"/>
                </a:lnTo>
                <a:lnTo>
                  <a:pt x="29" y="311"/>
                </a:lnTo>
                <a:lnTo>
                  <a:pt x="14" y="294"/>
                </a:lnTo>
                <a:lnTo>
                  <a:pt x="14" y="276"/>
                </a:lnTo>
                <a:lnTo>
                  <a:pt x="25" y="260"/>
                </a:lnTo>
                <a:lnTo>
                  <a:pt x="16" y="237"/>
                </a:lnTo>
                <a:lnTo>
                  <a:pt x="31" y="226"/>
                </a:lnTo>
                <a:lnTo>
                  <a:pt x="31" y="149"/>
                </a:lnTo>
                <a:lnTo>
                  <a:pt x="43" y="129"/>
                </a:lnTo>
                <a:lnTo>
                  <a:pt x="0" y="59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47" name="Freeform 236"/>
          <p:cNvSpPr>
            <a:spLocks noChangeAspect="1"/>
          </p:cNvSpPr>
          <p:nvPr/>
        </p:nvSpPr>
        <p:spPr bwMode="gray">
          <a:xfrm>
            <a:off x="3549650" y="5265738"/>
            <a:ext cx="52388" cy="34925"/>
          </a:xfrm>
          <a:custGeom>
            <a:avLst/>
            <a:gdLst>
              <a:gd name="T0" fmla="*/ 0 w 107"/>
              <a:gd name="T1" fmla="*/ 2147483647 h 71"/>
              <a:gd name="T2" fmla="*/ 2147483647 w 107"/>
              <a:gd name="T3" fmla="*/ 0 h 71"/>
              <a:gd name="T4" fmla="*/ 2147483647 w 107"/>
              <a:gd name="T5" fmla="*/ 2147483647 h 71"/>
              <a:gd name="T6" fmla="*/ 2147483647 w 107"/>
              <a:gd name="T7" fmla="*/ 2147483647 h 71"/>
              <a:gd name="T8" fmla="*/ 2147483647 w 107"/>
              <a:gd name="T9" fmla="*/ 2147483647 h 71"/>
              <a:gd name="T10" fmla="*/ 2147483647 w 107"/>
              <a:gd name="T11" fmla="*/ 2147483647 h 71"/>
              <a:gd name="T12" fmla="*/ 2147483647 w 107"/>
              <a:gd name="T13" fmla="*/ 2147483647 h 71"/>
              <a:gd name="T14" fmla="*/ 2147483647 w 107"/>
              <a:gd name="T15" fmla="*/ 2147483647 h 71"/>
              <a:gd name="T16" fmla="*/ 2147483647 w 107"/>
              <a:gd name="T17" fmla="*/ 2147483647 h 71"/>
              <a:gd name="T18" fmla="*/ 2147483647 w 107"/>
              <a:gd name="T19" fmla="*/ 2147483647 h 71"/>
              <a:gd name="T20" fmla="*/ 2147483647 w 107"/>
              <a:gd name="T21" fmla="*/ 2147483647 h 71"/>
              <a:gd name="T22" fmla="*/ 2147483647 w 107"/>
              <a:gd name="T23" fmla="*/ 2147483647 h 71"/>
              <a:gd name="T24" fmla="*/ 2147483647 w 107"/>
              <a:gd name="T25" fmla="*/ 2147483647 h 71"/>
              <a:gd name="T26" fmla="*/ 0 w 107"/>
              <a:gd name="T27" fmla="*/ 2147483647 h 71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107"/>
              <a:gd name="T43" fmla="*/ 0 h 71"/>
              <a:gd name="T44" fmla="*/ 107 w 107"/>
              <a:gd name="T45" fmla="*/ 71 h 71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107" h="71">
                <a:moveTo>
                  <a:pt x="0" y="6"/>
                </a:moveTo>
                <a:lnTo>
                  <a:pt x="32" y="0"/>
                </a:lnTo>
                <a:lnTo>
                  <a:pt x="62" y="14"/>
                </a:lnTo>
                <a:lnTo>
                  <a:pt x="73" y="27"/>
                </a:lnTo>
                <a:lnTo>
                  <a:pt x="85" y="27"/>
                </a:lnTo>
                <a:lnTo>
                  <a:pt x="104" y="49"/>
                </a:lnTo>
                <a:lnTo>
                  <a:pt x="107" y="63"/>
                </a:lnTo>
                <a:lnTo>
                  <a:pt x="91" y="71"/>
                </a:lnTo>
                <a:lnTo>
                  <a:pt x="71" y="41"/>
                </a:lnTo>
                <a:lnTo>
                  <a:pt x="34" y="24"/>
                </a:lnTo>
                <a:lnTo>
                  <a:pt x="34" y="14"/>
                </a:lnTo>
                <a:lnTo>
                  <a:pt x="17" y="15"/>
                </a:lnTo>
                <a:lnTo>
                  <a:pt x="15" y="7"/>
                </a:lnTo>
                <a:lnTo>
                  <a:pt x="0" y="6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48" name="Freeform 237"/>
          <p:cNvSpPr>
            <a:spLocks noChangeAspect="1"/>
          </p:cNvSpPr>
          <p:nvPr/>
        </p:nvSpPr>
        <p:spPr bwMode="gray">
          <a:xfrm>
            <a:off x="3103563" y="3698875"/>
            <a:ext cx="92075" cy="88900"/>
          </a:xfrm>
          <a:custGeom>
            <a:avLst/>
            <a:gdLst>
              <a:gd name="T0" fmla="*/ 2147483647 w 192"/>
              <a:gd name="T1" fmla="*/ 2147483647 h 187"/>
              <a:gd name="T2" fmla="*/ 2147483647 w 192"/>
              <a:gd name="T3" fmla="*/ 2147483647 h 187"/>
              <a:gd name="T4" fmla="*/ 2147483647 w 192"/>
              <a:gd name="T5" fmla="*/ 2147483647 h 187"/>
              <a:gd name="T6" fmla="*/ 2147483647 w 192"/>
              <a:gd name="T7" fmla="*/ 2147483647 h 187"/>
              <a:gd name="T8" fmla="*/ 2147483647 w 192"/>
              <a:gd name="T9" fmla="*/ 2147483647 h 187"/>
              <a:gd name="T10" fmla="*/ 2147483647 w 192"/>
              <a:gd name="T11" fmla="*/ 2147483647 h 187"/>
              <a:gd name="T12" fmla="*/ 2147483647 w 192"/>
              <a:gd name="T13" fmla="*/ 2147483647 h 187"/>
              <a:gd name="T14" fmla="*/ 2147483647 w 192"/>
              <a:gd name="T15" fmla="*/ 2147483647 h 187"/>
              <a:gd name="T16" fmla="*/ 2147483647 w 192"/>
              <a:gd name="T17" fmla="*/ 2147483647 h 187"/>
              <a:gd name="T18" fmla="*/ 2147483647 w 192"/>
              <a:gd name="T19" fmla="*/ 2147483647 h 187"/>
              <a:gd name="T20" fmla="*/ 0 w 192"/>
              <a:gd name="T21" fmla="*/ 2147483647 h 187"/>
              <a:gd name="T22" fmla="*/ 2147483647 w 192"/>
              <a:gd name="T23" fmla="*/ 2147483647 h 187"/>
              <a:gd name="T24" fmla="*/ 2147483647 w 192"/>
              <a:gd name="T25" fmla="*/ 2147483647 h 187"/>
              <a:gd name="T26" fmla="*/ 2147483647 w 192"/>
              <a:gd name="T27" fmla="*/ 2147483647 h 187"/>
              <a:gd name="T28" fmla="*/ 2147483647 w 192"/>
              <a:gd name="T29" fmla="*/ 2147483647 h 187"/>
              <a:gd name="T30" fmla="*/ 2147483647 w 192"/>
              <a:gd name="T31" fmla="*/ 2147483647 h 187"/>
              <a:gd name="T32" fmla="*/ 2147483647 w 192"/>
              <a:gd name="T33" fmla="*/ 0 h 187"/>
              <a:gd name="T34" fmla="*/ 2147483647 w 192"/>
              <a:gd name="T35" fmla="*/ 2147483647 h 187"/>
              <a:gd name="T36" fmla="*/ 2147483647 w 192"/>
              <a:gd name="T37" fmla="*/ 0 h 187"/>
              <a:gd name="T38" fmla="*/ 2147483647 w 192"/>
              <a:gd name="T39" fmla="*/ 2147483647 h 187"/>
              <a:gd name="T40" fmla="*/ 2147483647 w 192"/>
              <a:gd name="T41" fmla="*/ 2147483647 h 187"/>
              <a:gd name="T42" fmla="*/ 2147483647 w 192"/>
              <a:gd name="T43" fmla="*/ 2147483647 h 187"/>
              <a:gd name="T44" fmla="*/ 2147483647 w 192"/>
              <a:gd name="T45" fmla="*/ 2147483647 h 187"/>
              <a:gd name="T46" fmla="*/ 2147483647 w 192"/>
              <a:gd name="T47" fmla="*/ 2147483647 h 187"/>
              <a:gd name="T48" fmla="*/ 2147483647 w 192"/>
              <a:gd name="T49" fmla="*/ 2147483647 h 187"/>
              <a:gd name="T50" fmla="*/ 2147483647 w 192"/>
              <a:gd name="T51" fmla="*/ 2147483647 h 187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92"/>
              <a:gd name="T79" fmla="*/ 0 h 187"/>
              <a:gd name="T80" fmla="*/ 192 w 192"/>
              <a:gd name="T81" fmla="*/ 187 h 187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92" h="187">
                <a:moveTo>
                  <a:pt x="172" y="167"/>
                </a:moveTo>
                <a:lnTo>
                  <a:pt x="146" y="158"/>
                </a:lnTo>
                <a:lnTo>
                  <a:pt x="127" y="163"/>
                </a:lnTo>
                <a:lnTo>
                  <a:pt x="110" y="160"/>
                </a:lnTo>
                <a:lnTo>
                  <a:pt x="105" y="163"/>
                </a:lnTo>
                <a:lnTo>
                  <a:pt x="104" y="187"/>
                </a:lnTo>
                <a:lnTo>
                  <a:pt x="79" y="181"/>
                </a:lnTo>
                <a:lnTo>
                  <a:pt x="56" y="160"/>
                </a:lnTo>
                <a:lnTo>
                  <a:pt x="40" y="121"/>
                </a:lnTo>
                <a:lnTo>
                  <a:pt x="26" y="118"/>
                </a:lnTo>
                <a:lnTo>
                  <a:pt x="0" y="85"/>
                </a:lnTo>
                <a:lnTo>
                  <a:pt x="11" y="50"/>
                </a:lnTo>
                <a:lnTo>
                  <a:pt x="34" y="43"/>
                </a:lnTo>
                <a:lnTo>
                  <a:pt x="40" y="34"/>
                </a:lnTo>
                <a:lnTo>
                  <a:pt x="38" y="23"/>
                </a:lnTo>
                <a:lnTo>
                  <a:pt x="50" y="6"/>
                </a:lnTo>
                <a:lnTo>
                  <a:pt x="56" y="0"/>
                </a:lnTo>
                <a:lnTo>
                  <a:pt x="81" y="6"/>
                </a:lnTo>
                <a:lnTo>
                  <a:pt x="148" y="0"/>
                </a:lnTo>
                <a:lnTo>
                  <a:pt x="190" y="9"/>
                </a:lnTo>
                <a:lnTo>
                  <a:pt x="190" y="20"/>
                </a:lnTo>
                <a:lnTo>
                  <a:pt x="175" y="43"/>
                </a:lnTo>
                <a:lnTo>
                  <a:pt x="177" y="77"/>
                </a:lnTo>
                <a:lnTo>
                  <a:pt x="192" y="105"/>
                </a:lnTo>
                <a:lnTo>
                  <a:pt x="186" y="153"/>
                </a:lnTo>
                <a:lnTo>
                  <a:pt x="172" y="167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49" name="Freeform 238"/>
          <p:cNvSpPr>
            <a:spLocks noChangeAspect="1"/>
          </p:cNvSpPr>
          <p:nvPr/>
        </p:nvSpPr>
        <p:spPr bwMode="gray">
          <a:xfrm>
            <a:off x="3032125" y="3644900"/>
            <a:ext cx="109538" cy="157163"/>
          </a:xfrm>
          <a:custGeom>
            <a:avLst/>
            <a:gdLst>
              <a:gd name="T0" fmla="*/ 2147483647 w 224"/>
              <a:gd name="T1" fmla="*/ 2147483647 h 324"/>
              <a:gd name="T2" fmla="*/ 2147483647 w 224"/>
              <a:gd name="T3" fmla="*/ 2147483647 h 324"/>
              <a:gd name="T4" fmla="*/ 2147483647 w 224"/>
              <a:gd name="T5" fmla="*/ 2147483647 h 324"/>
              <a:gd name="T6" fmla="*/ 2147483647 w 224"/>
              <a:gd name="T7" fmla="*/ 2147483647 h 324"/>
              <a:gd name="T8" fmla="*/ 2147483647 w 224"/>
              <a:gd name="T9" fmla="*/ 2147483647 h 324"/>
              <a:gd name="T10" fmla="*/ 2147483647 w 224"/>
              <a:gd name="T11" fmla="*/ 2147483647 h 324"/>
              <a:gd name="T12" fmla="*/ 2147483647 w 224"/>
              <a:gd name="T13" fmla="*/ 2147483647 h 324"/>
              <a:gd name="T14" fmla="*/ 2147483647 w 224"/>
              <a:gd name="T15" fmla="*/ 2147483647 h 324"/>
              <a:gd name="T16" fmla="*/ 2147483647 w 224"/>
              <a:gd name="T17" fmla="*/ 2147483647 h 324"/>
              <a:gd name="T18" fmla="*/ 2147483647 w 224"/>
              <a:gd name="T19" fmla="*/ 2147483647 h 324"/>
              <a:gd name="T20" fmla="*/ 2147483647 w 224"/>
              <a:gd name="T21" fmla="*/ 2147483647 h 324"/>
              <a:gd name="T22" fmla="*/ 2147483647 w 224"/>
              <a:gd name="T23" fmla="*/ 2147483647 h 324"/>
              <a:gd name="T24" fmla="*/ 2147483647 w 224"/>
              <a:gd name="T25" fmla="*/ 2147483647 h 324"/>
              <a:gd name="T26" fmla="*/ 2147483647 w 224"/>
              <a:gd name="T27" fmla="*/ 2147483647 h 324"/>
              <a:gd name="T28" fmla="*/ 2147483647 w 224"/>
              <a:gd name="T29" fmla="*/ 2147483647 h 324"/>
              <a:gd name="T30" fmla="*/ 2147483647 w 224"/>
              <a:gd name="T31" fmla="*/ 2147483647 h 324"/>
              <a:gd name="T32" fmla="*/ 2147483647 w 224"/>
              <a:gd name="T33" fmla="*/ 2147483647 h 324"/>
              <a:gd name="T34" fmla="*/ 2147483647 w 224"/>
              <a:gd name="T35" fmla="*/ 2147483647 h 324"/>
              <a:gd name="T36" fmla="*/ 0 w 224"/>
              <a:gd name="T37" fmla="*/ 2147483647 h 324"/>
              <a:gd name="T38" fmla="*/ 0 w 224"/>
              <a:gd name="T39" fmla="*/ 2147483647 h 324"/>
              <a:gd name="T40" fmla="*/ 2147483647 w 224"/>
              <a:gd name="T41" fmla="*/ 2147483647 h 324"/>
              <a:gd name="T42" fmla="*/ 2147483647 w 224"/>
              <a:gd name="T43" fmla="*/ 2147483647 h 324"/>
              <a:gd name="T44" fmla="*/ 2147483647 w 224"/>
              <a:gd name="T45" fmla="*/ 2147483647 h 324"/>
              <a:gd name="T46" fmla="*/ 2147483647 w 224"/>
              <a:gd name="T47" fmla="*/ 2147483647 h 324"/>
              <a:gd name="T48" fmla="*/ 2147483647 w 224"/>
              <a:gd name="T49" fmla="*/ 2147483647 h 324"/>
              <a:gd name="T50" fmla="*/ 2147483647 w 224"/>
              <a:gd name="T51" fmla="*/ 2147483647 h 324"/>
              <a:gd name="T52" fmla="*/ 2147483647 w 224"/>
              <a:gd name="T53" fmla="*/ 0 h 324"/>
              <a:gd name="T54" fmla="*/ 2147483647 w 224"/>
              <a:gd name="T55" fmla="*/ 0 h 324"/>
              <a:gd name="T56" fmla="*/ 2147483647 w 224"/>
              <a:gd name="T57" fmla="*/ 2147483647 h 324"/>
              <a:gd name="T58" fmla="*/ 2147483647 w 224"/>
              <a:gd name="T59" fmla="*/ 2147483647 h 324"/>
              <a:gd name="T60" fmla="*/ 2147483647 w 224"/>
              <a:gd name="T61" fmla="*/ 2147483647 h 324"/>
              <a:gd name="T62" fmla="*/ 2147483647 w 224"/>
              <a:gd name="T63" fmla="*/ 2147483647 h 324"/>
              <a:gd name="T64" fmla="*/ 2147483647 w 224"/>
              <a:gd name="T65" fmla="*/ 2147483647 h 324"/>
              <a:gd name="T66" fmla="*/ 2147483647 w 224"/>
              <a:gd name="T67" fmla="*/ 2147483647 h 324"/>
              <a:gd name="T68" fmla="*/ 2147483647 w 224"/>
              <a:gd name="T69" fmla="*/ 2147483647 h 324"/>
              <a:gd name="T70" fmla="*/ 2147483647 w 224"/>
              <a:gd name="T71" fmla="*/ 2147483647 h 324"/>
              <a:gd name="T72" fmla="*/ 2147483647 w 224"/>
              <a:gd name="T73" fmla="*/ 2147483647 h 324"/>
              <a:gd name="T74" fmla="*/ 2147483647 w 224"/>
              <a:gd name="T75" fmla="*/ 2147483647 h 324"/>
              <a:gd name="T76" fmla="*/ 2147483647 w 224"/>
              <a:gd name="T77" fmla="*/ 2147483647 h 324"/>
              <a:gd name="T78" fmla="*/ 2147483647 w 224"/>
              <a:gd name="T79" fmla="*/ 2147483647 h 324"/>
              <a:gd name="T80" fmla="*/ 2147483647 w 224"/>
              <a:gd name="T81" fmla="*/ 2147483647 h 324"/>
              <a:gd name="T82" fmla="*/ 2147483647 w 224"/>
              <a:gd name="T83" fmla="*/ 2147483647 h 324"/>
              <a:gd name="T84" fmla="*/ 2147483647 w 224"/>
              <a:gd name="T85" fmla="*/ 2147483647 h 324"/>
              <a:gd name="T86" fmla="*/ 2147483647 w 224"/>
              <a:gd name="T87" fmla="*/ 2147483647 h 324"/>
              <a:gd name="T88" fmla="*/ 2147483647 w 224"/>
              <a:gd name="T89" fmla="*/ 2147483647 h 324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224"/>
              <a:gd name="T136" fmla="*/ 0 h 324"/>
              <a:gd name="T137" fmla="*/ 224 w 224"/>
              <a:gd name="T138" fmla="*/ 324 h 324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224" h="324">
                <a:moveTo>
                  <a:pt x="224" y="291"/>
                </a:moveTo>
                <a:lnTo>
                  <a:pt x="201" y="296"/>
                </a:lnTo>
                <a:lnTo>
                  <a:pt x="190" y="290"/>
                </a:lnTo>
                <a:lnTo>
                  <a:pt x="173" y="304"/>
                </a:lnTo>
                <a:lnTo>
                  <a:pt x="134" y="314"/>
                </a:lnTo>
                <a:lnTo>
                  <a:pt x="124" y="324"/>
                </a:lnTo>
                <a:lnTo>
                  <a:pt x="103" y="321"/>
                </a:lnTo>
                <a:lnTo>
                  <a:pt x="91" y="314"/>
                </a:lnTo>
                <a:lnTo>
                  <a:pt x="76" y="299"/>
                </a:lnTo>
                <a:lnTo>
                  <a:pt x="74" y="279"/>
                </a:lnTo>
                <a:lnTo>
                  <a:pt x="65" y="266"/>
                </a:lnTo>
                <a:lnTo>
                  <a:pt x="71" y="215"/>
                </a:lnTo>
                <a:lnTo>
                  <a:pt x="82" y="203"/>
                </a:lnTo>
                <a:lnTo>
                  <a:pt x="76" y="178"/>
                </a:lnTo>
                <a:lnTo>
                  <a:pt x="57" y="174"/>
                </a:lnTo>
                <a:lnTo>
                  <a:pt x="61" y="157"/>
                </a:lnTo>
                <a:lnTo>
                  <a:pt x="56" y="143"/>
                </a:lnTo>
                <a:lnTo>
                  <a:pt x="31" y="144"/>
                </a:lnTo>
                <a:lnTo>
                  <a:pt x="0" y="107"/>
                </a:lnTo>
                <a:lnTo>
                  <a:pt x="0" y="102"/>
                </a:lnTo>
                <a:lnTo>
                  <a:pt x="10" y="89"/>
                </a:lnTo>
                <a:lnTo>
                  <a:pt x="10" y="76"/>
                </a:lnTo>
                <a:lnTo>
                  <a:pt x="37" y="59"/>
                </a:lnTo>
                <a:lnTo>
                  <a:pt x="22" y="53"/>
                </a:lnTo>
                <a:lnTo>
                  <a:pt x="22" y="31"/>
                </a:lnTo>
                <a:lnTo>
                  <a:pt x="66" y="11"/>
                </a:lnTo>
                <a:lnTo>
                  <a:pt x="68" y="0"/>
                </a:lnTo>
                <a:lnTo>
                  <a:pt x="80" y="0"/>
                </a:lnTo>
                <a:lnTo>
                  <a:pt x="119" y="34"/>
                </a:lnTo>
                <a:lnTo>
                  <a:pt x="125" y="45"/>
                </a:lnTo>
                <a:lnTo>
                  <a:pt x="127" y="68"/>
                </a:lnTo>
                <a:lnTo>
                  <a:pt x="133" y="70"/>
                </a:lnTo>
                <a:lnTo>
                  <a:pt x="151" y="72"/>
                </a:lnTo>
                <a:lnTo>
                  <a:pt x="164" y="79"/>
                </a:lnTo>
                <a:lnTo>
                  <a:pt x="187" y="99"/>
                </a:lnTo>
                <a:lnTo>
                  <a:pt x="195" y="116"/>
                </a:lnTo>
                <a:lnTo>
                  <a:pt x="183" y="133"/>
                </a:lnTo>
                <a:lnTo>
                  <a:pt x="185" y="144"/>
                </a:lnTo>
                <a:lnTo>
                  <a:pt x="179" y="153"/>
                </a:lnTo>
                <a:lnTo>
                  <a:pt x="156" y="160"/>
                </a:lnTo>
                <a:lnTo>
                  <a:pt x="145" y="195"/>
                </a:lnTo>
                <a:lnTo>
                  <a:pt x="171" y="228"/>
                </a:lnTo>
                <a:lnTo>
                  <a:pt x="185" y="231"/>
                </a:lnTo>
                <a:lnTo>
                  <a:pt x="201" y="270"/>
                </a:lnTo>
                <a:lnTo>
                  <a:pt x="224" y="291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50" name="Freeform 239"/>
          <p:cNvSpPr>
            <a:spLocks noChangeAspect="1"/>
          </p:cNvSpPr>
          <p:nvPr/>
        </p:nvSpPr>
        <p:spPr bwMode="gray">
          <a:xfrm>
            <a:off x="3186113" y="3705225"/>
            <a:ext cx="65087" cy="80963"/>
          </a:xfrm>
          <a:custGeom>
            <a:avLst/>
            <a:gdLst>
              <a:gd name="T0" fmla="*/ 2147483647 w 132"/>
              <a:gd name="T1" fmla="*/ 2147483647 h 167"/>
              <a:gd name="T2" fmla="*/ 2147483647 w 132"/>
              <a:gd name="T3" fmla="*/ 2147483647 h 167"/>
              <a:gd name="T4" fmla="*/ 2147483647 w 132"/>
              <a:gd name="T5" fmla="*/ 2147483647 h 167"/>
              <a:gd name="T6" fmla="*/ 2147483647 w 132"/>
              <a:gd name="T7" fmla="*/ 2147483647 h 167"/>
              <a:gd name="T8" fmla="*/ 2147483647 w 132"/>
              <a:gd name="T9" fmla="*/ 0 h 167"/>
              <a:gd name="T10" fmla="*/ 2147483647 w 132"/>
              <a:gd name="T11" fmla="*/ 2147483647 h 167"/>
              <a:gd name="T12" fmla="*/ 2147483647 w 132"/>
              <a:gd name="T13" fmla="*/ 2147483647 h 167"/>
              <a:gd name="T14" fmla="*/ 2147483647 w 132"/>
              <a:gd name="T15" fmla="*/ 2147483647 h 167"/>
              <a:gd name="T16" fmla="*/ 2147483647 w 132"/>
              <a:gd name="T17" fmla="*/ 2147483647 h 167"/>
              <a:gd name="T18" fmla="*/ 2147483647 w 132"/>
              <a:gd name="T19" fmla="*/ 2147483647 h 167"/>
              <a:gd name="T20" fmla="*/ 0 w 132"/>
              <a:gd name="T21" fmla="*/ 2147483647 h 167"/>
              <a:gd name="T22" fmla="*/ 2147483647 w 132"/>
              <a:gd name="T23" fmla="*/ 2147483647 h 167"/>
              <a:gd name="T24" fmla="*/ 2147483647 w 132"/>
              <a:gd name="T25" fmla="*/ 2147483647 h 167"/>
              <a:gd name="T26" fmla="*/ 2147483647 w 132"/>
              <a:gd name="T27" fmla="*/ 2147483647 h 167"/>
              <a:gd name="T28" fmla="*/ 2147483647 w 132"/>
              <a:gd name="T29" fmla="*/ 2147483647 h 167"/>
              <a:gd name="T30" fmla="*/ 2147483647 w 132"/>
              <a:gd name="T31" fmla="*/ 2147483647 h 167"/>
              <a:gd name="T32" fmla="*/ 2147483647 w 132"/>
              <a:gd name="T33" fmla="*/ 2147483647 h 16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32"/>
              <a:gd name="T52" fmla="*/ 0 h 167"/>
              <a:gd name="T53" fmla="*/ 132 w 132"/>
              <a:gd name="T54" fmla="*/ 167 h 167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32" h="167">
                <a:moveTo>
                  <a:pt x="132" y="71"/>
                </a:moveTo>
                <a:lnTo>
                  <a:pt x="132" y="63"/>
                </a:lnTo>
                <a:lnTo>
                  <a:pt x="124" y="54"/>
                </a:lnTo>
                <a:lnTo>
                  <a:pt x="83" y="25"/>
                </a:lnTo>
                <a:lnTo>
                  <a:pt x="31" y="0"/>
                </a:lnTo>
                <a:lnTo>
                  <a:pt x="18" y="6"/>
                </a:lnTo>
                <a:lnTo>
                  <a:pt x="3" y="29"/>
                </a:lnTo>
                <a:lnTo>
                  <a:pt x="5" y="63"/>
                </a:lnTo>
                <a:lnTo>
                  <a:pt x="20" y="91"/>
                </a:lnTo>
                <a:lnTo>
                  <a:pt x="14" y="139"/>
                </a:lnTo>
                <a:lnTo>
                  <a:pt x="0" y="153"/>
                </a:lnTo>
                <a:lnTo>
                  <a:pt x="18" y="167"/>
                </a:lnTo>
                <a:lnTo>
                  <a:pt x="40" y="161"/>
                </a:lnTo>
                <a:lnTo>
                  <a:pt x="65" y="161"/>
                </a:lnTo>
                <a:lnTo>
                  <a:pt x="90" y="139"/>
                </a:lnTo>
                <a:lnTo>
                  <a:pt x="99" y="116"/>
                </a:lnTo>
                <a:lnTo>
                  <a:pt x="132" y="71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51" name="Freeform 240"/>
          <p:cNvSpPr>
            <a:spLocks noChangeAspect="1"/>
          </p:cNvSpPr>
          <p:nvPr/>
        </p:nvSpPr>
        <p:spPr bwMode="gray">
          <a:xfrm>
            <a:off x="3019425" y="3587750"/>
            <a:ext cx="19050" cy="17463"/>
          </a:xfrm>
          <a:custGeom>
            <a:avLst/>
            <a:gdLst>
              <a:gd name="T0" fmla="*/ 2147483647 w 42"/>
              <a:gd name="T1" fmla="*/ 2147483647 h 36"/>
              <a:gd name="T2" fmla="*/ 2147483647 w 42"/>
              <a:gd name="T3" fmla="*/ 2147483647 h 36"/>
              <a:gd name="T4" fmla="*/ 2147483647 w 42"/>
              <a:gd name="T5" fmla="*/ 2147483647 h 36"/>
              <a:gd name="T6" fmla="*/ 2147483647 w 42"/>
              <a:gd name="T7" fmla="*/ 2147483647 h 36"/>
              <a:gd name="T8" fmla="*/ 0 w 42"/>
              <a:gd name="T9" fmla="*/ 2147483647 h 36"/>
              <a:gd name="T10" fmla="*/ 2147483647 w 42"/>
              <a:gd name="T11" fmla="*/ 2147483647 h 36"/>
              <a:gd name="T12" fmla="*/ 2147483647 w 42"/>
              <a:gd name="T13" fmla="*/ 2147483647 h 36"/>
              <a:gd name="T14" fmla="*/ 2147483647 w 42"/>
              <a:gd name="T15" fmla="*/ 2147483647 h 36"/>
              <a:gd name="T16" fmla="*/ 2147483647 w 42"/>
              <a:gd name="T17" fmla="*/ 0 h 36"/>
              <a:gd name="T18" fmla="*/ 2147483647 w 42"/>
              <a:gd name="T19" fmla="*/ 2147483647 h 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2"/>
              <a:gd name="T31" fmla="*/ 0 h 36"/>
              <a:gd name="T32" fmla="*/ 42 w 42"/>
              <a:gd name="T33" fmla="*/ 36 h 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2" h="36">
                <a:moveTo>
                  <a:pt x="42" y="3"/>
                </a:moveTo>
                <a:lnTo>
                  <a:pt x="38" y="15"/>
                </a:lnTo>
                <a:lnTo>
                  <a:pt x="40" y="28"/>
                </a:lnTo>
                <a:lnTo>
                  <a:pt x="34" y="34"/>
                </a:lnTo>
                <a:lnTo>
                  <a:pt x="0" y="36"/>
                </a:lnTo>
                <a:lnTo>
                  <a:pt x="17" y="22"/>
                </a:lnTo>
                <a:lnTo>
                  <a:pt x="18" y="10"/>
                </a:lnTo>
                <a:lnTo>
                  <a:pt x="9" y="5"/>
                </a:lnTo>
                <a:lnTo>
                  <a:pt x="40" y="0"/>
                </a:lnTo>
                <a:lnTo>
                  <a:pt x="42" y="3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52" name="Freeform 241"/>
          <p:cNvSpPr>
            <a:spLocks noChangeAspect="1" noEditPoints="1"/>
          </p:cNvSpPr>
          <p:nvPr/>
        </p:nvSpPr>
        <p:spPr bwMode="gray">
          <a:xfrm>
            <a:off x="2352675" y="3827463"/>
            <a:ext cx="49213" cy="28575"/>
          </a:xfrm>
          <a:custGeom>
            <a:avLst/>
            <a:gdLst>
              <a:gd name="T0" fmla="*/ 2147483647 w 102"/>
              <a:gd name="T1" fmla="*/ 0 h 59"/>
              <a:gd name="T2" fmla="*/ 2147483647 w 102"/>
              <a:gd name="T3" fmla="*/ 2147483647 h 59"/>
              <a:gd name="T4" fmla="*/ 2147483647 w 102"/>
              <a:gd name="T5" fmla="*/ 2147483647 h 59"/>
              <a:gd name="T6" fmla="*/ 2147483647 w 102"/>
              <a:gd name="T7" fmla="*/ 2147483647 h 59"/>
              <a:gd name="T8" fmla="*/ 2147483647 w 102"/>
              <a:gd name="T9" fmla="*/ 2147483647 h 59"/>
              <a:gd name="T10" fmla="*/ 2147483647 w 102"/>
              <a:gd name="T11" fmla="*/ 2147483647 h 59"/>
              <a:gd name="T12" fmla="*/ 2147483647 w 102"/>
              <a:gd name="T13" fmla="*/ 2147483647 h 59"/>
              <a:gd name="T14" fmla="*/ 2147483647 w 102"/>
              <a:gd name="T15" fmla="*/ 2147483647 h 59"/>
              <a:gd name="T16" fmla="*/ 2147483647 w 102"/>
              <a:gd name="T17" fmla="*/ 2147483647 h 59"/>
              <a:gd name="T18" fmla="*/ 0 w 102"/>
              <a:gd name="T19" fmla="*/ 2147483647 h 59"/>
              <a:gd name="T20" fmla="*/ 0 w 102"/>
              <a:gd name="T21" fmla="*/ 2147483647 h 59"/>
              <a:gd name="T22" fmla="*/ 2147483647 w 102"/>
              <a:gd name="T23" fmla="*/ 0 h 59"/>
              <a:gd name="T24" fmla="*/ 2147483647 w 102"/>
              <a:gd name="T25" fmla="*/ 2147483647 h 59"/>
              <a:gd name="T26" fmla="*/ 2147483647 w 102"/>
              <a:gd name="T27" fmla="*/ 2147483647 h 59"/>
              <a:gd name="T28" fmla="*/ 2147483647 w 102"/>
              <a:gd name="T29" fmla="*/ 2147483647 h 59"/>
              <a:gd name="T30" fmla="*/ 2147483647 w 102"/>
              <a:gd name="T31" fmla="*/ 2147483647 h 59"/>
              <a:gd name="T32" fmla="*/ 2147483647 w 102"/>
              <a:gd name="T33" fmla="*/ 2147483647 h 59"/>
              <a:gd name="T34" fmla="*/ 2147483647 w 102"/>
              <a:gd name="T35" fmla="*/ 2147483647 h 59"/>
              <a:gd name="T36" fmla="*/ 2147483647 w 102"/>
              <a:gd name="T37" fmla="*/ 2147483647 h 59"/>
              <a:gd name="T38" fmla="*/ 2147483647 w 102"/>
              <a:gd name="T39" fmla="*/ 2147483647 h 59"/>
              <a:gd name="T40" fmla="*/ 2147483647 w 102"/>
              <a:gd name="T41" fmla="*/ 2147483647 h 59"/>
              <a:gd name="T42" fmla="*/ 2147483647 w 102"/>
              <a:gd name="T43" fmla="*/ 2147483647 h 59"/>
              <a:gd name="T44" fmla="*/ 2147483647 w 102"/>
              <a:gd name="T45" fmla="*/ 2147483647 h 59"/>
              <a:gd name="T46" fmla="*/ 2147483647 w 102"/>
              <a:gd name="T47" fmla="*/ 2147483647 h 59"/>
              <a:gd name="T48" fmla="*/ 2147483647 w 102"/>
              <a:gd name="T49" fmla="*/ 2147483647 h 59"/>
              <a:gd name="T50" fmla="*/ 2147483647 w 102"/>
              <a:gd name="T51" fmla="*/ 2147483647 h 59"/>
              <a:gd name="T52" fmla="*/ 2147483647 w 102"/>
              <a:gd name="T53" fmla="*/ 2147483647 h 59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102"/>
              <a:gd name="T82" fmla="*/ 0 h 59"/>
              <a:gd name="T83" fmla="*/ 102 w 102"/>
              <a:gd name="T84" fmla="*/ 59 h 59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102" h="59">
                <a:moveTo>
                  <a:pt x="11" y="0"/>
                </a:moveTo>
                <a:lnTo>
                  <a:pt x="14" y="20"/>
                </a:lnTo>
                <a:lnTo>
                  <a:pt x="23" y="29"/>
                </a:lnTo>
                <a:lnTo>
                  <a:pt x="29" y="46"/>
                </a:lnTo>
                <a:lnTo>
                  <a:pt x="22" y="56"/>
                </a:lnTo>
                <a:lnTo>
                  <a:pt x="12" y="59"/>
                </a:lnTo>
                <a:lnTo>
                  <a:pt x="5" y="56"/>
                </a:lnTo>
                <a:lnTo>
                  <a:pt x="3" y="46"/>
                </a:lnTo>
                <a:lnTo>
                  <a:pt x="15" y="29"/>
                </a:lnTo>
                <a:lnTo>
                  <a:pt x="0" y="10"/>
                </a:lnTo>
                <a:lnTo>
                  <a:pt x="0" y="5"/>
                </a:lnTo>
                <a:lnTo>
                  <a:pt x="11" y="0"/>
                </a:lnTo>
                <a:close/>
                <a:moveTo>
                  <a:pt x="102" y="40"/>
                </a:moveTo>
                <a:lnTo>
                  <a:pt x="96" y="51"/>
                </a:lnTo>
                <a:lnTo>
                  <a:pt x="90" y="51"/>
                </a:lnTo>
                <a:lnTo>
                  <a:pt x="102" y="40"/>
                </a:lnTo>
                <a:close/>
                <a:moveTo>
                  <a:pt x="63" y="31"/>
                </a:moveTo>
                <a:lnTo>
                  <a:pt x="59" y="42"/>
                </a:lnTo>
                <a:lnTo>
                  <a:pt x="51" y="39"/>
                </a:lnTo>
                <a:lnTo>
                  <a:pt x="52" y="31"/>
                </a:lnTo>
                <a:lnTo>
                  <a:pt x="63" y="31"/>
                </a:lnTo>
                <a:close/>
                <a:moveTo>
                  <a:pt x="39" y="17"/>
                </a:moveTo>
                <a:lnTo>
                  <a:pt x="34" y="17"/>
                </a:lnTo>
                <a:lnTo>
                  <a:pt x="32" y="23"/>
                </a:lnTo>
                <a:lnTo>
                  <a:pt x="40" y="26"/>
                </a:lnTo>
                <a:lnTo>
                  <a:pt x="42" y="18"/>
                </a:lnTo>
                <a:lnTo>
                  <a:pt x="39" y="17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grpSp>
        <p:nvGrpSpPr>
          <p:cNvPr id="4" name="Group 242"/>
          <p:cNvGrpSpPr>
            <a:grpSpLocks noChangeAspect="1"/>
          </p:cNvGrpSpPr>
          <p:nvPr/>
        </p:nvGrpSpPr>
        <p:grpSpPr bwMode="auto">
          <a:xfrm>
            <a:off x="2760663" y="3552825"/>
            <a:ext cx="304800" cy="260350"/>
            <a:chOff x="2124" y="2453"/>
            <a:chExt cx="191" cy="164"/>
          </a:xfrm>
        </p:grpSpPr>
        <p:sp>
          <p:nvSpPr>
            <p:cNvPr id="58638" name="Freeform 243"/>
            <p:cNvSpPr>
              <a:spLocks noChangeAspect="1"/>
            </p:cNvSpPr>
            <p:nvPr/>
          </p:nvSpPr>
          <p:spPr bwMode="gray">
            <a:xfrm>
              <a:off x="2183" y="2453"/>
              <a:ext cx="5" cy="4"/>
            </a:xfrm>
            <a:custGeom>
              <a:avLst/>
              <a:gdLst>
                <a:gd name="T0" fmla="*/ 0 w 15"/>
                <a:gd name="T1" fmla="*/ 0 h 15"/>
                <a:gd name="T2" fmla="*/ 0 w 15"/>
                <a:gd name="T3" fmla="*/ 0 h 15"/>
                <a:gd name="T4" fmla="*/ 0 w 15"/>
                <a:gd name="T5" fmla="*/ 0 h 15"/>
                <a:gd name="T6" fmla="*/ 0 w 15"/>
                <a:gd name="T7" fmla="*/ 0 h 15"/>
                <a:gd name="T8" fmla="*/ 0 w 15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"/>
                <a:gd name="T16" fmla="*/ 0 h 15"/>
                <a:gd name="T17" fmla="*/ 15 w 15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" h="15">
                  <a:moveTo>
                    <a:pt x="3" y="5"/>
                  </a:moveTo>
                  <a:lnTo>
                    <a:pt x="0" y="0"/>
                  </a:lnTo>
                  <a:lnTo>
                    <a:pt x="3" y="9"/>
                  </a:lnTo>
                  <a:lnTo>
                    <a:pt x="15" y="15"/>
                  </a:lnTo>
                  <a:lnTo>
                    <a:pt x="3" y="5"/>
                  </a:lnTo>
                  <a:close/>
                </a:path>
              </a:pathLst>
            </a:custGeom>
            <a:solidFill>
              <a:srgbClr val="EAEAEA"/>
            </a:solidFill>
            <a:ln w="6350" cap="flat" cmpd="sng">
              <a:solidFill>
                <a:srgbClr val="B2B2B2"/>
              </a:solidFill>
              <a:prstDash val="solid"/>
              <a:bevel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39" name="Freeform 244"/>
            <p:cNvSpPr>
              <a:spLocks noChangeAspect="1"/>
            </p:cNvSpPr>
            <p:nvPr/>
          </p:nvSpPr>
          <p:spPr bwMode="gray">
            <a:xfrm>
              <a:off x="2194" y="2454"/>
              <a:ext cx="2" cy="3"/>
            </a:xfrm>
            <a:custGeom>
              <a:avLst/>
              <a:gdLst>
                <a:gd name="T0" fmla="*/ 0 w 8"/>
                <a:gd name="T1" fmla="*/ 0 h 10"/>
                <a:gd name="T2" fmla="*/ 0 w 8"/>
                <a:gd name="T3" fmla="*/ 0 h 10"/>
                <a:gd name="T4" fmla="*/ 0 w 8"/>
                <a:gd name="T5" fmla="*/ 0 h 10"/>
                <a:gd name="T6" fmla="*/ 0 w 8"/>
                <a:gd name="T7" fmla="*/ 0 h 1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10"/>
                <a:gd name="T14" fmla="*/ 8 w 8"/>
                <a:gd name="T15" fmla="*/ 10 h 1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10">
                  <a:moveTo>
                    <a:pt x="0" y="0"/>
                  </a:moveTo>
                  <a:lnTo>
                    <a:pt x="6" y="10"/>
                  </a:lnTo>
                  <a:lnTo>
                    <a:pt x="8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6350" cap="flat" cmpd="sng">
              <a:solidFill>
                <a:srgbClr val="B2B2B2"/>
              </a:solidFill>
              <a:prstDash val="solid"/>
              <a:bevel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40" name="Freeform 245"/>
            <p:cNvSpPr>
              <a:spLocks noChangeAspect="1" noEditPoints="1"/>
            </p:cNvSpPr>
            <p:nvPr/>
          </p:nvSpPr>
          <p:spPr bwMode="gray">
            <a:xfrm>
              <a:off x="2124" y="2455"/>
              <a:ext cx="191" cy="162"/>
            </a:xfrm>
            <a:custGeom>
              <a:avLst/>
              <a:gdLst>
                <a:gd name="T0" fmla="*/ 0 w 625"/>
                <a:gd name="T1" fmla="*/ 0 h 529"/>
                <a:gd name="T2" fmla="*/ 0 w 625"/>
                <a:gd name="T3" fmla="*/ 0 h 529"/>
                <a:gd name="T4" fmla="*/ 0 w 625"/>
                <a:gd name="T5" fmla="*/ 0 h 529"/>
                <a:gd name="T6" fmla="*/ 0 w 625"/>
                <a:gd name="T7" fmla="*/ 0 h 529"/>
                <a:gd name="T8" fmla="*/ 0 w 625"/>
                <a:gd name="T9" fmla="*/ 0 h 529"/>
                <a:gd name="T10" fmla="*/ 0 w 625"/>
                <a:gd name="T11" fmla="*/ 0 h 529"/>
                <a:gd name="T12" fmla="*/ 0 w 625"/>
                <a:gd name="T13" fmla="*/ 0 h 529"/>
                <a:gd name="T14" fmla="*/ 0 w 625"/>
                <a:gd name="T15" fmla="*/ 0 h 529"/>
                <a:gd name="T16" fmla="*/ 0 w 625"/>
                <a:gd name="T17" fmla="*/ 0 h 529"/>
                <a:gd name="T18" fmla="*/ 0 w 625"/>
                <a:gd name="T19" fmla="*/ 0 h 529"/>
                <a:gd name="T20" fmla="*/ 0 w 625"/>
                <a:gd name="T21" fmla="*/ 0 h 529"/>
                <a:gd name="T22" fmla="*/ 0 w 625"/>
                <a:gd name="T23" fmla="*/ 0 h 529"/>
                <a:gd name="T24" fmla="*/ 0 w 625"/>
                <a:gd name="T25" fmla="*/ 0 h 529"/>
                <a:gd name="T26" fmla="*/ 0 w 625"/>
                <a:gd name="T27" fmla="*/ 0 h 529"/>
                <a:gd name="T28" fmla="*/ 0 w 625"/>
                <a:gd name="T29" fmla="*/ 0 h 529"/>
                <a:gd name="T30" fmla="*/ 0 w 625"/>
                <a:gd name="T31" fmla="*/ 0 h 529"/>
                <a:gd name="T32" fmla="*/ 0 w 625"/>
                <a:gd name="T33" fmla="*/ 0 h 529"/>
                <a:gd name="T34" fmla="*/ 0 w 625"/>
                <a:gd name="T35" fmla="*/ 0 h 529"/>
                <a:gd name="T36" fmla="*/ 0 w 625"/>
                <a:gd name="T37" fmla="*/ 0 h 529"/>
                <a:gd name="T38" fmla="*/ 0 w 625"/>
                <a:gd name="T39" fmla="*/ 0 h 529"/>
                <a:gd name="T40" fmla="*/ 0 w 625"/>
                <a:gd name="T41" fmla="*/ 0 h 529"/>
                <a:gd name="T42" fmla="*/ 0 w 625"/>
                <a:gd name="T43" fmla="*/ 0 h 529"/>
                <a:gd name="T44" fmla="*/ 0 w 625"/>
                <a:gd name="T45" fmla="*/ 0 h 529"/>
                <a:gd name="T46" fmla="*/ 0 w 625"/>
                <a:gd name="T47" fmla="*/ 0 h 529"/>
                <a:gd name="T48" fmla="*/ 0 w 625"/>
                <a:gd name="T49" fmla="*/ 0 h 529"/>
                <a:gd name="T50" fmla="*/ 0 w 625"/>
                <a:gd name="T51" fmla="*/ 0 h 529"/>
                <a:gd name="T52" fmla="*/ 0 w 625"/>
                <a:gd name="T53" fmla="*/ 0 h 529"/>
                <a:gd name="T54" fmla="*/ 0 w 625"/>
                <a:gd name="T55" fmla="*/ 0 h 529"/>
                <a:gd name="T56" fmla="*/ 0 w 625"/>
                <a:gd name="T57" fmla="*/ 0 h 529"/>
                <a:gd name="T58" fmla="*/ 0 w 625"/>
                <a:gd name="T59" fmla="*/ 0 h 529"/>
                <a:gd name="T60" fmla="*/ 0 w 625"/>
                <a:gd name="T61" fmla="*/ 0 h 529"/>
                <a:gd name="T62" fmla="*/ 0 w 625"/>
                <a:gd name="T63" fmla="*/ 0 h 529"/>
                <a:gd name="T64" fmla="*/ 0 w 625"/>
                <a:gd name="T65" fmla="*/ 0 h 529"/>
                <a:gd name="T66" fmla="*/ 0 w 625"/>
                <a:gd name="T67" fmla="*/ 0 h 529"/>
                <a:gd name="T68" fmla="*/ 0 w 625"/>
                <a:gd name="T69" fmla="*/ 0 h 529"/>
                <a:gd name="T70" fmla="*/ 0 w 625"/>
                <a:gd name="T71" fmla="*/ 0 h 529"/>
                <a:gd name="T72" fmla="*/ 0 w 625"/>
                <a:gd name="T73" fmla="*/ 0 h 529"/>
                <a:gd name="T74" fmla="*/ 0 w 625"/>
                <a:gd name="T75" fmla="*/ 0 h 529"/>
                <a:gd name="T76" fmla="*/ 0 w 625"/>
                <a:gd name="T77" fmla="*/ 0 h 529"/>
                <a:gd name="T78" fmla="*/ 0 w 625"/>
                <a:gd name="T79" fmla="*/ 0 h 529"/>
                <a:gd name="T80" fmla="*/ 0 w 625"/>
                <a:gd name="T81" fmla="*/ 0 h 529"/>
                <a:gd name="T82" fmla="*/ 0 w 625"/>
                <a:gd name="T83" fmla="*/ 0 h 529"/>
                <a:gd name="T84" fmla="*/ 0 w 625"/>
                <a:gd name="T85" fmla="*/ 0 h 529"/>
                <a:gd name="T86" fmla="*/ 0 w 625"/>
                <a:gd name="T87" fmla="*/ 0 h 529"/>
                <a:gd name="T88" fmla="*/ 0 w 625"/>
                <a:gd name="T89" fmla="*/ 0 h 529"/>
                <a:gd name="T90" fmla="*/ 0 w 625"/>
                <a:gd name="T91" fmla="*/ 0 h 529"/>
                <a:gd name="T92" fmla="*/ 0 w 625"/>
                <a:gd name="T93" fmla="*/ 0 h 529"/>
                <a:gd name="T94" fmla="*/ 0 w 625"/>
                <a:gd name="T95" fmla="*/ 0 h 529"/>
                <a:gd name="T96" fmla="*/ 0 w 625"/>
                <a:gd name="T97" fmla="*/ 0 h 529"/>
                <a:gd name="T98" fmla="*/ 0 w 625"/>
                <a:gd name="T99" fmla="*/ 0 h 529"/>
                <a:gd name="T100" fmla="*/ 0 w 625"/>
                <a:gd name="T101" fmla="*/ 0 h 529"/>
                <a:gd name="T102" fmla="*/ 0 w 625"/>
                <a:gd name="T103" fmla="*/ 0 h 529"/>
                <a:gd name="T104" fmla="*/ 0 w 625"/>
                <a:gd name="T105" fmla="*/ 0 h 529"/>
                <a:gd name="T106" fmla="*/ 0 w 625"/>
                <a:gd name="T107" fmla="*/ 0 h 529"/>
                <a:gd name="T108" fmla="*/ 0 w 625"/>
                <a:gd name="T109" fmla="*/ 0 h 52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25"/>
                <a:gd name="T166" fmla="*/ 0 h 529"/>
                <a:gd name="T167" fmla="*/ 625 w 625"/>
                <a:gd name="T168" fmla="*/ 529 h 529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25" h="529">
                  <a:moveTo>
                    <a:pt x="91" y="17"/>
                  </a:moveTo>
                  <a:lnTo>
                    <a:pt x="69" y="30"/>
                  </a:lnTo>
                  <a:lnTo>
                    <a:pt x="82" y="70"/>
                  </a:lnTo>
                  <a:lnTo>
                    <a:pt x="77" y="80"/>
                  </a:lnTo>
                  <a:lnTo>
                    <a:pt x="63" y="101"/>
                  </a:lnTo>
                  <a:lnTo>
                    <a:pt x="63" y="119"/>
                  </a:lnTo>
                  <a:lnTo>
                    <a:pt x="74" y="127"/>
                  </a:lnTo>
                  <a:lnTo>
                    <a:pt x="83" y="147"/>
                  </a:lnTo>
                  <a:lnTo>
                    <a:pt x="94" y="146"/>
                  </a:lnTo>
                  <a:lnTo>
                    <a:pt x="107" y="133"/>
                  </a:lnTo>
                  <a:lnTo>
                    <a:pt x="105" y="113"/>
                  </a:lnTo>
                  <a:lnTo>
                    <a:pt x="88" y="85"/>
                  </a:lnTo>
                  <a:lnTo>
                    <a:pt x="88" y="65"/>
                  </a:lnTo>
                  <a:lnTo>
                    <a:pt x="117" y="45"/>
                  </a:lnTo>
                  <a:lnTo>
                    <a:pt x="166" y="34"/>
                  </a:lnTo>
                  <a:lnTo>
                    <a:pt x="164" y="28"/>
                  </a:lnTo>
                  <a:lnTo>
                    <a:pt x="142" y="21"/>
                  </a:lnTo>
                  <a:lnTo>
                    <a:pt x="147" y="5"/>
                  </a:lnTo>
                  <a:lnTo>
                    <a:pt x="156" y="0"/>
                  </a:lnTo>
                  <a:lnTo>
                    <a:pt x="162" y="5"/>
                  </a:lnTo>
                  <a:lnTo>
                    <a:pt x="175" y="34"/>
                  </a:lnTo>
                  <a:lnTo>
                    <a:pt x="229" y="47"/>
                  </a:lnTo>
                  <a:lnTo>
                    <a:pt x="238" y="73"/>
                  </a:lnTo>
                  <a:lnTo>
                    <a:pt x="246" y="80"/>
                  </a:lnTo>
                  <a:lnTo>
                    <a:pt x="332" y="73"/>
                  </a:lnTo>
                  <a:lnTo>
                    <a:pt x="356" y="93"/>
                  </a:lnTo>
                  <a:lnTo>
                    <a:pt x="379" y="96"/>
                  </a:lnTo>
                  <a:lnTo>
                    <a:pt x="401" y="92"/>
                  </a:lnTo>
                  <a:lnTo>
                    <a:pt x="416" y="82"/>
                  </a:lnTo>
                  <a:lnTo>
                    <a:pt x="441" y="80"/>
                  </a:lnTo>
                  <a:lnTo>
                    <a:pt x="442" y="77"/>
                  </a:lnTo>
                  <a:lnTo>
                    <a:pt x="420" y="73"/>
                  </a:lnTo>
                  <a:lnTo>
                    <a:pt x="427" y="70"/>
                  </a:lnTo>
                  <a:lnTo>
                    <a:pt x="521" y="72"/>
                  </a:lnTo>
                  <a:lnTo>
                    <a:pt x="504" y="80"/>
                  </a:lnTo>
                  <a:lnTo>
                    <a:pt x="483" y="80"/>
                  </a:lnTo>
                  <a:lnTo>
                    <a:pt x="479" y="87"/>
                  </a:lnTo>
                  <a:lnTo>
                    <a:pt x="496" y="93"/>
                  </a:lnTo>
                  <a:lnTo>
                    <a:pt x="508" y="113"/>
                  </a:lnTo>
                  <a:lnTo>
                    <a:pt x="537" y="114"/>
                  </a:lnTo>
                  <a:lnTo>
                    <a:pt x="571" y="133"/>
                  </a:lnTo>
                  <a:lnTo>
                    <a:pt x="581" y="161"/>
                  </a:lnTo>
                  <a:lnTo>
                    <a:pt x="569" y="170"/>
                  </a:lnTo>
                  <a:lnTo>
                    <a:pt x="571" y="173"/>
                  </a:lnTo>
                  <a:lnTo>
                    <a:pt x="589" y="177"/>
                  </a:lnTo>
                  <a:lnTo>
                    <a:pt x="606" y="169"/>
                  </a:lnTo>
                  <a:lnTo>
                    <a:pt x="625" y="181"/>
                  </a:lnTo>
                  <a:lnTo>
                    <a:pt x="623" y="192"/>
                  </a:lnTo>
                  <a:lnTo>
                    <a:pt x="579" y="212"/>
                  </a:lnTo>
                  <a:lnTo>
                    <a:pt x="579" y="234"/>
                  </a:lnTo>
                  <a:lnTo>
                    <a:pt x="594" y="240"/>
                  </a:lnTo>
                  <a:lnTo>
                    <a:pt x="567" y="257"/>
                  </a:lnTo>
                  <a:lnTo>
                    <a:pt x="567" y="270"/>
                  </a:lnTo>
                  <a:lnTo>
                    <a:pt x="557" y="283"/>
                  </a:lnTo>
                  <a:lnTo>
                    <a:pt x="557" y="288"/>
                  </a:lnTo>
                  <a:lnTo>
                    <a:pt x="588" y="325"/>
                  </a:lnTo>
                  <a:lnTo>
                    <a:pt x="588" y="338"/>
                  </a:lnTo>
                  <a:lnTo>
                    <a:pt x="572" y="355"/>
                  </a:lnTo>
                  <a:lnTo>
                    <a:pt x="555" y="356"/>
                  </a:lnTo>
                  <a:lnTo>
                    <a:pt x="534" y="371"/>
                  </a:lnTo>
                  <a:lnTo>
                    <a:pt x="496" y="376"/>
                  </a:lnTo>
                  <a:lnTo>
                    <a:pt x="478" y="387"/>
                  </a:lnTo>
                  <a:lnTo>
                    <a:pt x="458" y="385"/>
                  </a:lnTo>
                  <a:lnTo>
                    <a:pt x="424" y="371"/>
                  </a:lnTo>
                  <a:lnTo>
                    <a:pt x="394" y="367"/>
                  </a:lnTo>
                  <a:lnTo>
                    <a:pt x="399" y="384"/>
                  </a:lnTo>
                  <a:lnTo>
                    <a:pt x="420" y="395"/>
                  </a:lnTo>
                  <a:lnTo>
                    <a:pt x="416" y="421"/>
                  </a:lnTo>
                  <a:lnTo>
                    <a:pt x="424" y="452"/>
                  </a:lnTo>
                  <a:lnTo>
                    <a:pt x="461" y="454"/>
                  </a:lnTo>
                  <a:lnTo>
                    <a:pt x="459" y="463"/>
                  </a:lnTo>
                  <a:lnTo>
                    <a:pt x="430" y="475"/>
                  </a:lnTo>
                  <a:lnTo>
                    <a:pt x="418" y="497"/>
                  </a:lnTo>
                  <a:lnTo>
                    <a:pt x="368" y="515"/>
                  </a:lnTo>
                  <a:lnTo>
                    <a:pt x="354" y="528"/>
                  </a:lnTo>
                  <a:lnTo>
                    <a:pt x="320" y="529"/>
                  </a:lnTo>
                  <a:lnTo>
                    <a:pt x="298" y="503"/>
                  </a:lnTo>
                  <a:lnTo>
                    <a:pt x="278" y="456"/>
                  </a:lnTo>
                  <a:lnTo>
                    <a:pt x="257" y="435"/>
                  </a:lnTo>
                  <a:lnTo>
                    <a:pt x="280" y="410"/>
                  </a:lnTo>
                  <a:lnTo>
                    <a:pt x="272" y="392"/>
                  </a:lnTo>
                  <a:lnTo>
                    <a:pt x="257" y="379"/>
                  </a:lnTo>
                  <a:lnTo>
                    <a:pt x="252" y="353"/>
                  </a:lnTo>
                  <a:lnTo>
                    <a:pt x="257" y="319"/>
                  </a:lnTo>
                  <a:lnTo>
                    <a:pt x="272" y="290"/>
                  </a:lnTo>
                  <a:lnTo>
                    <a:pt x="269" y="279"/>
                  </a:lnTo>
                  <a:lnTo>
                    <a:pt x="255" y="277"/>
                  </a:lnTo>
                  <a:lnTo>
                    <a:pt x="230" y="285"/>
                  </a:lnTo>
                  <a:lnTo>
                    <a:pt x="203" y="280"/>
                  </a:lnTo>
                  <a:lnTo>
                    <a:pt x="183" y="283"/>
                  </a:lnTo>
                  <a:lnTo>
                    <a:pt x="150" y="245"/>
                  </a:lnTo>
                  <a:lnTo>
                    <a:pt x="127" y="236"/>
                  </a:lnTo>
                  <a:lnTo>
                    <a:pt x="90" y="241"/>
                  </a:lnTo>
                  <a:lnTo>
                    <a:pt x="63" y="234"/>
                  </a:lnTo>
                  <a:lnTo>
                    <a:pt x="46" y="223"/>
                  </a:lnTo>
                  <a:lnTo>
                    <a:pt x="42" y="186"/>
                  </a:lnTo>
                  <a:lnTo>
                    <a:pt x="27" y="163"/>
                  </a:lnTo>
                  <a:lnTo>
                    <a:pt x="22" y="143"/>
                  </a:lnTo>
                  <a:lnTo>
                    <a:pt x="0" y="141"/>
                  </a:lnTo>
                  <a:lnTo>
                    <a:pt x="14" y="119"/>
                  </a:lnTo>
                  <a:lnTo>
                    <a:pt x="23" y="80"/>
                  </a:lnTo>
                  <a:lnTo>
                    <a:pt x="34" y="62"/>
                  </a:lnTo>
                  <a:lnTo>
                    <a:pt x="66" y="25"/>
                  </a:lnTo>
                  <a:lnTo>
                    <a:pt x="91" y="17"/>
                  </a:lnTo>
                  <a:close/>
                  <a:moveTo>
                    <a:pt x="435" y="48"/>
                  </a:moveTo>
                  <a:lnTo>
                    <a:pt x="441" y="56"/>
                  </a:lnTo>
                  <a:lnTo>
                    <a:pt x="430" y="62"/>
                  </a:lnTo>
                  <a:lnTo>
                    <a:pt x="416" y="59"/>
                  </a:lnTo>
                  <a:lnTo>
                    <a:pt x="413" y="55"/>
                  </a:lnTo>
                  <a:lnTo>
                    <a:pt x="427" y="55"/>
                  </a:lnTo>
                  <a:lnTo>
                    <a:pt x="435" y="48"/>
                  </a:lnTo>
                  <a:close/>
                </a:path>
              </a:pathLst>
            </a:custGeom>
            <a:solidFill>
              <a:srgbClr val="EAEAEA"/>
            </a:solidFill>
            <a:ln w="6350" cap="flat" cmpd="sng">
              <a:solidFill>
                <a:srgbClr val="B2B2B2"/>
              </a:solidFill>
              <a:prstDash val="solid"/>
              <a:bevel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</p:grpSp>
      <p:sp>
        <p:nvSpPr>
          <p:cNvPr id="58554" name="Freeform 246"/>
          <p:cNvSpPr>
            <a:spLocks noChangeAspect="1" noEditPoints="1"/>
          </p:cNvSpPr>
          <p:nvPr/>
        </p:nvSpPr>
        <p:spPr bwMode="gray">
          <a:xfrm>
            <a:off x="2749550" y="3714750"/>
            <a:ext cx="874713" cy="917575"/>
          </a:xfrm>
          <a:custGeom>
            <a:avLst/>
            <a:gdLst>
              <a:gd name="T0" fmla="*/ 2147483647 w 1796"/>
              <a:gd name="T1" fmla="*/ 2147483647 h 1883"/>
              <a:gd name="T2" fmla="*/ 2147483647 w 1796"/>
              <a:gd name="T3" fmla="*/ 2147483647 h 1883"/>
              <a:gd name="T4" fmla="*/ 2147483647 w 1796"/>
              <a:gd name="T5" fmla="*/ 2147483647 h 1883"/>
              <a:gd name="T6" fmla="*/ 2147483647 w 1796"/>
              <a:gd name="T7" fmla="*/ 2147483647 h 1883"/>
              <a:gd name="T8" fmla="*/ 2147483647 w 1796"/>
              <a:gd name="T9" fmla="*/ 2147483647 h 1883"/>
              <a:gd name="T10" fmla="*/ 2147483647 w 1796"/>
              <a:gd name="T11" fmla="*/ 2147483647 h 1883"/>
              <a:gd name="T12" fmla="*/ 2147483647 w 1796"/>
              <a:gd name="T13" fmla="*/ 2147483647 h 1883"/>
              <a:gd name="T14" fmla="*/ 2147483647 w 1796"/>
              <a:gd name="T15" fmla="*/ 2147483647 h 1883"/>
              <a:gd name="T16" fmla="*/ 2147483647 w 1796"/>
              <a:gd name="T17" fmla="*/ 2147483647 h 1883"/>
              <a:gd name="T18" fmla="*/ 2147483647 w 1796"/>
              <a:gd name="T19" fmla="*/ 2147483647 h 1883"/>
              <a:gd name="T20" fmla="*/ 2147483647 w 1796"/>
              <a:gd name="T21" fmla="*/ 2147483647 h 1883"/>
              <a:gd name="T22" fmla="*/ 2147483647 w 1796"/>
              <a:gd name="T23" fmla="*/ 2147483647 h 1883"/>
              <a:gd name="T24" fmla="*/ 2147483647 w 1796"/>
              <a:gd name="T25" fmla="*/ 2147483647 h 1883"/>
              <a:gd name="T26" fmla="*/ 2147483647 w 1796"/>
              <a:gd name="T27" fmla="*/ 2147483647 h 1883"/>
              <a:gd name="T28" fmla="*/ 2147483647 w 1796"/>
              <a:gd name="T29" fmla="*/ 2147483647 h 1883"/>
              <a:gd name="T30" fmla="*/ 2147483647 w 1796"/>
              <a:gd name="T31" fmla="*/ 2147483647 h 1883"/>
              <a:gd name="T32" fmla="*/ 2147483647 w 1796"/>
              <a:gd name="T33" fmla="*/ 2147483647 h 1883"/>
              <a:gd name="T34" fmla="*/ 2147483647 w 1796"/>
              <a:gd name="T35" fmla="*/ 2147483647 h 1883"/>
              <a:gd name="T36" fmla="*/ 2147483647 w 1796"/>
              <a:gd name="T37" fmla="*/ 2147483647 h 1883"/>
              <a:gd name="T38" fmla="*/ 2147483647 w 1796"/>
              <a:gd name="T39" fmla="*/ 2147483647 h 1883"/>
              <a:gd name="T40" fmla="*/ 2147483647 w 1796"/>
              <a:gd name="T41" fmla="*/ 2147483647 h 1883"/>
              <a:gd name="T42" fmla="*/ 2147483647 w 1796"/>
              <a:gd name="T43" fmla="*/ 2147483647 h 1883"/>
              <a:gd name="T44" fmla="*/ 2147483647 w 1796"/>
              <a:gd name="T45" fmla="*/ 2147483647 h 1883"/>
              <a:gd name="T46" fmla="*/ 2147483647 w 1796"/>
              <a:gd name="T47" fmla="*/ 2147483647 h 1883"/>
              <a:gd name="T48" fmla="*/ 2147483647 w 1796"/>
              <a:gd name="T49" fmla="*/ 2147483647 h 1883"/>
              <a:gd name="T50" fmla="*/ 2147483647 w 1796"/>
              <a:gd name="T51" fmla="*/ 2147483647 h 1883"/>
              <a:gd name="T52" fmla="*/ 2147483647 w 1796"/>
              <a:gd name="T53" fmla="*/ 2147483647 h 1883"/>
              <a:gd name="T54" fmla="*/ 2147483647 w 1796"/>
              <a:gd name="T55" fmla="*/ 2147483647 h 1883"/>
              <a:gd name="T56" fmla="*/ 2147483647 w 1796"/>
              <a:gd name="T57" fmla="*/ 2147483647 h 1883"/>
              <a:gd name="T58" fmla="*/ 2147483647 w 1796"/>
              <a:gd name="T59" fmla="*/ 2147483647 h 1883"/>
              <a:gd name="T60" fmla="*/ 2147483647 w 1796"/>
              <a:gd name="T61" fmla="*/ 2147483647 h 1883"/>
              <a:gd name="T62" fmla="*/ 2147483647 w 1796"/>
              <a:gd name="T63" fmla="*/ 2147483647 h 1883"/>
              <a:gd name="T64" fmla="*/ 2147483647 w 1796"/>
              <a:gd name="T65" fmla="*/ 2147483647 h 1883"/>
              <a:gd name="T66" fmla="*/ 2147483647 w 1796"/>
              <a:gd name="T67" fmla="*/ 2147483647 h 1883"/>
              <a:gd name="T68" fmla="*/ 2147483647 w 1796"/>
              <a:gd name="T69" fmla="*/ 2147483647 h 1883"/>
              <a:gd name="T70" fmla="*/ 2147483647 w 1796"/>
              <a:gd name="T71" fmla="*/ 2147483647 h 1883"/>
              <a:gd name="T72" fmla="*/ 2147483647 w 1796"/>
              <a:gd name="T73" fmla="*/ 2147483647 h 1883"/>
              <a:gd name="T74" fmla="*/ 2147483647 w 1796"/>
              <a:gd name="T75" fmla="*/ 2147483647 h 1883"/>
              <a:gd name="T76" fmla="*/ 2147483647 w 1796"/>
              <a:gd name="T77" fmla="*/ 2147483647 h 1883"/>
              <a:gd name="T78" fmla="*/ 2147483647 w 1796"/>
              <a:gd name="T79" fmla="*/ 2147483647 h 1883"/>
              <a:gd name="T80" fmla="*/ 2147483647 w 1796"/>
              <a:gd name="T81" fmla="*/ 2147483647 h 1883"/>
              <a:gd name="T82" fmla="*/ 2147483647 w 1796"/>
              <a:gd name="T83" fmla="*/ 2147483647 h 1883"/>
              <a:gd name="T84" fmla="*/ 2147483647 w 1796"/>
              <a:gd name="T85" fmla="*/ 2147483647 h 1883"/>
              <a:gd name="T86" fmla="*/ 2147483647 w 1796"/>
              <a:gd name="T87" fmla="*/ 2147483647 h 1883"/>
              <a:gd name="T88" fmla="*/ 2147483647 w 1796"/>
              <a:gd name="T89" fmla="*/ 2147483647 h 1883"/>
              <a:gd name="T90" fmla="*/ 2147483647 w 1796"/>
              <a:gd name="T91" fmla="*/ 2147483647 h 1883"/>
              <a:gd name="T92" fmla="*/ 2147483647 w 1796"/>
              <a:gd name="T93" fmla="*/ 2147483647 h 1883"/>
              <a:gd name="T94" fmla="*/ 2147483647 w 1796"/>
              <a:gd name="T95" fmla="*/ 2147483647 h 1883"/>
              <a:gd name="T96" fmla="*/ 2147483647 w 1796"/>
              <a:gd name="T97" fmla="*/ 2147483647 h 1883"/>
              <a:gd name="T98" fmla="*/ 2147483647 w 1796"/>
              <a:gd name="T99" fmla="*/ 2147483647 h 1883"/>
              <a:gd name="T100" fmla="*/ 2147483647 w 1796"/>
              <a:gd name="T101" fmla="*/ 2147483647 h 1883"/>
              <a:gd name="T102" fmla="*/ 2147483647 w 1796"/>
              <a:gd name="T103" fmla="*/ 2147483647 h 1883"/>
              <a:gd name="T104" fmla="*/ 2147483647 w 1796"/>
              <a:gd name="T105" fmla="*/ 2147483647 h 1883"/>
              <a:gd name="T106" fmla="*/ 2147483647 w 1796"/>
              <a:gd name="T107" fmla="*/ 2147483647 h 1883"/>
              <a:gd name="T108" fmla="*/ 2147483647 w 1796"/>
              <a:gd name="T109" fmla="*/ 2147483647 h 1883"/>
              <a:gd name="T110" fmla="*/ 2147483647 w 1796"/>
              <a:gd name="T111" fmla="*/ 2147483647 h 1883"/>
              <a:gd name="T112" fmla="*/ 2147483647 w 1796"/>
              <a:gd name="T113" fmla="*/ 2147483647 h 1883"/>
              <a:gd name="T114" fmla="*/ 2147483647 w 1796"/>
              <a:gd name="T115" fmla="*/ 2147483647 h 1883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796"/>
              <a:gd name="T175" fmla="*/ 0 h 1883"/>
              <a:gd name="T176" fmla="*/ 1796 w 1796"/>
              <a:gd name="T177" fmla="*/ 1883 h 1883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796" h="1883">
                <a:moveTo>
                  <a:pt x="939" y="1883"/>
                </a:moveTo>
                <a:lnTo>
                  <a:pt x="964" y="1861"/>
                </a:lnTo>
                <a:lnTo>
                  <a:pt x="982" y="1835"/>
                </a:lnTo>
                <a:lnTo>
                  <a:pt x="990" y="1804"/>
                </a:lnTo>
                <a:lnTo>
                  <a:pt x="1046" y="1760"/>
                </a:lnTo>
                <a:lnTo>
                  <a:pt x="1082" y="1706"/>
                </a:lnTo>
                <a:lnTo>
                  <a:pt x="1086" y="1688"/>
                </a:lnTo>
                <a:lnTo>
                  <a:pt x="1106" y="1649"/>
                </a:lnTo>
                <a:lnTo>
                  <a:pt x="1126" y="1621"/>
                </a:lnTo>
                <a:lnTo>
                  <a:pt x="1146" y="1609"/>
                </a:lnTo>
                <a:lnTo>
                  <a:pt x="1159" y="1592"/>
                </a:lnTo>
                <a:lnTo>
                  <a:pt x="1163" y="1541"/>
                </a:lnTo>
                <a:lnTo>
                  <a:pt x="1170" y="1533"/>
                </a:lnTo>
                <a:lnTo>
                  <a:pt x="1162" y="1520"/>
                </a:lnTo>
                <a:lnTo>
                  <a:pt x="1159" y="1479"/>
                </a:lnTo>
                <a:lnTo>
                  <a:pt x="1176" y="1444"/>
                </a:lnTo>
                <a:lnTo>
                  <a:pt x="1252" y="1375"/>
                </a:lnTo>
                <a:lnTo>
                  <a:pt x="1280" y="1360"/>
                </a:lnTo>
                <a:lnTo>
                  <a:pt x="1304" y="1355"/>
                </a:lnTo>
                <a:lnTo>
                  <a:pt x="1328" y="1338"/>
                </a:lnTo>
                <a:lnTo>
                  <a:pt x="1345" y="1334"/>
                </a:lnTo>
                <a:lnTo>
                  <a:pt x="1345" y="1324"/>
                </a:lnTo>
                <a:lnTo>
                  <a:pt x="1351" y="1317"/>
                </a:lnTo>
                <a:lnTo>
                  <a:pt x="1360" y="1322"/>
                </a:lnTo>
                <a:lnTo>
                  <a:pt x="1379" y="1315"/>
                </a:lnTo>
                <a:lnTo>
                  <a:pt x="1394" y="1318"/>
                </a:lnTo>
                <a:lnTo>
                  <a:pt x="1408" y="1313"/>
                </a:lnTo>
                <a:lnTo>
                  <a:pt x="1456" y="1313"/>
                </a:lnTo>
                <a:lnTo>
                  <a:pt x="1467" y="1295"/>
                </a:lnTo>
                <a:lnTo>
                  <a:pt x="1504" y="1271"/>
                </a:lnTo>
                <a:lnTo>
                  <a:pt x="1510" y="1234"/>
                </a:lnTo>
                <a:lnTo>
                  <a:pt x="1536" y="1202"/>
                </a:lnTo>
                <a:lnTo>
                  <a:pt x="1553" y="1166"/>
                </a:lnTo>
                <a:lnTo>
                  <a:pt x="1569" y="1146"/>
                </a:lnTo>
                <a:lnTo>
                  <a:pt x="1575" y="1086"/>
                </a:lnTo>
                <a:lnTo>
                  <a:pt x="1594" y="1058"/>
                </a:lnTo>
                <a:lnTo>
                  <a:pt x="1606" y="971"/>
                </a:lnTo>
                <a:lnTo>
                  <a:pt x="1600" y="908"/>
                </a:lnTo>
                <a:lnTo>
                  <a:pt x="1607" y="848"/>
                </a:lnTo>
                <a:lnTo>
                  <a:pt x="1617" y="837"/>
                </a:lnTo>
                <a:lnTo>
                  <a:pt x="1629" y="838"/>
                </a:lnTo>
                <a:lnTo>
                  <a:pt x="1643" y="828"/>
                </a:lnTo>
                <a:lnTo>
                  <a:pt x="1680" y="756"/>
                </a:lnTo>
                <a:lnTo>
                  <a:pt x="1725" y="722"/>
                </a:lnTo>
                <a:lnTo>
                  <a:pt x="1728" y="716"/>
                </a:lnTo>
                <a:lnTo>
                  <a:pt x="1779" y="651"/>
                </a:lnTo>
                <a:lnTo>
                  <a:pt x="1792" y="608"/>
                </a:lnTo>
                <a:lnTo>
                  <a:pt x="1796" y="566"/>
                </a:lnTo>
                <a:lnTo>
                  <a:pt x="1796" y="547"/>
                </a:lnTo>
                <a:lnTo>
                  <a:pt x="1784" y="501"/>
                </a:lnTo>
                <a:lnTo>
                  <a:pt x="1768" y="479"/>
                </a:lnTo>
                <a:lnTo>
                  <a:pt x="1695" y="469"/>
                </a:lnTo>
                <a:lnTo>
                  <a:pt x="1624" y="408"/>
                </a:lnTo>
                <a:lnTo>
                  <a:pt x="1585" y="382"/>
                </a:lnTo>
                <a:lnTo>
                  <a:pt x="1564" y="374"/>
                </a:lnTo>
                <a:lnTo>
                  <a:pt x="1473" y="371"/>
                </a:lnTo>
                <a:lnTo>
                  <a:pt x="1400" y="354"/>
                </a:lnTo>
                <a:lnTo>
                  <a:pt x="1397" y="346"/>
                </a:lnTo>
                <a:lnTo>
                  <a:pt x="1355" y="363"/>
                </a:lnTo>
                <a:lnTo>
                  <a:pt x="1363" y="345"/>
                </a:lnTo>
                <a:lnTo>
                  <a:pt x="1357" y="338"/>
                </a:lnTo>
                <a:lnTo>
                  <a:pt x="1346" y="338"/>
                </a:lnTo>
                <a:lnTo>
                  <a:pt x="1351" y="325"/>
                </a:lnTo>
                <a:lnTo>
                  <a:pt x="1337" y="308"/>
                </a:lnTo>
                <a:lnTo>
                  <a:pt x="1315" y="318"/>
                </a:lnTo>
                <a:lnTo>
                  <a:pt x="1309" y="298"/>
                </a:lnTo>
                <a:lnTo>
                  <a:pt x="1277" y="286"/>
                </a:lnTo>
                <a:lnTo>
                  <a:pt x="1260" y="284"/>
                </a:lnTo>
                <a:lnTo>
                  <a:pt x="1233" y="271"/>
                </a:lnTo>
                <a:lnTo>
                  <a:pt x="1199" y="269"/>
                </a:lnTo>
                <a:lnTo>
                  <a:pt x="1190" y="272"/>
                </a:lnTo>
                <a:lnTo>
                  <a:pt x="1171" y="308"/>
                </a:lnTo>
                <a:lnTo>
                  <a:pt x="1148" y="317"/>
                </a:lnTo>
                <a:lnTo>
                  <a:pt x="1131" y="352"/>
                </a:lnTo>
                <a:lnTo>
                  <a:pt x="1129" y="323"/>
                </a:lnTo>
                <a:lnTo>
                  <a:pt x="1071" y="325"/>
                </a:lnTo>
                <a:lnTo>
                  <a:pt x="1058" y="331"/>
                </a:lnTo>
                <a:lnTo>
                  <a:pt x="1038" y="325"/>
                </a:lnTo>
                <a:lnTo>
                  <a:pt x="1032" y="334"/>
                </a:lnTo>
                <a:lnTo>
                  <a:pt x="1037" y="320"/>
                </a:lnTo>
                <a:lnTo>
                  <a:pt x="1060" y="325"/>
                </a:lnTo>
                <a:lnTo>
                  <a:pt x="1071" y="318"/>
                </a:lnTo>
                <a:lnTo>
                  <a:pt x="1071" y="298"/>
                </a:lnTo>
                <a:lnTo>
                  <a:pt x="1058" y="289"/>
                </a:lnTo>
                <a:lnTo>
                  <a:pt x="1066" y="278"/>
                </a:lnTo>
                <a:lnTo>
                  <a:pt x="1055" y="278"/>
                </a:lnTo>
                <a:lnTo>
                  <a:pt x="1048" y="291"/>
                </a:lnTo>
                <a:lnTo>
                  <a:pt x="1040" y="292"/>
                </a:lnTo>
                <a:lnTo>
                  <a:pt x="1037" y="259"/>
                </a:lnTo>
                <a:lnTo>
                  <a:pt x="1097" y="195"/>
                </a:lnTo>
                <a:lnTo>
                  <a:pt x="1105" y="164"/>
                </a:lnTo>
                <a:lnTo>
                  <a:pt x="1080" y="157"/>
                </a:lnTo>
                <a:lnTo>
                  <a:pt x="1065" y="110"/>
                </a:lnTo>
                <a:lnTo>
                  <a:pt x="1048" y="57"/>
                </a:lnTo>
                <a:lnTo>
                  <a:pt x="1037" y="46"/>
                </a:lnTo>
                <a:lnTo>
                  <a:pt x="1028" y="52"/>
                </a:lnTo>
                <a:lnTo>
                  <a:pt x="995" y="97"/>
                </a:lnTo>
                <a:lnTo>
                  <a:pt x="986" y="120"/>
                </a:lnTo>
                <a:lnTo>
                  <a:pt x="961" y="142"/>
                </a:lnTo>
                <a:lnTo>
                  <a:pt x="936" y="142"/>
                </a:lnTo>
                <a:lnTo>
                  <a:pt x="914" y="148"/>
                </a:lnTo>
                <a:lnTo>
                  <a:pt x="896" y="134"/>
                </a:lnTo>
                <a:lnTo>
                  <a:pt x="870" y="125"/>
                </a:lnTo>
                <a:lnTo>
                  <a:pt x="851" y="130"/>
                </a:lnTo>
                <a:lnTo>
                  <a:pt x="834" y="127"/>
                </a:lnTo>
                <a:lnTo>
                  <a:pt x="829" y="130"/>
                </a:lnTo>
                <a:lnTo>
                  <a:pt x="828" y="154"/>
                </a:lnTo>
                <a:lnTo>
                  <a:pt x="803" y="148"/>
                </a:lnTo>
                <a:lnTo>
                  <a:pt x="780" y="153"/>
                </a:lnTo>
                <a:lnTo>
                  <a:pt x="769" y="147"/>
                </a:lnTo>
                <a:lnTo>
                  <a:pt x="752" y="161"/>
                </a:lnTo>
                <a:lnTo>
                  <a:pt x="713" y="171"/>
                </a:lnTo>
                <a:lnTo>
                  <a:pt x="703" y="181"/>
                </a:lnTo>
                <a:lnTo>
                  <a:pt x="682" y="178"/>
                </a:lnTo>
                <a:lnTo>
                  <a:pt x="670" y="171"/>
                </a:lnTo>
                <a:lnTo>
                  <a:pt x="655" y="156"/>
                </a:lnTo>
                <a:lnTo>
                  <a:pt x="653" y="136"/>
                </a:lnTo>
                <a:lnTo>
                  <a:pt x="644" y="123"/>
                </a:lnTo>
                <a:lnTo>
                  <a:pt x="650" y="72"/>
                </a:lnTo>
                <a:lnTo>
                  <a:pt x="661" y="60"/>
                </a:lnTo>
                <a:lnTo>
                  <a:pt x="655" y="35"/>
                </a:lnTo>
                <a:lnTo>
                  <a:pt x="636" y="31"/>
                </a:lnTo>
                <a:lnTo>
                  <a:pt x="640" y="14"/>
                </a:lnTo>
                <a:lnTo>
                  <a:pt x="635" y="0"/>
                </a:lnTo>
                <a:lnTo>
                  <a:pt x="610" y="1"/>
                </a:lnTo>
                <a:lnTo>
                  <a:pt x="610" y="14"/>
                </a:lnTo>
                <a:lnTo>
                  <a:pt x="594" y="31"/>
                </a:lnTo>
                <a:lnTo>
                  <a:pt x="577" y="32"/>
                </a:lnTo>
                <a:lnTo>
                  <a:pt x="556" y="47"/>
                </a:lnTo>
                <a:lnTo>
                  <a:pt x="518" y="52"/>
                </a:lnTo>
                <a:lnTo>
                  <a:pt x="500" y="63"/>
                </a:lnTo>
                <a:lnTo>
                  <a:pt x="480" y="61"/>
                </a:lnTo>
                <a:lnTo>
                  <a:pt x="446" y="47"/>
                </a:lnTo>
                <a:lnTo>
                  <a:pt x="416" y="43"/>
                </a:lnTo>
                <a:lnTo>
                  <a:pt x="421" y="60"/>
                </a:lnTo>
                <a:lnTo>
                  <a:pt x="442" y="71"/>
                </a:lnTo>
                <a:lnTo>
                  <a:pt x="438" y="97"/>
                </a:lnTo>
                <a:lnTo>
                  <a:pt x="446" y="128"/>
                </a:lnTo>
                <a:lnTo>
                  <a:pt x="483" y="130"/>
                </a:lnTo>
                <a:lnTo>
                  <a:pt x="481" y="139"/>
                </a:lnTo>
                <a:lnTo>
                  <a:pt x="452" y="151"/>
                </a:lnTo>
                <a:lnTo>
                  <a:pt x="440" y="173"/>
                </a:lnTo>
                <a:lnTo>
                  <a:pt x="390" y="191"/>
                </a:lnTo>
                <a:lnTo>
                  <a:pt x="376" y="204"/>
                </a:lnTo>
                <a:lnTo>
                  <a:pt x="342" y="205"/>
                </a:lnTo>
                <a:lnTo>
                  <a:pt x="320" y="179"/>
                </a:lnTo>
                <a:lnTo>
                  <a:pt x="310" y="187"/>
                </a:lnTo>
                <a:lnTo>
                  <a:pt x="305" y="161"/>
                </a:lnTo>
                <a:lnTo>
                  <a:pt x="293" y="147"/>
                </a:lnTo>
                <a:lnTo>
                  <a:pt x="269" y="156"/>
                </a:lnTo>
                <a:lnTo>
                  <a:pt x="257" y="148"/>
                </a:lnTo>
                <a:lnTo>
                  <a:pt x="251" y="161"/>
                </a:lnTo>
                <a:lnTo>
                  <a:pt x="183" y="161"/>
                </a:lnTo>
                <a:lnTo>
                  <a:pt x="183" y="190"/>
                </a:lnTo>
                <a:lnTo>
                  <a:pt x="189" y="193"/>
                </a:lnTo>
                <a:lnTo>
                  <a:pt x="206" y="191"/>
                </a:lnTo>
                <a:lnTo>
                  <a:pt x="215" y="212"/>
                </a:lnTo>
                <a:lnTo>
                  <a:pt x="197" y="210"/>
                </a:lnTo>
                <a:lnTo>
                  <a:pt x="172" y="216"/>
                </a:lnTo>
                <a:lnTo>
                  <a:pt x="172" y="247"/>
                </a:lnTo>
                <a:lnTo>
                  <a:pt x="193" y="266"/>
                </a:lnTo>
                <a:lnTo>
                  <a:pt x="201" y="297"/>
                </a:lnTo>
                <a:lnTo>
                  <a:pt x="195" y="335"/>
                </a:lnTo>
                <a:lnTo>
                  <a:pt x="186" y="380"/>
                </a:lnTo>
                <a:lnTo>
                  <a:pt x="176" y="430"/>
                </a:lnTo>
                <a:lnTo>
                  <a:pt x="171" y="435"/>
                </a:lnTo>
                <a:lnTo>
                  <a:pt x="154" y="433"/>
                </a:lnTo>
                <a:lnTo>
                  <a:pt x="99" y="450"/>
                </a:lnTo>
                <a:lnTo>
                  <a:pt x="61" y="472"/>
                </a:lnTo>
                <a:lnTo>
                  <a:pt x="36" y="510"/>
                </a:lnTo>
                <a:lnTo>
                  <a:pt x="34" y="540"/>
                </a:lnTo>
                <a:lnTo>
                  <a:pt x="16" y="547"/>
                </a:lnTo>
                <a:lnTo>
                  <a:pt x="0" y="586"/>
                </a:lnTo>
                <a:lnTo>
                  <a:pt x="11" y="620"/>
                </a:lnTo>
                <a:lnTo>
                  <a:pt x="42" y="651"/>
                </a:lnTo>
                <a:lnTo>
                  <a:pt x="37" y="670"/>
                </a:lnTo>
                <a:lnTo>
                  <a:pt x="65" y="674"/>
                </a:lnTo>
                <a:lnTo>
                  <a:pt x="78" y="693"/>
                </a:lnTo>
                <a:lnTo>
                  <a:pt x="99" y="697"/>
                </a:lnTo>
                <a:lnTo>
                  <a:pt x="122" y="688"/>
                </a:lnTo>
                <a:lnTo>
                  <a:pt x="152" y="665"/>
                </a:lnTo>
                <a:lnTo>
                  <a:pt x="152" y="741"/>
                </a:lnTo>
                <a:lnTo>
                  <a:pt x="163" y="747"/>
                </a:lnTo>
                <a:lnTo>
                  <a:pt x="189" y="741"/>
                </a:lnTo>
                <a:lnTo>
                  <a:pt x="249" y="745"/>
                </a:lnTo>
                <a:lnTo>
                  <a:pt x="288" y="728"/>
                </a:lnTo>
                <a:lnTo>
                  <a:pt x="328" y="688"/>
                </a:lnTo>
                <a:lnTo>
                  <a:pt x="384" y="682"/>
                </a:lnTo>
                <a:lnTo>
                  <a:pt x="393" y="691"/>
                </a:lnTo>
                <a:lnTo>
                  <a:pt x="395" y="705"/>
                </a:lnTo>
                <a:lnTo>
                  <a:pt x="395" y="733"/>
                </a:lnTo>
                <a:lnTo>
                  <a:pt x="387" y="756"/>
                </a:lnTo>
                <a:lnTo>
                  <a:pt x="399" y="787"/>
                </a:lnTo>
                <a:lnTo>
                  <a:pt x="429" y="809"/>
                </a:lnTo>
                <a:lnTo>
                  <a:pt x="483" y="818"/>
                </a:lnTo>
                <a:lnTo>
                  <a:pt x="497" y="832"/>
                </a:lnTo>
                <a:lnTo>
                  <a:pt x="535" y="845"/>
                </a:lnTo>
                <a:lnTo>
                  <a:pt x="554" y="860"/>
                </a:lnTo>
                <a:lnTo>
                  <a:pt x="585" y="860"/>
                </a:lnTo>
                <a:lnTo>
                  <a:pt x="599" y="868"/>
                </a:lnTo>
                <a:lnTo>
                  <a:pt x="611" y="882"/>
                </a:lnTo>
                <a:lnTo>
                  <a:pt x="622" y="919"/>
                </a:lnTo>
                <a:lnTo>
                  <a:pt x="619" y="939"/>
                </a:lnTo>
                <a:lnTo>
                  <a:pt x="613" y="945"/>
                </a:lnTo>
                <a:lnTo>
                  <a:pt x="631" y="992"/>
                </a:lnTo>
                <a:lnTo>
                  <a:pt x="712" y="999"/>
                </a:lnTo>
                <a:lnTo>
                  <a:pt x="707" y="1022"/>
                </a:lnTo>
                <a:lnTo>
                  <a:pt x="712" y="1039"/>
                </a:lnTo>
                <a:lnTo>
                  <a:pt x="729" y="1046"/>
                </a:lnTo>
                <a:lnTo>
                  <a:pt x="743" y="1081"/>
                </a:lnTo>
                <a:lnTo>
                  <a:pt x="741" y="1128"/>
                </a:lnTo>
                <a:lnTo>
                  <a:pt x="732" y="1154"/>
                </a:lnTo>
                <a:lnTo>
                  <a:pt x="735" y="1174"/>
                </a:lnTo>
                <a:lnTo>
                  <a:pt x="726" y="1179"/>
                </a:lnTo>
                <a:lnTo>
                  <a:pt x="724" y="1185"/>
                </a:lnTo>
                <a:lnTo>
                  <a:pt x="732" y="1199"/>
                </a:lnTo>
                <a:lnTo>
                  <a:pt x="732" y="1267"/>
                </a:lnTo>
                <a:lnTo>
                  <a:pt x="735" y="1273"/>
                </a:lnTo>
                <a:lnTo>
                  <a:pt x="774" y="1285"/>
                </a:lnTo>
                <a:lnTo>
                  <a:pt x="805" y="1278"/>
                </a:lnTo>
                <a:lnTo>
                  <a:pt x="829" y="1288"/>
                </a:lnTo>
                <a:lnTo>
                  <a:pt x="837" y="1300"/>
                </a:lnTo>
                <a:lnTo>
                  <a:pt x="840" y="1351"/>
                </a:lnTo>
                <a:lnTo>
                  <a:pt x="846" y="1361"/>
                </a:lnTo>
                <a:lnTo>
                  <a:pt x="859" y="1368"/>
                </a:lnTo>
                <a:lnTo>
                  <a:pt x="889" y="1363"/>
                </a:lnTo>
                <a:lnTo>
                  <a:pt x="894" y="1368"/>
                </a:lnTo>
                <a:lnTo>
                  <a:pt x="899" y="1395"/>
                </a:lnTo>
                <a:lnTo>
                  <a:pt x="891" y="1451"/>
                </a:lnTo>
                <a:lnTo>
                  <a:pt x="913" y="1449"/>
                </a:lnTo>
                <a:lnTo>
                  <a:pt x="918" y="1454"/>
                </a:lnTo>
                <a:lnTo>
                  <a:pt x="928" y="1488"/>
                </a:lnTo>
                <a:lnTo>
                  <a:pt x="925" y="1527"/>
                </a:lnTo>
                <a:lnTo>
                  <a:pt x="904" y="1544"/>
                </a:lnTo>
                <a:lnTo>
                  <a:pt x="880" y="1550"/>
                </a:lnTo>
                <a:lnTo>
                  <a:pt x="828" y="1600"/>
                </a:lnTo>
                <a:lnTo>
                  <a:pt x="789" y="1654"/>
                </a:lnTo>
                <a:lnTo>
                  <a:pt x="746" y="1693"/>
                </a:lnTo>
                <a:lnTo>
                  <a:pt x="760" y="1694"/>
                </a:lnTo>
                <a:lnTo>
                  <a:pt x="774" y="1685"/>
                </a:lnTo>
                <a:lnTo>
                  <a:pt x="784" y="1686"/>
                </a:lnTo>
                <a:lnTo>
                  <a:pt x="814" y="1713"/>
                </a:lnTo>
                <a:lnTo>
                  <a:pt x="820" y="1733"/>
                </a:lnTo>
                <a:lnTo>
                  <a:pt x="829" y="1733"/>
                </a:lnTo>
                <a:lnTo>
                  <a:pt x="842" y="1725"/>
                </a:lnTo>
                <a:lnTo>
                  <a:pt x="859" y="1747"/>
                </a:lnTo>
                <a:lnTo>
                  <a:pt x="885" y="1757"/>
                </a:lnTo>
                <a:lnTo>
                  <a:pt x="899" y="1774"/>
                </a:lnTo>
                <a:lnTo>
                  <a:pt x="922" y="1784"/>
                </a:lnTo>
                <a:lnTo>
                  <a:pt x="931" y="1810"/>
                </a:lnTo>
                <a:lnTo>
                  <a:pt x="953" y="1828"/>
                </a:lnTo>
                <a:lnTo>
                  <a:pt x="938" y="1850"/>
                </a:lnTo>
                <a:lnTo>
                  <a:pt x="936" y="1875"/>
                </a:lnTo>
                <a:lnTo>
                  <a:pt x="939" y="1883"/>
                </a:lnTo>
                <a:close/>
                <a:moveTo>
                  <a:pt x="1086" y="237"/>
                </a:moveTo>
                <a:lnTo>
                  <a:pt x="1088" y="244"/>
                </a:lnTo>
                <a:lnTo>
                  <a:pt x="1082" y="244"/>
                </a:lnTo>
                <a:lnTo>
                  <a:pt x="1080" y="238"/>
                </a:lnTo>
                <a:lnTo>
                  <a:pt x="1086" y="237"/>
                </a:lnTo>
                <a:close/>
                <a:moveTo>
                  <a:pt x="1128" y="246"/>
                </a:moveTo>
                <a:lnTo>
                  <a:pt x="1112" y="247"/>
                </a:lnTo>
                <a:lnTo>
                  <a:pt x="1123" y="237"/>
                </a:lnTo>
                <a:lnTo>
                  <a:pt x="1128" y="238"/>
                </a:lnTo>
                <a:lnTo>
                  <a:pt x="1128" y="246"/>
                </a:lnTo>
                <a:close/>
                <a:moveTo>
                  <a:pt x="1171" y="255"/>
                </a:moveTo>
                <a:lnTo>
                  <a:pt x="1170" y="280"/>
                </a:lnTo>
                <a:lnTo>
                  <a:pt x="1143" y="309"/>
                </a:lnTo>
                <a:lnTo>
                  <a:pt x="1109" y="322"/>
                </a:lnTo>
                <a:lnTo>
                  <a:pt x="1088" y="320"/>
                </a:lnTo>
                <a:lnTo>
                  <a:pt x="1077" y="314"/>
                </a:lnTo>
                <a:lnTo>
                  <a:pt x="1074" y="261"/>
                </a:lnTo>
                <a:lnTo>
                  <a:pt x="1088" y="250"/>
                </a:lnTo>
                <a:lnTo>
                  <a:pt x="1126" y="252"/>
                </a:lnTo>
                <a:lnTo>
                  <a:pt x="1153" y="247"/>
                </a:lnTo>
                <a:lnTo>
                  <a:pt x="1171" y="255"/>
                </a:lnTo>
                <a:close/>
                <a:moveTo>
                  <a:pt x="1074" y="254"/>
                </a:moveTo>
                <a:lnTo>
                  <a:pt x="1058" y="272"/>
                </a:lnTo>
                <a:lnTo>
                  <a:pt x="1052" y="272"/>
                </a:lnTo>
                <a:lnTo>
                  <a:pt x="1048" y="263"/>
                </a:lnTo>
                <a:lnTo>
                  <a:pt x="1058" y="246"/>
                </a:lnTo>
                <a:lnTo>
                  <a:pt x="1074" y="241"/>
                </a:lnTo>
                <a:lnTo>
                  <a:pt x="1065" y="250"/>
                </a:lnTo>
                <a:lnTo>
                  <a:pt x="1072" y="250"/>
                </a:lnTo>
                <a:lnTo>
                  <a:pt x="1074" y="254"/>
                </a:lnTo>
                <a:close/>
                <a:moveTo>
                  <a:pt x="1091" y="218"/>
                </a:moveTo>
                <a:lnTo>
                  <a:pt x="1083" y="224"/>
                </a:lnTo>
                <a:lnTo>
                  <a:pt x="1089" y="235"/>
                </a:lnTo>
                <a:lnTo>
                  <a:pt x="1109" y="238"/>
                </a:lnTo>
                <a:lnTo>
                  <a:pt x="1109" y="232"/>
                </a:lnTo>
                <a:lnTo>
                  <a:pt x="1091" y="218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55" name="Freeform 247"/>
          <p:cNvSpPr>
            <a:spLocks noChangeAspect="1" noEditPoints="1"/>
          </p:cNvSpPr>
          <p:nvPr/>
        </p:nvSpPr>
        <p:spPr bwMode="gray">
          <a:xfrm>
            <a:off x="2759075" y="4327525"/>
            <a:ext cx="442913" cy="981075"/>
          </a:xfrm>
          <a:custGeom>
            <a:avLst/>
            <a:gdLst>
              <a:gd name="T0" fmla="*/ 2147483647 w 908"/>
              <a:gd name="T1" fmla="*/ 2147483647 h 2014"/>
              <a:gd name="T2" fmla="*/ 0 w 908"/>
              <a:gd name="T3" fmla="*/ 2147483647 h 2014"/>
              <a:gd name="T4" fmla="*/ 2147483647 w 908"/>
              <a:gd name="T5" fmla="*/ 2147483647 h 2014"/>
              <a:gd name="T6" fmla="*/ 2147483647 w 908"/>
              <a:gd name="T7" fmla="*/ 2147483647 h 2014"/>
              <a:gd name="T8" fmla="*/ 2147483647 w 908"/>
              <a:gd name="T9" fmla="*/ 2147483647 h 2014"/>
              <a:gd name="T10" fmla="*/ 2147483647 w 908"/>
              <a:gd name="T11" fmla="*/ 2147483647 h 2014"/>
              <a:gd name="T12" fmla="*/ 2147483647 w 908"/>
              <a:gd name="T13" fmla="*/ 2147483647 h 2014"/>
              <a:gd name="T14" fmla="*/ 2147483647 w 908"/>
              <a:gd name="T15" fmla="*/ 2147483647 h 2014"/>
              <a:gd name="T16" fmla="*/ 2147483647 w 908"/>
              <a:gd name="T17" fmla="*/ 2147483647 h 2014"/>
              <a:gd name="T18" fmla="*/ 2147483647 w 908"/>
              <a:gd name="T19" fmla="*/ 2147483647 h 2014"/>
              <a:gd name="T20" fmla="*/ 2147483647 w 908"/>
              <a:gd name="T21" fmla="*/ 2147483647 h 2014"/>
              <a:gd name="T22" fmla="*/ 2147483647 w 908"/>
              <a:gd name="T23" fmla="*/ 2147483647 h 2014"/>
              <a:gd name="T24" fmla="*/ 2147483647 w 908"/>
              <a:gd name="T25" fmla="*/ 2147483647 h 2014"/>
              <a:gd name="T26" fmla="*/ 2147483647 w 908"/>
              <a:gd name="T27" fmla="*/ 2147483647 h 2014"/>
              <a:gd name="T28" fmla="*/ 2147483647 w 908"/>
              <a:gd name="T29" fmla="*/ 2147483647 h 2014"/>
              <a:gd name="T30" fmla="*/ 2147483647 w 908"/>
              <a:gd name="T31" fmla="*/ 2147483647 h 2014"/>
              <a:gd name="T32" fmla="*/ 2147483647 w 908"/>
              <a:gd name="T33" fmla="*/ 2147483647 h 2014"/>
              <a:gd name="T34" fmla="*/ 2147483647 w 908"/>
              <a:gd name="T35" fmla="*/ 2147483647 h 2014"/>
              <a:gd name="T36" fmla="*/ 2147483647 w 908"/>
              <a:gd name="T37" fmla="*/ 2147483647 h 2014"/>
              <a:gd name="T38" fmla="*/ 2147483647 w 908"/>
              <a:gd name="T39" fmla="*/ 2147483647 h 2014"/>
              <a:gd name="T40" fmla="*/ 2147483647 w 908"/>
              <a:gd name="T41" fmla="*/ 2147483647 h 2014"/>
              <a:gd name="T42" fmla="*/ 2147483647 w 908"/>
              <a:gd name="T43" fmla="*/ 2147483647 h 2014"/>
              <a:gd name="T44" fmla="*/ 2147483647 w 908"/>
              <a:gd name="T45" fmla="*/ 2147483647 h 2014"/>
              <a:gd name="T46" fmla="*/ 2147483647 w 908"/>
              <a:gd name="T47" fmla="*/ 2147483647 h 2014"/>
              <a:gd name="T48" fmla="*/ 2147483647 w 908"/>
              <a:gd name="T49" fmla="*/ 2147483647 h 2014"/>
              <a:gd name="T50" fmla="*/ 2147483647 w 908"/>
              <a:gd name="T51" fmla="*/ 2147483647 h 2014"/>
              <a:gd name="T52" fmla="*/ 2147483647 w 908"/>
              <a:gd name="T53" fmla="*/ 2147483647 h 2014"/>
              <a:gd name="T54" fmla="*/ 2147483647 w 908"/>
              <a:gd name="T55" fmla="*/ 2147483647 h 2014"/>
              <a:gd name="T56" fmla="*/ 2147483647 w 908"/>
              <a:gd name="T57" fmla="*/ 2147483647 h 2014"/>
              <a:gd name="T58" fmla="*/ 2147483647 w 908"/>
              <a:gd name="T59" fmla="*/ 2147483647 h 2014"/>
              <a:gd name="T60" fmla="*/ 2147483647 w 908"/>
              <a:gd name="T61" fmla="*/ 2147483647 h 2014"/>
              <a:gd name="T62" fmla="*/ 2147483647 w 908"/>
              <a:gd name="T63" fmla="*/ 2147483647 h 2014"/>
              <a:gd name="T64" fmla="*/ 2147483647 w 908"/>
              <a:gd name="T65" fmla="*/ 2147483647 h 2014"/>
              <a:gd name="T66" fmla="*/ 2147483647 w 908"/>
              <a:gd name="T67" fmla="*/ 2147483647 h 2014"/>
              <a:gd name="T68" fmla="*/ 2147483647 w 908"/>
              <a:gd name="T69" fmla="*/ 2147483647 h 2014"/>
              <a:gd name="T70" fmla="*/ 2147483647 w 908"/>
              <a:gd name="T71" fmla="*/ 2147483647 h 2014"/>
              <a:gd name="T72" fmla="*/ 2147483647 w 908"/>
              <a:gd name="T73" fmla="*/ 2147483647 h 2014"/>
              <a:gd name="T74" fmla="*/ 2147483647 w 908"/>
              <a:gd name="T75" fmla="*/ 2147483647 h 2014"/>
              <a:gd name="T76" fmla="*/ 2147483647 w 908"/>
              <a:gd name="T77" fmla="*/ 2147483647 h 2014"/>
              <a:gd name="T78" fmla="*/ 2147483647 w 908"/>
              <a:gd name="T79" fmla="*/ 2147483647 h 2014"/>
              <a:gd name="T80" fmla="*/ 2147483647 w 908"/>
              <a:gd name="T81" fmla="*/ 2147483647 h 2014"/>
              <a:gd name="T82" fmla="*/ 2147483647 w 908"/>
              <a:gd name="T83" fmla="*/ 2147483647 h 2014"/>
              <a:gd name="T84" fmla="*/ 2147483647 w 908"/>
              <a:gd name="T85" fmla="*/ 2147483647 h 2014"/>
              <a:gd name="T86" fmla="*/ 2147483647 w 908"/>
              <a:gd name="T87" fmla="*/ 2147483647 h 2014"/>
              <a:gd name="T88" fmla="*/ 2147483647 w 908"/>
              <a:gd name="T89" fmla="*/ 2147483647 h 2014"/>
              <a:gd name="T90" fmla="*/ 2147483647 w 908"/>
              <a:gd name="T91" fmla="*/ 2147483647 h 2014"/>
              <a:gd name="T92" fmla="*/ 2147483647 w 908"/>
              <a:gd name="T93" fmla="*/ 2147483647 h 2014"/>
              <a:gd name="T94" fmla="*/ 2147483647 w 908"/>
              <a:gd name="T95" fmla="*/ 2147483647 h 2014"/>
              <a:gd name="T96" fmla="*/ 2147483647 w 908"/>
              <a:gd name="T97" fmla="*/ 2147483647 h 2014"/>
              <a:gd name="T98" fmla="*/ 2147483647 w 908"/>
              <a:gd name="T99" fmla="*/ 2147483647 h 2014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908"/>
              <a:gd name="T151" fmla="*/ 0 h 2014"/>
              <a:gd name="T152" fmla="*/ 908 w 908"/>
              <a:gd name="T153" fmla="*/ 2014 h 2014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908" h="2014">
                <a:moveTo>
                  <a:pt x="231" y="1801"/>
                </a:moveTo>
                <a:lnTo>
                  <a:pt x="166" y="1782"/>
                </a:lnTo>
                <a:lnTo>
                  <a:pt x="59" y="1778"/>
                </a:lnTo>
                <a:lnTo>
                  <a:pt x="50" y="1759"/>
                </a:lnTo>
                <a:lnTo>
                  <a:pt x="48" y="1683"/>
                </a:lnTo>
                <a:lnTo>
                  <a:pt x="20" y="1681"/>
                </a:lnTo>
                <a:lnTo>
                  <a:pt x="5" y="1693"/>
                </a:lnTo>
                <a:lnTo>
                  <a:pt x="0" y="1647"/>
                </a:lnTo>
                <a:lnTo>
                  <a:pt x="7" y="1601"/>
                </a:lnTo>
                <a:lnTo>
                  <a:pt x="37" y="1550"/>
                </a:lnTo>
                <a:lnTo>
                  <a:pt x="48" y="1516"/>
                </a:lnTo>
                <a:lnTo>
                  <a:pt x="44" y="1471"/>
                </a:lnTo>
                <a:lnTo>
                  <a:pt x="67" y="1436"/>
                </a:lnTo>
                <a:lnTo>
                  <a:pt x="78" y="1402"/>
                </a:lnTo>
                <a:lnTo>
                  <a:pt x="79" y="1327"/>
                </a:lnTo>
                <a:lnTo>
                  <a:pt x="88" y="1302"/>
                </a:lnTo>
                <a:lnTo>
                  <a:pt x="68" y="1289"/>
                </a:lnTo>
                <a:lnTo>
                  <a:pt x="65" y="1278"/>
                </a:lnTo>
                <a:lnTo>
                  <a:pt x="93" y="1278"/>
                </a:lnTo>
                <a:lnTo>
                  <a:pt x="95" y="1272"/>
                </a:lnTo>
                <a:lnTo>
                  <a:pt x="88" y="1256"/>
                </a:lnTo>
                <a:lnTo>
                  <a:pt x="70" y="1253"/>
                </a:lnTo>
                <a:lnTo>
                  <a:pt x="73" y="1224"/>
                </a:lnTo>
                <a:lnTo>
                  <a:pt x="67" y="1202"/>
                </a:lnTo>
                <a:lnTo>
                  <a:pt x="65" y="1173"/>
                </a:lnTo>
                <a:lnTo>
                  <a:pt x="59" y="1165"/>
                </a:lnTo>
                <a:lnTo>
                  <a:pt x="59" y="1134"/>
                </a:lnTo>
                <a:lnTo>
                  <a:pt x="76" y="1095"/>
                </a:lnTo>
                <a:lnTo>
                  <a:pt x="76" y="1086"/>
                </a:lnTo>
                <a:lnTo>
                  <a:pt x="65" y="1061"/>
                </a:lnTo>
                <a:lnTo>
                  <a:pt x="75" y="985"/>
                </a:lnTo>
                <a:lnTo>
                  <a:pt x="92" y="921"/>
                </a:lnTo>
                <a:lnTo>
                  <a:pt x="107" y="897"/>
                </a:lnTo>
                <a:lnTo>
                  <a:pt x="101" y="854"/>
                </a:lnTo>
                <a:lnTo>
                  <a:pt x="104" y="789"/>
                </a:lnTo>
                <a:lnTo>
                  <a:pt x="107" y="777"/>
                </a:lnTo>
                <a:lnTo>
                  <a:pt x="134" y="752"/>
                </a:lnTo>
                <a:lnTo>
                  <a:pt x="130" y="706"/>
                </a:lnTo>
                <a:lnTo>
                  <a:pt x="141" y="696"/>
                </a:lnTo>
                <a:lnTo>
                  <a:pt x="146" y="670"/>
                </a:lnTo>
                <a:lnTo>
                  <a:pt x="161" y="643"/>
                </a:lnTo>
                <a:lnTo>
                  <a:pt x="158" y="600"/>
                </a:lnTo>
                <a:lnTo>
                  <a:pt x="149" y="589"/>
                </a:lnTo>
                <a:lnTo>
                  <a:pt x="149" y="571"/>
                </a:lnTo>
                <a:lnTo>
                  <a:pt x="138" y="543"/>
                </a:lnTo>
                <a:lnTo>
                  <a:pt x="138" y="518"/>
                </a:lnTo>
                <a:lnTo>
                  <a:pt x="130" y="510"/>
                </a:lnTo>
                <a:lnTo>
                  <a:pt x="132" y="486"/>
                </a:lnTo>
                <a:lnTo>
                  <a:pt x="156" y="433"/>
                </a:lnTo>
                <a:lnTo>
                  <a:pt x="160" y="385"/>
                </a:lnTo>
                <a:lnTo>
                  <a:pt x="177" y="322"/>
                </a:lnTo>
                <a:lnTo>
                  <a:pt x="198" y="298"/>
                </a:lnTo>
                <a:lnTo>
                  <a:pt x="205" y="274"/>
                </a:lnTo>
                <a:lnTo>
                  <a:pt x="231" y="255"/>
                </a:lnTo>
                <a:lnTo>
                  <a:pt x="222" y="187"/>
                </a:lnTo>
                <a:lnTo>
                  <a:pt x="222" y="173"/>
                </a:lnTo>
                <a:lnTo>
                  <a:pt x="228" y="164"/>
                </a:lnTo>
                <a:lnTo>
                  <a:pt x="228" y="136"/>
                </a:lnTo>
                <a:lnTo>
                  <a:pt x="282" y="110"/>
                </a:lnTo>
                <a:lnTo>
                  <a:pt x="290" y="71"/>
                </a:lnTo>
                <a:lnTo>
                  <a:pt x="285" y="52"/>
                </a:lnTo>
                <a:lnTo>
                  <a:pt x="333" y="0"/>
                </a:lnTo>
                <a:lnTo>
                  <a:pt x="347" y="15"/>
                </a:lnTo>
                <a:lnTo>
                  <a:pt x="396" y="23"/>
                </a:lnTo>
                <a:lnTo>
                  <a:pt x="417" y="44"/>
                </a:lnTo>
                <a:lnTo>
                  <a:pt x="427" y="10"/>
                </a:lnTo>
                <a:lnTo>
                  <a:pt x="472" y="14"/>
                </a:lnTo>
                <a:lnTo>
                  <a:pt x="491" y="26"/>
                </a:lnTo>
                <a:lnTo>
                  <a:pt x="505" y="31"/>
                </a:lnTo>
                <a:lnTo>
                  <a:pt x="534" y="68"/>
                </a:lnTo>
                <a:lnTo>
                  <a:pt x="568" y="91"/>
                </a:lnTo>
                <a:lnTo>
                  <a:pt x="577" y="108"/>
                </a:lnTo>
                <a:lnTo>
                  <a:pt x="632" y="120"/>
                </a:lnTo>
                <a:lnTo>
                  <a:pt x="684" y="151"/>
                </a:lnTo>
                <a:lnTo>
                  <a:pt x="718" y="176"/>
                </a:lnTo>
                <a:lnTo>
                  <a:pt x="721" y="196"/>
                </a:lnTo>
                <a:lnTo>
                  <a:pt x="693" y="246"/>
                </a:lnTo>
                <a:lnTo>
                  <a:pt x="692" y="258"/>
                </a:lnTo>
                <a:lnTo>
                  <a:pt x="692" y="269"/>
                </a:lnTo>
                <a:lnTo>
                  <a:pt x="737" y="274"/>
                </a:lnTo>
                <a:lnTo>
                  <a:pt x="764" y="286"/>
                </a:lnTo>
                <a:lnTo>
                  <a:pt x="817" y="278"/>
                </a:lnTo>
                <a:lnTo>
                  <a:pt x="862" y="235"/>
                </a:lnTo>
                <a:lnTo>
                  <a:pt x="871" y="190"/>
                </a:lnTo>
                <a:lnTo>
                  <a:pt x="893" y="188"/>
                </a:lnTo>
                <a:lnTo>
                  <a:pt x="898" y="193"/>
                </a:lnTo>
                <a:lnTo>
                  <a:pt x="908" y="227"/>
                </a:lnTo>
                <a:lnTo>
                  <a:pt x="905" y="266"/>
                </a:lnTo>
                <a:lnTo>
                  <a:pt x="884" y="283"/>
                </a:lnTo>
                <a:lnTo>
                  <a:pt x="860" y="289"/>
                </a:lnTo>
                <a:lnTo>
                  <a:pt x="808" y="339"/>
                </a:lnTo>
                <a:lnTo>
                  <a:pt x="769" y="393"/>
                </a:lnTo>
                <a:lnTo>
                  <a:pt x="726" y="432"/>
                </a:lnTo>
                <a:lnTo>
                  <a:pt x="715" y="445"/>
                </a:lnTo>
                <a:lnTo>
                  <a:pt x="713" y="496"/>
                </a:lnTo>
                <a:lnTo>
                  <a:pt x="704" y="524"/>
                </a:lnTo>
                <a:lnTo>
                  <a:pt x="703" y="575"/>
                </a:lnTo>
                <a:lnTo>
                  <a:pt x="692" y="600"/>
                </a:lnTo>
                <a:lnTo>
                  <a:pt x="687" y="634"/>
                </a:lnTo>
                <a:lnTo>
                  <a:pt x="684" y="651"/>
                </a:lnTo>
                <a:lnTo>
                  <a:pt x="692" y="668"/>
                </a:lnTo>
                <a:lnTo>
                  <a:pt x="720" y="685"/>
                </a:lnTo>
                <a:lnTo>
                  <a:pt x="744" y="710"/>
                </a:lnTo>
                <a:lnTo>
                  <a:pt x="735" y="738"/>
                </a:lnTo>
                <a:lnTo>
                  <a:pt x="749" y="762"/>
                </a:lnTo>
                <a:lnTo>
                  <a:pt x="768" y="766"/>
                </a:lnTo>
                <a:lnTo>
                  <a:pt x="769" y="798"/>
                </a:lnTo>
                <a:lnTo>
                  <a:pt x="764" y="809"/>
                </a:lnTo>
                <a:lnTo>
                  <a:pt x="732" y="852"/>
                </a:lnTo>
                <a:lnTo>
                  <a:pt x="727" y="872"/>
                </a:lnTo>
                <a:lnTo>
                  <a:pt x="706" y="888"/>
                </a:lnTo>
                <a:lnTo>
                  <a:pt x="644" y="908"/>
                </a:lnTo>
                <a:lnTo>
                  <a:pt x="569" y="919"/>
                </a:lnTo>
                <a:lnTo>
                  <a:pt x="522" y="916"/>
                </a:lnTo>
                <a:lnTo>
                  <a:pt x="510" y="906"/>
                </a:lnTo>
                <a:lnTo>
                  <a:pt x="510" y="934"/>
                </a:lnTo>
                <a:lnTo>
                  <a:pt x="520" y="948"/>
                </a:lnTo>
                <a:lnTo>
                  <a:pt x="519" y="964"/>
                </a:lnTo>
                <a:lnTo>
                  <a:pt x="519" y="970"/>
                </a:lnTo>
                <a:lnTo>
                  <a:pt x="508" y="982"/>
                </a:lnTo>
                <a:lnTo>
                  <a:pt x="510" y="1026"/>
                </a:lnTo>
                <a:lnTo>
                  <a:pt x="502" y="1038"/>
                </a:lnTo>
                <a:lnTo>
                  <a:pt x="489" y="1043"/>
                </a:lnTo>
                <a:lnTo>
                  <a:pt x="474" y="1052"/>
                </a:lnTo>
                <a:lnTo>
                  <a:pt x="443" y="1050"/>
                </a:lnTo>
                <a:lnTo>
                  <a:pt x="396" y="1032"/>
                </a:lnTo>
                <a:lnTo>
                  <a:pt x="388" y="1021"/>
                </a:lnTo>
                <a:lnTo>
                  <a:pt x="379" y="1033"/>
                </a:lnTo>
                <a:lnTo>
                  <a:pt x="387" y="1106"/>
                </a:lnTo>
                <a:lnTo>
                  <a:pt x="409" y="1119"/>
                </a:lnTo>
                <a:lnTo>
                  <a:pt x="405" y="1126"/>
                </a:lnTo>
                <a:lnTo>
                  <a:pt x="410" y="1129"/>
                </a:lnTo>
                <a:lnTo>
                  <a:pt x="427" y="1126"/>
                </a:lnTo>
                <a:lnTo>
                  <a:pt x="418" y="1114"/>
                </a:lnTo>
                <a:lnTo>
                  <a:pt x="444" y="1107"/>
                </a:lnTo>
                <a:lnTo>
                  <a:pt x="449" y="1117"/>
                </a:lnTo>
                <a:lnTo>
                  <a:pt x="452" y="1140"/>
                </a:lnTo>
                <a:lnTo>
                  <a:pt x="444" y="1153"/>
                </a:lnTo>
                <a:lnTo>
                  <a:pt x="422" y="1153"/>
                </a:lnTo>
                <a:lnTo>
                  <a:pt x="420" y="1143"/>
                </a:lnTo>
                <a:lnTo>
                  <a:pt x="407" y="1134"/>
                </a:lnTo>
                <a:lnTo>
                  <a:pt x="387" y="1148"/>
                </a:lnTo>
                <a:lnTo>
                  <a:pt x="387" y="1153"/>
                </a:lnTo>
                <a:lnTo>
                  <a:pt x="420" y="1166"/>
                </a:lnTo>
                <a:lnTo>
                  <a:pt x="392" y="1182"/>
                </a:lnTo>
                <a:lnTo>
                  <a:pt x="388" y="1188"/>
                </a:lnTo>
                <a:lnTo>
                  <a:pt x="378" y="1204"/>
                </a:lnTo>
                <a:lnTo>
                  <a:pt x="378" y="1251"/>
                </a:lnTo>
                <a:lnTo>
                  <a:pt x="358" y="1276"/>
                </a:lnTo>
                <a:lnTo>
                  <a:pt x="361" y="1297"/>
                </a:lnTo>
                <a:lnTo>
                  <a:pt x="333" y="1295"/>
                </a:lnTo>
                <a:lnTo>
                  <a:pt x="319" y="1307"/>
                </a:lnTo>
                <a:lnTo>
                  <a:pt x="302" y="1310"/>
                </a:lnTo>
                <a:lnTo>
                  <a:pt x="269" y="1358"/>
                </a:lnTo>
                <a:lnTo>
                  <a:pt x="268" y="1371"/>
                </a:lnTo>
                <a:lnTo>
                  <a:pt x="280" y="1398"/>
                </a:lnTo>
                <a:lnTo>
                  <a:pt x="307" y="1425"/>
                </a:lnTo>
                <a:lnTo>
                  <a:pt x="347" y="1432"/>
                </a:lnTo>
                <a:lnTo>
                  <a:pt x="354" y="1437"/>
                </a:lnTo>
                <a:lnTo>
                  <a:pt x="356" y="1461"/>
                </a:lnTo>
                <a:lnTo>
                  <a:pt x="347" y="1474"/>
                </a:lnTo>
                <a:lnTo>
                  <a:pt x="351" y="1491"/>
                </a:lnTo>
                <a:lnTo>
                  <a:pt x="345" y="1495"/>
                </a:lnTo>
                <a:lnTo>
                  <a:pt x="344" y="1504"/>
                </a:lnTo>
                <a:lnTo>
                  <a:pt x="330" y="1508"/>
                </a:lnTo>
                <a:lnTo>
                  <a:pt x="269" y="1564"/>
                </a:lnTo>
                <a:lnTo>
                  <a:pt x="263" y="1580"/>
                </a:lnTo>
                <a:lnTo>
                  <a:pt x="259" y="1589"/>
                </a:lnTo>
                <a:lnTo>
                  <a:pt x="268" y="1584"/>
                </a:lnTo>
                <a:lnTo>
                  <a:pt x="256" y="1629"/>
                </a:lnTo>
                <a:lnTo>
                  <a:pt x="232" y="1640"/>
                </a:lnTo>
                <a:lnTo>
                  <a:pt x="217" y="1617"/>
                </a:lnTo>
                <a:lnTo>
                  <a:pt x="219" y="1634"/>
                </a:lnTo>
                <a:lnTo>
                  <a:pt x="228" y="1646"/>
                </a:lnTo>
                <a:lnTo>
                  <a:pt x="200" y="1666"/>
                </a:lnTo>
                <a:lnTo>
                  <a:pt x="183" y="1710"/>
                </a:lnTo>
                <a:lnTo>
                  <a:pt x="194" y="1708"/>
                </a:lnTo>
                <a:lnTo>
                  <a:pt x="202" y="1742"/>
                </a:lnTo>
                <a:lnTo>
                  <a:pt x="185" y="1748"/>
                </a:lnTo>
                <a:lnTo>
                  <a:pt x="202" y="1756"/>
                </a:lnTo>
                <a:lnTo>
                  <a:pt x="231" y="1801"/>
                </a:lnTo>
                <a:close/>
                <a:moveTo>
                  <a:pt x="413" y="1994"/>
                </a:moveTo>
                <a:lnTo>
                  <a:pt x="447" y="1991"/>
                </a:lnTo>
                <a:lnTo>
                  <a:pt x="413" y="2002"/>
                </a:lnTo>
                <a:lnTo>
                  <a:pt x="405" y="2001"/>
                </a:lnTo>
                <a:lnTo>
                  <a:pt x="413" y="1994"/>
                </a:lnTo>
                <a:close/>
                <a:moveTo>
                  <a:pt x="222" y="2001"/>
                </a:moveTo>
                <a:lnTo>
                  <a:pt x="219" y="1827"/>
                </a:lnTo>
                <a:lnTo>
                  <a:pt x="240" y="1864"/>
                </a:lnTo>
                <a:lnTo>
                  <a:pt x="232" y="1861"/>
                </a:lnTo>
                <a:lnTo>
                  <a:pt x="226" y="1867"/>
                </a:lnTo>
                <a:lnTo>
                  <a:pt x="253" y="1909"/>
                </a:lnTo>
                <a:lnTo>
                  <a:pt x="336" y="1976"/>
                </a:lnTo>
                <a:lnTo>
                  <a:pt x="379" y="1989"/>
                </a:lnTo>
                <a:lnTo>
                  <a:pt x="376" y="2002"/>
                </a:lnTo>
                <a:lnTo>
                  <a:pt x="364" y="2008"/>
                </a:lnTo>
                <a:lnTo>
                  <a:pt x="347" y="2005"/>
                </a:lnTo>
                <a:lnTo>
                  <a:pt x="325" y="2014"/>
                </a:lnTo>
                <a:lnTo>
                  <a:pt x="246" y="1994"/>
                </a:lnTo>
                <a:lnTo>
                  <a:pt x="222" y="2001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56" name="Freeform 248"/>
          <p:cNvSpPr>
            <a:spLocks noChangeAspect="1" noEditPoints="1"/>
          </p:cNvSpPr>
          <p:nvPr/>
        </p:nvSpPr>
        <p:spPr bwMode="gray">
          <a:xfrm>
            <a:off x="2709863" y="4227513"/>
            <a:ext cx="190500" cy="1106487"/>
          </a:xfrm>
          <a:custGeom>
            <a:avLst/>
            <a:gdLst>
              <a:gd name="T0" fmla="*/ 2147483647 w 393"/>
              <a:gd name="T1" fmla="*/ 2147483647 h 2273"/>
              <a:gd name="T2" fmla="*/ 2147483647 w 393"/>
              <a:gd name="T3" fmla="*/ 2147483647 h 2273"/>
              <a:gd name="T4" fmla="*/ 2147483647 w 393"/>
              <a:gd name="T5" fmla="*/ 2147483647 h 2273"/>
              <a:gd name="T6" fmla="*/ 2147483647 w 393"/>
              <a:gd name="T7" fmla="*/ 2147483647 h 2273"/>
              <a:gd name="T8" fmla="*/ 2147483647 w 393"/>
              <a:gd name="T9" fmla="*/ 2147483647 h 2273"/>
              <a:gd name="T10" fmla="*/ 2147483647 w 393"/>
              <a:gd name="T11" fmla="*/ 2147483647 h 2273"/>
              <a:gd name="T12" fmla="*/ 2147483647 w 393"/>
              <a:gd name="T13" fmla="*/ 2147483647 h 2273"/>
              <a:gd name="T14" fmla="*/ 2147483647 w 393"/>
              <a:gd name="T15" fmla="*/ 2147483647 h 2273"/>
              <a:gd name="T16" fmla="*/ 2147483647 w 393"/>
              <a:gd name="T17" fmla="*/ 2147483647 h 2273"/>
              <a:gd name="T18" fmla="*/ 2147483647 w 393"/>
              <a:gd name="T19" fmla="*/ 2147483647 h 2273"/>
              <a:gd name="T20" fmla="*/ 2147483647 w 393"/>
              <a:gd name="T21" fmla="*/ 2147483647 h 2273"/>
              <a:gd name="T22" fmla="*/ 2147483647 w 393"/>
              <a:gd name="T23" fmla="*/ 2147483647 h 2273"/>
              <a:gd name="T24" fmla="*/ 2147483647 w 393"/>
              <a:gd name="T25" fmla="*/ 2147483647 h 2273"/>
              <a:gd name="T26" fmla="*/ 2147483647 w 393"/>
              <a:gd name="T27" fmla="*/ 2147483647 h 2273"/>
              <a:gd name="T28" fmla="*/ 2147483647 w 393"/>
              <a:gd name="T29" fmla="*/ 2147483647 h 2273"/>
              <a:gd name="T30" fmla="*/ 2147483647 w 393"/>
              <a:gd name="T31" fmla="*/ 2147483647 h 2273"/>
              <a:gd name="T32" fmla="*/ 2147483647 w 393"/>
              <a:gd name="T33" fmla="*/ 2147483647 h 2273"/>
              <a:gd name="T34" fmla="*/ 2147483647 w 393"/>
              <a:gd name="T35" fmla="*/ 2147483647 h 2273"/>
              <a:gd name="T36" fmla="*/ 2147483647 w 393"/>
              <a:gd name="T37" fmla="*/ 2147483647 h 2273"/>
              <a:gd name="T38" fmla="*/ 2147483647 w 393"/>
              <a:gd name="T39" fmla="*/ 2147483647 h 2273"/>
              <a:gd name="T40" fmla="*/ 2147483647 w 393"/>
              <a:gd name="T41" fmla="*/ 2147483647 h 2273"/>
              <a:gd name="T42" fmla="*/ 2147483647 w 393"/>
              <a:gd name="T43" fmla="*/ 2147483647 h 2273"/>
              <a:gd name="T44" fmla="*/ 2147483647 w 393"/>
              <a:gd name="T45" fmla="*/ 2147483647 h 2273"/>
              <a:gd name="T46" fmla="*/ 2147483647 w 393"/>
              <a:gd name="T47" fmla="*/ 2147483647 h 2273"/>
              <a:gd name="T48" fmla="*/ 2147483647 w 393"/>
              <a:gd name="T49" fmla="*/ 2147483647 h 2273"/>
              <a:gd name="T50" fmla="*/ 2147483647 w 393"/>
              <a:gd name="T51" fmla="*/ 2147483647 h 2273"/>
              <a:gd name="T52" fmla="*/ 2147483647 w 393"/>
              <a:gd name="T53" fmla="*/ 2147483647 h 2273"/>
              <a:gd name="T54" fmla="*/ 2147483647 w 393"/>
              <a:gd name="T55" fmla="*/ 2147483647 h 2273"/>
              <a:gd name="T56" fmla="*/ 2147483647 w 393"/>
              <a:gd name="T57" fmla="*/ 2147483647 h 2273"/>
              <a:gd name="T58" fmla="*/ 2147483647 w 393"/>
              <a:gd name="T59" fmla="*/ 2147483647 h 2273"/>
              <a:gd name="T60" fmla="*/ 2147483647 w 393"/>
              <a:gd name="T61" fmla="*/ 2147483647 h 2273"/>
              <a:gd name="T62" fmla="*/ 2147483647 w 393"/>
              <a:gd name="T63" fmla="*/ 2147483647 h 2273"/>
              <a:gd name="T64" fmla="*/ 2147483647 w 393"/>
              <a:gd name="T65" fmla="*/ 2147483647 h 2273"/>
              <a:gd name="T66" fmla="*/ 2147483647 w 393"/>
              <a:gd name="T67" fmla="*/ 2147483647 h 2273"/>
              <a:gd name="T68" fmla="*/ 2147483647 w 393"/>
              <a:gd name="T69" fmla="*/ 2147483647 h 2273"/>
              <a:gd name="T70" fmla="*/ 2147483647 w 393"/>
              <a:gd name="T71" fmla="*/ 2147483647 h 2273"/>
              <a:gd name="T72" fmla="*/ 2147483647 w 393"/>
              <a:gd name="T73" fmla="*/ 2147483647 h 2273"/>
              <a:gd name="T74" fmla="*/ 2147483647 w 393"/>
              <a:gd name="T75" fmla="*/ 2147483647 h 2273"/>
              <a:gd name="T76" fmla="*/ 2147483647 w 393"/>
              <a:gd name="T77" fmla="*/ 2147483647 h 2273"/>
              <a:gd name="T78" fmla="*/ 2147483647 w 393"/>
              <a:gd name="T79" fmla="*/ 2147483647 h 2273"/>
              <a:gd name="T80" fmla="*/ 2147483647 w 393"/>
              <a:gd name="T81" fmla="*/ 2147483647 h 2273"/>
              <a:gd name="T82" fmla="*/ 2147483647 w 393"/>
              <a:gd name="T83" fmla="*/ 2147483647 h 2273"/>
              <a:gd name="T84" fmla="*/ 2147483647 w 393"/>
              <a:gd name="T85" fmla="*/ 2147483647 h 2273"/>
              <a:gd name="T86" fmla="*/ 2147483647 w 393"/>
              <a:gd name="T87" fmla="*/ 2147483647 h 2273"/>
              <a:gd name="T88" fmla="*/ 2147483647 w 393"/>
              <a:gd name="T89" fmla="*/ 2147483647 h 2273"/>
              <a:gd name="T90" fmla="*/ 2147483647 w 393"/>
              <a:gd name="T91" fmla="*/ 2147483647 h 2273"/>
              <a:gd name="T92" fmla="*/ 2147483647 w 393"/>
              <a:gd name="T93" fmla="*/ 2147483647 h 2273"/>
              <a:gd name="T94" fmla="*/ 2147483647 w 393"/>
              <a:gd name="T95" fmla="*/ 2147483647 h 2273"/>
              <a:gd name="T96" fmla="*/ 2147483647 w 393"/>
              <a:gd name="T97" fmla="*/ 2147483647 h 2273"/>
              <a:gd name="T98" fmla="*/ 2147483647 w 393"/>
              <a:gd name="T99" fmla="*/ 2147483647 h 2273"/>
              <a:gd name="T100" fmla="*/ 2147483647 w 393"/>
              <a:gd name="T101" fmla="*/ 2147483647 h 2273"/>
              <a:gd name="T102" fmla="*/ 2147483647 w 393"/>
              <a:gd name="T103" fmla="*/ 2147483647 h 2273"/>
              <a:gd name="T104" fmla="*/ 2147483647 w 393"/>
              <a:gd name="T105" fmla="*/ 2147483647 h 2273"/>
              <a:gd name="T106" fmla="*/ 2147483647 w 393"/>
              <a:gd name="T107" fmla="*/ 2147483647 h 2273"/>
              <a:gd name="T108" fmla="*/ 2147483647 w 393"/>
              <a:gd name="T109" fmla="*/ 2147483647 h 2273"/>
              <a:gd name="T110" fmla="*/ 2147483647 w 393"/>
              <a:gd name="T111" fmla="*/ 2147483647 h 2273"/>
              <a:gd name="T112" fmla="*/ 2147483647 w 393"/>
              <a:gd name="T113" fmla="*/ 2147483647 h 2273"/>
              <a:gd name="T114" fmla="*/ 2147483647 w 393"/>
              <a:gd name="T115" fmla="*/ 2147483647 h 2273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393"/>
              <a:gd name="T175" fmla="*/ 0 h 2273"/>
              <a:gd name="T176" fmla="*/ 393 w 393"/>
              <a:gd name="T177" fmla="*/ 2273 h 2273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393" h="2273">
                <a:moveTo>
                  <a:pt x="275" y="0"/>
                </a:moveTo>
                <a:lnTo>
                  <a:pt x="294" y="22"/>
                </a:lnTo>
                <a:lnTo>
                  <a:pt x="300" y="64"/>
                </a:lnTo>
                <a:lnTo>
                  <a:pt x="322" y="85"/>
                </a:lnTo>
                <a:lnTo>
                  <a:pt x="320" y="108"/>
                </a:lnTo>
                <a:lnTo>
                  <a:pt x="312" y="115"/>
                </a:lnTo>
                <a:lnTo>
                  <a:pt x="311" y="130"/>
                </a:lnTo>
                <a:lnTo>
                  <a:pt x="319" y="136"/>
                </a:lnTo>
                <a:lnTo>
                  <a:pt x="319" y="150"/>
                </a:lnTo>
                <a:lnTo>
                  <a:pt x="332" y="164"/>
                </a:lnTo>
                <a:lnTo>
                  <a:pt x="349" y="257"/>
                </a:lnTo>
                <a:lnTo>
                  <a:pt x="362" y="262"/>
                </a:lnTo>
                <a:lnTo>
                  <a:pt x="385" y="258"/>
                </a:lnTo>
                <a:lnTo>
                  <a:pt x="390" y="277"/>
                </a:lnTo>
                <a:lnTo>
                  <a:pt x="382" y="316"/>
                </a:lnTo>
                <a:lnTo>
                  <a:pt x="328" y="342"/>
                </a:lnTo>
                <a:lnTo>
                  <a:pt x="328" y="370"/>
                </a:lnTo>
                <a:lnTo>
                  <a:pt x="322" y="379"/>
                </a:lnTo>
                <a:lnTo>
                  <a:pt x="322" y="393"/>
                </a:lnTo>
                <a:lnTo>
                  <a:pt x="331" y="461"/>
                </a:lnTo>
                <a:lnTo>
                  <a:pt x="305" y="480"/>
                </a:lnTo>
                <a:lnTo>
                  <a:pt x="298" y="504"/>
                </a:lnTo>
                <a:lnTo>
                  <a:pt x="277" y="528"/>
                </a:lnTo>
                <a:lnTo>
                  <a:pt x="260" y="591"/>
                </a:lnTo>
                <a:lnTo>
                  <a:pt x="256" y="639"/>
                </a:lnTo>
                <a:lnTo>
                  <a:pt x="232" y="692"/>
                </a:lnTo>
                <a:lnTo>
                  <a:pt x="230" y="716"/>
                </a:lnTo>
                <a:lnTo>
                  <a:pt x="238" y="724"/>
                </a:lnTo>
                <a:lnTo>
                  <a:pt x="238" y="749"/>
                </a:lnTo>
                <a:lnTo>
                  <a:pt x="249" y="777"/>
                </a:lnTo>
                <a:lnTo>
                  <a:pt x="249" y="795"/>
                </a:lnTo>
                <a:lnTo>
                  <a:pt x="258" y="806"/>
                </a:lnTo>
                <a:lnTo>
                  <a:pt x="261" y="849"/>
                </a:lnTo>
                <a:lnTo>
                  <a:pt x="246" y="876"/>
                </a:lnTo>
                <a:lnTo>
                  <a:pt x="241" y="902"/>
                </a:lnTo>
                <a:lnTo>
                  <a:pt x="230" y="912"/>
                </a:lnTo>
                <a:lnTo>
                  <a:pt x="234" y="958"/>
                </a:lnTo>
                <a:lnTo>
                  <a:pt x="207" y="983"/>
                </a:lnTo>
                <a:lnTo>
                  <a:pt x="204" y="995"/>
                </a:lnTo>
                <a:lnTo>
                  <a:pt x="201" y="1060"/>
                </a:lnTo>
                <a:lnTo>
                  <a:pt x="207" y="1103"/>
                </a:lnTo>
                <a:lnTo>
                  <a:pt x="192" y="1127"/>
                </a:lnTo>
                <a:lnTo>
                  <a:pt x="175" y="1191"/>
                </a:lnTo>
                <a:lnTo>
                  <a:pt x="165" y="1267"/>
                </a:lnTo>
                <a:lnTo>
                  <a:pt x="176" y="1292"/>
                </a:lnTo>
                <a:lnTo>
                  <a:pt x="176" y="1301"/>
                </a:lnTo>
                <a:lnTo>
                  <a:pt x="159" y="1340"/>
                </a:lnTo>
                <a:lnTo>
                  <a:pt x="159" y="1371"/>
                </a:lnTo>
                <a:lnTo>
                  <a:pt x="165" y="1379"/>
                </a:lnTo>
                <a:lnTo>
                  <a:pt x="167" y="1408"/>
                </a:lnTo>
                <a:lnTo>
                  <a:pt x="173" y="1430"/>
                </a:lnTo>
                <a:lnTo>
                  <a:pt x="170" y="1459"/>
                </a:lnTo>
                <a:lnTo>
                  <a:pt x="188" y="1462"/>
                </a:lnTo>
                <a:lnTo>
                  <a:pt x="195" y="1478"/>
                </a:lnTo>
                <a:lnTo>
                  <a:pt x="193" y="1484"/>
                </a:lnTo>
                <a:lnTo>
                  <a:pt x="165" y="1484"/>
                </a:lnTo>
                <a:lnTo>
                  <a:pt x="168" y="1495"/>
                </a:lnTo>
                <a:lnTo>
                  <a:pt x="188" y="1508"/>
                </a:lnTo>
                <a:lnTo>
                  <a:pt x="179" y="1533"/>
                </a:lnTo>
                <a:lnTo>
                  <a:pt x="178" y="1608"/>
                </a:lnTo>
                <a:lnTo>
                  <a:pt x="167" y="1642"/>
                </a:lnTo>
                <a:lnTo>
                  <a:pt x="144" y="1677"/>
                </a:lnTo>
                <a:lnTo>
                  <a:pt x="148" y="1722"/>
                </a:lnTo>
                <a:lnTo>
                  <a:pt x="137" y="1756"/>
                </a:lnTo>
                <a:lnTo>
                  <a:pt x="107" y="1807"/>
                </a:lnTo>
                <a:lnTo>
                  <a:pt x="100" y="1853"/>
                </a:lnTo>
                <a:lnTo>
                  <a:pt x="105" y="1899"/>
                </a:lnTo>
                <a:lnTo>
                  <a:pt x="120" y="1887"/>
                </a:lnTo>
                <a:lnTo>
                  <a:pt x="148" y="1889"/>
                </a:lnTo>
                <a:lnTo>
                  <a:pt x="150" y="1965"/>
                </a:lnTo>
                <a:lnTo>
                  <a:pt x="159" y="1984"/>
                </a:lnTo>
                <a:lnTo>
                  <a:pt x="266" y="1988"/>
                </a:lnTo>
                <a:lnTo>
                  <a:pt x="331" y="2007"/>
                </a:lnTo>
                <a:lnTo>
                  <a:pt x="326" y="2013"/>
                </a:lnTo>
                <a:lnTo>
                  <a:pt x="292" y="2010"/>
                </a:lnTo>
                <a:lnTo>
                  <a:pt x="280" y="2007"/>
                </a:lnTo>
                <a:lnTo>
                  <a:pt x="273" y="2018"/>
                </a:lnTo>
                <a:lnTo>
                  <a:pt x="217" y="2041"/>
                </a:lnTo>
                <a:lnTo>
                  <a:pt x="207" y="2121"/>
                </a:lnTo>
                <a:lnTo>
                  <a:pt x="179" y="2119"/>
                </a:lnTo>
                <a:lnTo>
                  <a:pt x="154" y="2103"/>
                </a:lnTo>
                <a:lnTo>
                  <a:pt x="151" y="2087"/>
                </a:lnTo>
                <a:lnTo>
                  <a:pt x="158" y="2081"/>
                </a:lnTo>
                <a:lnTo>
                  <a:pt x="159" y="2094"/>
                </a:lnTo>
                <a:lnTo>
                  <a:pt x="195" y="2072"/>
                </a:lnTo>
                <a:lnTo>
                  <a:pt x="205" y="2050"/>
                </a:lnTo>
                <a:lnTo>
                  <a:pt x="187" y="2029"/>
                </a:lnTo>
                <a:lnTo>
                  <a:pt x="159" y="2026"/>
                </a:lnTo>
                <a:lnTo>
                  <a:pt x="142" y="2035"/>
                </a:lnTo>
                <a:lnTo>
                  <a:pt x="141" y="2024"/>
                </a:lnTo>
                <a:lnTo>
                  <a:pt x="129" y="2027"/>
                </a:lnTo>
                <a:lnTo>
                  <a:pt x="144" y="2005"/>
                </a:lnTo>
                <a:lnTo>
                  <a:pt x="134" y="1984"/>
                </a:lnTo>
                <a:lnTo>
                  <a:pt x="141" y="1982"/>
                </a:lnTo>
                <a:lnTo>
                  <a:pt x="141" y="1970"/>
                </a:lnTo>
                <a:lnTo>
                  <a:pt x="134" y="1963"/>
                </a:lnTo>
                <a:lnTo>
                  <a:pt x="134" y="1970"/>
                </a:lnTo>
                <a:lnTo>
                  <a:pt x="114" y="1962"/>
                </a:lnTo>
                <a:lnTo>
                  <a:pt x="119" y="1975"/>
                </a:lnTo>
                <a:lnTo>
                  <a:pt x="112" y="1985"/>
                </a:lnTo>
                <a:lnTo>
                  <a:pt x="100" y="1956"/>
                </a:lnTo>
                <a:lnTo>
                  <a:pt x="105" y="1990"/>
                </a:lnTo>
                <a:lnTo>
                  <a:pt x="97" y="1987"/>
                </a:lnTo>
                <a:lnTo>
                  <a:pt x="96" y="1956"/>
                </a:lnTo>
                <a:lnTo>
                  <a:pt x="88" y="1942"/>
                </a:lnTo>
                <a:lnTo>
                  <a:pt x="68" y="1919"/>
                </a:lnTo>
                <a:lnTo>
                  <a:pt x="68" y="1902"/>
                </a:lnTo>
                <a:lnTo>
                  <a:pt x="85" y="1900"/>
                </a:lnTo>
                <a:lnTo>
                  <a:pt x="85" y="1891"/>
                </a:lnTo>
                <a:lnTo>
                  <a:pt x="70" y="1889"/>
                </a:lnTo>
                <a:lnTo>
                  <a:pt x="66" y="1880"/>
                </a:lnTo>
                <a:lnTo>
                  <a:pt x="77" y="1875"/>
                </a:lnTo>
                <a:lnTo>
                  <a:pt x="56" y="1865"/>
                </a:lnTo>
                <a:lnTo>
                  <a:pt x="46" y="1852"/>
                </a:lnTo>
                <a:lnTo>
                  <a:pt x="58" y="1838"/>
                </a:lnTo>
                <a:lnTo>
                  <a:pt x="62" y="1816"/>
                </a:lnTo>
                <a:lnTo>
                  <a:pt x="82" y="1811"/>
                </a:lnTo>
                <a:lnTo>
                  <a:pt x="74" y="1799"/>
                </a:lnTo>
                <a:lnTo>
                  <a:pt x="82" y="1775"/>
                </a:lnTo>
                <a:lnTo>
                  <a:pt x="71" y="1784"/>
                </a:lnTo>
                <a:lnTo>
                  <a:pt x="65" y="1799"/>
                </a:lnTo>
                <a:lnTo>
                  <a:pt x="62" y="1798"/>
                </a:lnTo>
                <a:lnTo>
                  <a:pt x="58" y="1753"/>
                </a:lnTo>
                <a:lnTo>
                  <a:pt x="65" y="1750"/>
                </a:lnTo>
                <a:lnTo>
                  <a:pt x="60" y="1744"/>
                </a:lnTo>
                <a:lnTo>
                  <a:pt x="62" y="1733"/>
                </a:lnTo>
                <a:lnTo>
                  <a:pt x="83" y="1739"/>
                </a:lnTo>
                <a:lnTo>
                  <a:pt x="79" y="1722"/>
                </a:lnTo>
                <a:lnTo>
                  <a:pt x="54" y="1728"/>
                </a:lnTo>
                <a:lnTo>
                  <a:pt x="49" y="1696"/>
                </a:lnTo>
                <a:lnTo>
                  <a:pt x="56" y="1697"/>
                </a:lnTo>
                <a:lnTo>
                  <a:pt x="63" y="1714"/>
                </a:lnTo>
                <a:lnTo>
                  <a:pt x="66" y="1699"/>
                </a:lnTo>
                <a:lnTo>
                  <a:pt x="91" y="1705"/>
                </a:lnTo>
                <a:lnTo>
                  <a:pt x="85" y="1684"/>
                </a:lnTo>
                <a:lnTo>
                  <a:pt x="82" y="1679"/>
                </a:lnTo>
                <a:lnTo>
                  <a:pt x="68" y="1684"/>
                </a:lnTo>
                <a:lnTo>
                  <a:pt x="65" y="1676"/>
                </a:lnTo>
                <a:lnTo>
                  <a:pt x="71" y="1668"/>
                </a:lnTo>
                <a:lnTo>
                  <a:pt x="49" y="1659"/>
                </a:lnTo>
                <a:lnTo>
                  <a:pt x="71" y="1643"/>
                </a:lnTo>
                <a:lnTo>
                  <a:pt x="65" y="1638"/>
                </a:lnTo>
                <a:lnTo>
                  <a:pt x="73" y="1629"/>
                </a:lnTo>
                <a:lnTo>
                  <a:pt x="62" y="1617"/>
                </a:lnTo>
                <a:lnTo>
                  <a:pt x="49" y="1612"/>
                </a:lnTo>
                <a:lnTo>
                  <a:pt x="41" y="1620"/>
                </a:lnTo>
                <a:lnTo>
                  <a:pt x="19" y="1603"/>
                </a:lnTo>
                <a:lnTo>
                  <a:pt x="6" y="1611"/>
                </a:lnTo>
                <a:lnTo>
                  <a:pt x="12" y="1620"/>
                </a:lnTo>
                <a:lnTo>
                  <a:pt x="9" y="1628"/>
                </a:lnTo>
                <a:lnTo>
                  <a:pt x="0" y="1626"/>
                </a:lnTo>
                <a:lnTo>
                  <a:pt x="0" y="1620"/>
                </a:lnTo>
                <a:lnTo>
                  <a:pt x="4" y="1601"/>
                </a:lnTo>
                <a:lnTo>
                  <a:pt x="37" y="1577"/>
                </a:lnTo>
                <a:lnTo>
                  <a:pt x="37" y="1570"/>
                </a:lnTo>
                <a:lnTo>
                  <a:pt x="28" y="1569"/>
                </a:lnTo>
                <a:lnTo>
                  <a:pt x="24" y="1558"/>
                </a:lnTo>
                <a:lnTo>
                  <a:pt x="62" y="1558"/>
                </a:lnTo>
                <a:lnTo>
                  <a:pt x="70" y="1574"/>
                </a:lnTo>
                <a:lnTo>
                  <a:pt x="62" y="1586"/>
                </a:lnTo>
                <a:lnTo>
                  <a:pt x="71" y="1594"/>
                </a:lnTo>
                <a:lnTo>
                  <a:pt x="80" y="1581"/>
                </a:lnTo>
                <a:lnTo>
                  <a:pt x="80" y="1600"/>
                </a:lnTo>
                <a:lnTo>
                  <a:pt x="99" y="1581"/>
                </a:lnTo>
                <a:lnTo>
                  <a:pt x="90" y="1577"/>
                </a:lnTo>
                <a:lnTo>
                  <a:pt x="91" y="1557"/>
                </a:lnTo>
                <a:lnTo>
                  <a:pt x="107" y="1550"/>
                </a:lnTo>
                <a:lnTo>
                  <a:pt x="100" y="1544"/>
                </a:lnTo>
                <a:lnTo>
                  <a:pt x="111" y="1533"/>
                </a:lnTo>
                <a:lnTo>
                  <a:pt x="94" y="1538"/>
                </a:lnTo>
                <a:lnTo>
                  <a:pt x="96" y="1530"/>
                </a:lnTo>
                <a:lnTo>
                  <a:pt x="105" y="1521"/>
                </a:lnTo>
                <a:lnTo>
                  <a:pt x="112" y="1527"/>
                </a:lnTo>
                <a:lnTo>
                  <a:pt x="120" y="1532"/>
                </a:lnTo>
                <a:lnTo>
                  <a:pt x="125" y="1530"/>
                </a:lnTo>
                <a:lnTo>
                  <a:pt x="125" y="1523"/>
                </a:lnTo>
                <a:lnTo>
                  <a:pt x="100" y="1516"/>
                </a:lnTo>
                <a:lnTo>
                  <a:pt x="102" y="1501"/>
                </a:lnTo>
                <a:lnTo>
                  <a:pt x="122" y="1498"/>
                </a:lnTo>
                <a:lnTo>
                  <a:pt x="133" y="1484"/>
                </a:lnTo>
                <a:lnTo>
                  <a:pt x="129" y="1462"/>
                </a:lnTo>
                <a:lnTo>
                  <a:pt x="107" y="1444"/>
                </a:lnTo>
                <a:lnTo>
                  <a:pt x="122" y="1420"/>
                </a:lnTo>
                <a:lnTo>
                  <a:pt x="117" y="1400"/>
                </a:lnTo>
                <a:lnTo>
                  <a:pt x="129" y="1371"/>
                </a:lnTo>
                <a:lnTo>
                  <a:pt x="127" y="1354"/>
                </a:lnTo>
                <a:lnTo>
                  <a:pt x="134" y="1343"/>
                </a:lnTo>
                <a:lnTo>
                  <a:pt x="139" y="1346"/>
                </a:lnTo>
                <a:lnTo>
                  <a:pt x="131" y="1334"/>
                </a:lnTo>
                <a:lnTo>
                  <a:pt x="134" y="1325"/>
                </a:lnTo>
                <a:lnTo>
                  <a:pt x="141" y="1326"/>
                </a:lnTo>
                <a:lnTo>
                  <a:pt x="144" y="1338"/>
                </a:lnTo>
                <a:lnTo>
                  <a:pt x="142" y="1310"/>
                </a:lnTo>
                <a:lnTo>
                  <a:pt x="129" y="1308"/>
                </a:lnTo>
                <a:lnTo>
                  <a:pt x="131" y="1300"/>
                </a:lnTo>
                <a:lnTo>
                  <a:pt x="150" y="1286"/>
                </a:lnTo>
                <a:lnTo>
                  <a:pt x="137" y="1289"/>
                </a:lnTo>
                <a:lnTo>
                  <a:pt x="119" y="1279"/>
                </a:lnTo>
                <a:lnTo>
                  <a:pt x="108" y="1293"/>
                </a:lnTo>
                <a:lnTo>
                  <a:pt x="99" y="1295"/>
                </a:lnTo>
                <a:lnTo>
                  <a:pt x="87" y="1289"/>
                </a:lnTo>
                <a:lnTo>
                  <a:pt x="79" y="1272"/>
                </a:lnTo>
                <a:lnTo>
                  <a:pt x="85" y="1181"/>
                </a:lnTo>
                <a:lnTo>
                  <a:pt x="94" y="1176"/>
                </a:lnTo>
                <a:lnTo>
                  <a:pt x="102" y="1157"/>
                </a:lnTo>
                <a:lnTo>
                  <a:pt x="100" y="1132"/>
                </a:lnTo>
                <a:lnTo>
                  <a:pt x="90" y="1102"/>
                </a:lnTo>
                <a:lnTo>
                  <a:pt x="94" y="1078"/>
                </a:lnTo>
                <a:lnTo>
                  <a:pt x="87" y="1058"/>
                </a:lnTo>
                <a:lnTo>
                  <a:pt x="88" y="1029"/>
                </a:lnTo>
                <a:lnTo>
                  <a:pt x="96" y="1020"/>
                </a:lnTo>
                <a:lnTo>
                  <a:pt x="108" y="1020"/>
                </a:lnTo>
                <a:lnTo>
                  <a:pt x="107" y="992"/>
                </a:lnTo>
                <a:lnTo>
                  <a:pt x="119" y="990"/>
                </a:lnTo>
                <a:lnTo>
                  <a:pt x="139" y="927"/>
                </a:lnTo>
                <a:lnTo>
                  <a:pt x="153" y="904"/>
                </a:lnTo>
                <a:lnTo>
                  <a:pt x="171" y="834"/>
                </a:lnTo>
                <a:lnTo>
                  <a:pt x="176" y="828"/>
                </a:lnTo>
                <a:lnTo>
                  <a:pt x="176" y="797"/>
                </a:lnTo>
                <a:lnTo>
                  <a:pt x="185" y="778"/>
                </a:lnTo>
                <a:lnTo>
                  <a:pt x="185" y="758"/>
                </a:lnTo>
                <a:lnTo>
                  <a:pt x="175" y="662"/>
                </a:lnTo>
                <a:lnTo>
                  <a:pt x="178" y="641"/>
                </a:lnTo>
                <a:lnTo>
                  <a:pt x="188" y="634"/>
                </a:lnTo>
                <a:lnTo>
                  <a:pt x="192" y="619"/>
                </a:lnTo>
                <a:lnTo>
                  <a:pt x="181" y="582"/>
                </a:lnTo>
                <a:lnTo>
                  <a:pt x="185" y="568"/>
                </a:lnTo>
                <a:lnTo>
                  <a:pt x="193" y="557"/>
                </a:lnTo>
                <a:lnTo>
                  <a:pt x="204" y="507"/>
                </a:lnTo>
                <a:lnTo>
                  <a:pt x="210" y="495"/>
                </a:lnTo>
                <a:lnTo>
                  <a:pt x="210" y="478"/>
                </a:lnTo>
                <a:lnTo>
                  <a:pt x="221" y="460"/>
                </a:lnTo>
                <a:lnTo>
                  <a:pt x="221" y="406"/>
                </a:lnTo>
                <a:lnTo>
                  <a:pt x="230" y="381"/>
                </a:lnTo>
                <a:lnTo>
                  <a:pt x="232" y="294"/>
                </a:lnTo>
                <a:lnTo>
                  <a:pt x="227" y="283"/>
                </a:lnTo>
                <a:lnTo>
                  <a:pt x="241" y="260"/>
                </a:lnTo>
                <a:lnTo>
                  <a:pt x="249" y="195"/>
                </a:lnTo>
                <a:lnTo>
                  <a:pt x="244" y="164"/>
                </a:lnTo>
                <a:lnTo>
                  <a:pt x="246" y="118"/>
                </a:lnTo>
                <a:lnTo>
                  <a:pt x="230" y="32"/>
                </a:lnTo>
                <a:lnTo>
                  <a:pt x="241" y="23"/>
                </a:lnTo>
                <a:lnTo>
                  <a:pt x="261" y="22"/>
                </a:lnTo>
                <a:lnTo>
                  <a:pt x="275" y="0"/>
                </a:lnTo>
                <a:close/>
                <a:moveTo>
                  <a:pt x="79" y="1550"/>
                </a:moveTo>
                <a:lnTo>
                  <a:pt x="83" y="1558"/>
                </a:lnTo>
                <a:lnTo>
                  <a:pt x="79" y="1558"/>
                </a:lnTo>
                <a:lnTo>
                  <a:pt x="79" y="1550"/>
                </a:lnTo>
                <a:close/>
                <a:moveTo>
                  <a:pt x="65" y="1513"/>
                </a:moveTo>
                <a:lnTo>
                  <a:pt x="79" y="1523"/>
                </a:lnTo>
                <a:lnTo>
                  <a:pt x="65" y="1513"/>
                </a:lnTo>
                <a:close/>
                <a:moveTo>
                  <a:pt x="65" y="1506"/>
                </a:moveTo>
                <a:lnTo>
                  <a:pt x="80" y="1503"/>
                </a:lnTo>
                <a:lnTo>
                  <a:pt x="83" y="1516"/>
                </a:lnTo>
                <a:lnTo>
                  <a:pt x="65" y="1506"/>
                </a:lnTo>
                <a:close/>
                <a:moveTo>
                  <a:pt x="62" y="1501"/>
                </a:moveTo>
                <a:lnTo>
                  <a:pt x="56" y="1496"/>
                </a:lnTo>
                <a:lnTo>
                  <a:pt x="65" y="1493"/>
                </a:lnTo>
                <a:lnTo>
                  <a:pt x="73" y="1496"/>
                </a:lnTo>
                <a:lnTo>
                  <a:pt x="62" y="1501"/>
                </a:lnTo>
                <a:close/>
                <a:moveTo>
                  <a:pt x="58" y="1474"/>
                </a:moveTo>
                <a:lnTo>
                  <a:pt x="73" y="1479"/>
                </a:lnTo>
                <a:lnTo>
                  <a:pt x="63" y="1484"/>
                </a:lnTo>
                <a:lnTo>
                  <a:pt x="58" y="1474"/>
                </a:lnTo>
                <a:close/>
                <a:moveTo>
                  <a:pt x="117" y="1459"/>
                </a:moveTo>
                <a:lnTo>
                  <a:pt x="127" y="1469"/>
                </a:lnTo>
                <a:lnTo>
                  <a:pt x="127" y="1487"/>
                </a:lnTo>
                <a:lnTo>
                  <a:pt x="105" y="1493"/>
                </a:lnTo>
                <a:lnTo>
                  <a:pt x="97" y="1473"/>
                </a:lnTo>
                <a:lnTo>
                  <a:pt x="117" y="1459"/>
                </a:lnTo>
                <a:close/>
                <a:moveTo>
                  <a:pt x="77" y="1293"/>
                </a:moveTo>
                <a:lnTo>
                  <a:pt x="80" y="1300"/>
                </a:lnTo>
                <a:lnTo>
                  <a:pt x="90" y="1300"/>
                </a:lnTo>
                <a:lnTo>
                  <a:pt x="100" y="1332"/>
                </a:lnTo>
                <a:lnTo>
                  <a:pt x="83" y="1346"/>
                </a:lnTo>
                <a:lnTo>
                  <a:pt x="94" y="1360"/>
                </a:lnTo>
                <a:lnTo>
                  <a:pt x="85" y="1362"/>
                </a:lnTo>
                <a:lnTo>
                  <a:pt x="91" y="1383"/>
                </a:lnTo>
                <a:lnTo>
                  <a:pt x="83" y="1383"/>
                </a:lnTo>
                <a:lnTo>
                  <a:pt x="82" y="1397"/>
                </a:lnTo>
                <a:lnTo>
                  <a:pt x="58" y="1393"/>
                </a:lnTo>
                <a:lnTo>
                  <a:pt x="53" y="1383"/>
                </a:lnTo>
                <a:lnTo>
                  <a:pt x="63" y="1354"/>
                </a:lnTo>
                <a:lnTo>
                  <a:pt x="66" y="1304"/>
                </a:lnTo>
                <a:lnTo>
                  <a:pt x="77" y="1293"/>
                </a:lnTo>
                <a:close/>
                <a:moveTo>
                  <a:pt x="230" y="2106"/>
                </a:moveTo>
                <a:lnTo>
                  <a:pt x="239" y="2141"/>
                </a:lnTo>
                <a:lnTo>
                  <a:pt x="227" y="2136"/>
                </a:lnTo>
                <a:lnTo>
                  <a:pt x="227" y="2143"/>
                </a:lnTo>
                <a:lnTo>
                  <a:pt x="241" y="2158"/>
                </a:lnTo>
                <a:lnTo>
                  <a:pt x="219" y="2141"/>
                </a:lnTo>
                <a:lnTo>
                  <a:pt x="217" y="2129"/>
                </a:lnTo>
                <a:lnTo>
                  <a:pt x="227" y="2124"/>
                </a:lnTo>
                <a:lnTo>
                  <a:pt x="226" y="2115"/>
                </a:lnTo>
                <a:lnTo>
                  <a:pt x="230" y="2106"/>
                </a:lnTo>
                <a:close/>
                <a:moveTo>
                  <a:pt x="170" y="2126"/>
                </a:moveTo>
                <a:lnTo>
                  <a:pt x="179" y="2144"/>
                </a:lnTo>
                <a:lnTo>
                  <a:pt x="185" y="2136"/>
                </a:lnTo>
                <a:lnTo>
                  <a:pt x="195" y="2140"/>
                </a:lnTo>
                <a:lnTo>
                  <a:pt x="201" y="2151"/>
                </a:lnTo>
                <a:lnTo>
                  <a:pt x="205" y="2149"/>
                </a:lnTo>
                <a:lnTo>
                  <a:pt x="210" y="2160"/>
                </a:lnTo>
                <a:lnTo>
                  <a:pt x="201" y="2165"/>
                </a:lnTo>
                <a:lnTo>
                  <a:pt x="179" y="2154"/>
                </a:lnTo>
                <a:lnTo>
                  <a:pt x="178" y="2161"/>
                </a:lnTo>
                <a:lnTo>
                  <a:pt x="159" y="2149"/>
                </a:lnTo>
                <a:lnTo>
                  <a:pt x="156" y="2132"/>
                </a:lnTo>
                <a:lnTo>
                  <a:pt x="170" y="2126"/>
                </a:lnTo>
                <a:close/>
                <a:moveTo>
                  <a:pt x="90" y="2090"/>
                </a:moveTo>
                <a:lnTo>
                  <a:pt x="111" y="2098"/>
                </a:lnTo>
                <a:lnTo>
                  <a:pt x="125" y="2095"/>
                </a:lnTo>
                <a:lnTo>
                  <a:pt x="133" y="2107"/>
                </a:lnTo>
                <a:lnTo>
                  <a:pt x="141" y="2106"/>
                </a:lnTo>
                <a:lnTo>
                  <a:pt x="153" y="2117"/>
                </a:lnTo>
                <a:lnTo>
                  <a:pt x="154" y="2126"/>
                </a:lnTo>
                <a:lnTo>
                  <a:pt x="148" y="2126"/>
                </a:lnTo>
                <a:lnTo>
                  <a:pt x="144" y="2143"/>
                </a:lnTo>
                <a:lnTo>
                  <a:pt x="136" y="2137"/>
                </a:lnTo>
                <a:lnTo>
                  <a:pt x="136" y="2146"/>
                </a:lnTo>
                <a:lnTo>
                  <a:pt x="122" y="2146"/>
                </a:lnTo>
                <a:lnTo>
                  <a:pt x="127" y="2141"/>
                </a:lnTo>
                <a:lnTo>
                  <a:pt x="103" y="2134"/>
                </a:lnTo>
                <a:lnTo>
                  <a:pt x="105" y="2121"/>
                </a:lnTo>
                <a:lnTo>
                  <a:pt x="97" y="2117"/>
                </a:lnTo>
                <a:lnTo>
                  <a:pt x="87" y="2094"/>
                </a:lnTo>
                <a:lnTo>
                  <a:pt x="90" y="2090"/>
                </a:lnTo>
                <a:close/>
                <a:moveTo>
                  <a:pt x="43" y="1963"/>
                </a:moveTo>
                <a:lnTo>
                  <a:pt x="45" y="1985"/>
                </a:lnTo>
                <a:lnTo>
                  <a:pt x="40" y="1992"/>
                </a:lnTo>
                <a:lnTo>
                  <a:pt x="37" y="1982"/>
                </a:lnTo>
                <a:lnTo>
                  <a:pt x="43" y="1963"/>
                </a:lnTo>
                <a:close/>
                <a:moveTo>
                  <a:pt x="41" y="2041"/>
                </a:moveTo>
                <a:lnTo>
                  <a:pt x="112" y="2089"/>
                </a:lnTo>
                <a:lnTo>
                  <a:pt x="96" y="2086"/>
                </a:lnTo>
                <a:lnTo>
                  <a:pt x="79" y="2077"/>
                </a:lnTo>
                <a:lnTo>
                  <a:pt x="49" y="2061"/>
                </a:lnTo>
                <a:lnTo>
                  <a:pt x="41" y="2041"/>
                </a:lnTo>
                <a:close/>
                <a:moveTo>
                  <a:pt x="85" y="2018"/>
                </a:moveTo>
                <a:lnTo>
                  <a:pt x="85" y="2033"/>
                </a:lnTo>
                <a:lnTo>
                  <a:pt x="79" y="2036"/>
                </a:lnTo>
                <a:lnTo>
                  <a:pt x="80" y="2027"/>
                </a:lnTo>
                <a:lnTo>
                  <a:pt x="77" y="2029"/>
                </a:lnTo>
                <a:lnTo>
                  <a:pt x="74" y="2021"/>
                </a:lnTo>
                <a:lnTo>
                  <a:pt x="85" y="2018"/>
                </a:lnTo>
                <a:close/>
                <a:moveTo>
                  <a:pt x="94" y="2001"/>
                </a:moveTo>
                <a:lnTo>
                  <a:pt x="114" y="1993"/>
                </a:lnTo>
                <a:lnTo>
                  <a:pt x="120" y="2009"/>
                </a:lnTo>
                <a:lnTo>
                  <a:pt x="127" y="1987"/>
                </a:lnTo>
                <a:lnTo>
                  <a:pt x="133" y="1990"/>
                </a:lnTo>
                <a:lnTo>
                  <a:pt x="136" y="2009"/>
                </a:lnTo>
                <a:lnTo>
                  <a:pt x="122" y="2033"/>
                </a:lnTo>
                <a:lnTo>
                  <a:pt x="142" y="2053"/>
                </a:lnTo>
                <a:lnTo>
                  <a:pt x="162" y="2036"/>
                </a:lnTo>
                <a:lnTo>
                  <a:pt x="185" y="2038"/>
                </a:lnTo>
                <a:lnTo>
                  <a:pt x="188" y="2052"/>
                </a:lnTo>
                <a:lnTo>
                  <a:pt x="141" y="2078"/>
                </a:lnTo>
                <a:lnTo>
                  <a:pt x="142" y="2098"/>
                </a:lnTo>
                <a:lnTo>
                  <a:pt x="136" y="2095"/>
                </a:lnTo>
                <a:lnTo>
                  <a:pt x="112" y="2073"/>
                </a:lnTo>
                <a:lnTo>
                  <a:pt x="133" y="2073"/>
                </a:lnTo>
                <a:lnTo>
                  <a:pt x="124" y="2056"/>
                </a:lnTo>
                <a:lnTo>
                  <a:pt x="117" y="2063"/>
                </a:lnTo>
                <a:lnTo>
                  <a:pt x="105" y="2063"/>
                </a:lnTo>
                <a:lnTo>
                  <a:pt x="107" y="2055"/>
                </a:lnTo>
                <a:lnTo>
                  <a:pt x="90" y="2041"/>
                </a:lnTo>
                <a:lnTo>
                  <a:pt x="94" y="2001"/>
                </a:lnTo>
                <a:close/>
                <a:moveTo>
                  <a:pt x="85" y="1950"/>
                </a:moveTo>
                <a:lnTo>
                  <a:pt x="87" y="1963"/>
                </a:lnTo>
                <a:lnTo>
                  <a:pt x="77" y="1942"/>
                </a:lnTo>
                <a:lnTo>
                  <a:pt x="85" y="1950"/>
                </a:lnTo>
                <a:close/>
                <a:moveTo>
                  <a:pt x="70" y="1960"/>
                </a:moveTo>
                <a:lnTo>
                  <a:pt x="79" y="1975"/>
                </a:lnTo>
                <a:lnTo>
                  <a:pt x="66" y="1968"/>
                </a:lnTo>
                <a:lnTo>
                  <a:pt x="65" y="1954"/>
                </a:lnTo>
                <a:lnTo>
                  <a:pt x="70" y="1960"/>
                </a:lnTo>
                <a:close/>
                <a:moveTo>
                  <a:pt x="31" y="1993"/>
                </a:moveTo>
                <a:lnTo>
                  <a:pt x="28" y="1993"/>
                </a:lnTo>
                <a:lnTo>
                  <a:pt x="28" y="1982"/>
                </a:lnTo>
                <a:lnTo>
                  <a:pt x="32" y="1960"/>
                </a:lnTo>
                <a:lnTo>
                  <a:pt x="36" y="1975"/>
                </a:lnTo>
                <a:lnTo>
                  <a:pt x="31" y="1993"/>
                </a:lnTo>
                <a:close/>
                <a:moveTo>
                  <a:pt x="31" y="1942"/>
                </a:moveTo>
                <a:lnTo>
                  <a:pt x="43" y="1923"/>
                </a:lnTo>
                <a:lnTo>
                  <a:pt x="46" y="1937"/>
                </a:lnTo>
                <a:lnTo>
                  <a:pt x="31" y="1942"/>
                </a:lnTo>
                <a:close/>
                <a:moveTo>
                  <a:pt x="53" y="1908"/>
                </a:moveTo>
                <a:lnTo>
                  <a:pt x="49" y="1925"/>
                </a:lnTo>
                <a:lnTo>
                  <a:pt x="43" y="1920"/>
                </a:lnTo>
                <a:lnTo>
                  <a:pt x="34" y="1902"/>
                </a:lnTo>
                <a:lnTo>
                  <a:pt x="34" y="1885"/>
                </a:lnTo>
                <a:lnTo>
                  <a:pt x="49" y="1894"/>
                </a:lnTo>
                <a:lnTo>
                  <a:pt x="53" y="1908"/>
                </a:lnTo>
                <a:close/>
                <a:moveTo>
                  <a:pt x="51" y="1887"/>
                </a:moveTo>
                <a:lnTo>
                  <a:pt x="46" y="1885"/>
                </a:lnTo>
                <a:lnTo>
                  <a:pt x="40" y="1865"/>
                </a:lnTo>
                <a:lnTo>
                  <a:pt x="60" y="1883"/>
                </a:lnTo>
                <a:lnTo>
                  <a:pt x="65" y="1897"/>
                </a:lnTo>
                <a:lnTo>
                  <a:pt x="51" y="1887"/>
                </a:lnTo>
                <a:close/>
                <a:moveTo>
                  <a:pt x="9" y="1860"/>
                </a:moveTo>
                <a:lnTo>
                  <a:pt x="9" y="1852"/>
                </a:lnTo>
                <a:lnTo>
                  <a:pt x="32" y="1853"/>
                </a:lnTo>
                <a:lnTo>
                  <a:pt x="28" y="1872"/>
                </a:lnTo>
                <a:lnTo>
                  <a:pt x="17" y="1863"/>
                </a:lnTo>
                <a:lnTo>
                  <a:pt x="11" y="1866"/>
                </a:lnTo>
                <a:lnTo>
                  <a:pt x="9" y="1860"/>
                </a:lnTo>
                <a:close/>
                <a:moveTo>
                  <a:pt x="2" y="1816"/>
                </a:moveTo>
                <a:lnTo>
                  <a:pt x="7" y="1812"/>
                </a:lnTo>
                <a:lnTo>
                  <a:pt x="15" y="1826"/>
                </a:lnTo>
                <a:lnTo>
                  <a:pt x="6" y="1828"/>
                </a:lnTo>
                <a:lnTo>
                  <a:pt x="2" y="1816"/>
                </a:lnTo>
                <a:close/>
                <a:moveTo>
                  <a:pt x="26" y="1765"/>
                </a:moveTo>
                <a:lnTo>
                  <a:pt x="26" y="1753"/>
                </a:lnTo>
                <a:lnTo>
                  <a:pt x="36" y="1745"/>
                </a:lnTo>
                <a:lnTo>
                  <a:pt x="48" y="1762"/>
                </a:lnTo>
                <a:lnTo>
                  <a:pt x="51" y="1823"/>
                </a:lnTo>
                <a:lnTo>
                  <a:pt x="46" y="1840"/>
                </a:lnTo>
                <a:lnTo>
                  <a:pt x="37" y="1841"/>
                </a:lnTo>
                <a:lnTo>
                  <a:pt x="32" y="1833"/>
                </a:lnTo>
                <a:lnTo>
                  <a:pt x="34" y="1804"/>
                </a:lnTo>
                <a:lnTo>
                  <a:pt x="15" y="1789"/>
                </a:lnTo>
                <a:lnTo>
                  <a:pt x="26" y="1790"/>
                </a:lnTo>
                <a:lnTo>
                  <a:pt x="28" y="1781"/>
                </a:lnTo>
                <a:lnTo>
                  <a:pt x="17" y="1775"/>
                </a:lnTo>
                <a:lnTo>
                  <a:pt x="26" y="1765"/>
                </a:lnTo>
                <a:close/>
                <a:moveTo>
                  <a:pt x="4" y="1739"/>
                </a:moveTo>
                <a:lnTo>
                  <a:pt x="4" y="1731"/>
                </a:lnTo>
                <a:lnTo>
                  <a:pt x="9" y="1730"/>
                </a:lnTo>
                <a:lnTo>
                  <a:pt x="12" y="1739"/>
                </a:lnTo>
                <a:lnTo>
                  <a:pt x="6" y="1750"/>
                </a:lnTo>
                <a:lnTo>
                  <a:pt x="4" y="1739"/>
                </a:lnTo>
                <a:close/>
                <a:moveTo>
                  <a:pt x="29" y="1727"/>
                </a:moveTo>
                <a:lnTo>
                  <a:pt x="40" y="1728"/>
                </a:lnTo>
                <a:lnTo>
                  <a:pt x="48" y="1741"/>
                </a:lnTo>
                <a:lnTo>
                  <a:pt x="31" y="1735"/>
                </a:lnTo>
                <a:lnTo>
                  <a:pt x="29" y="1727"/>
                </a:lnTo>
                <a:close/>
                <a:moveTo>
                  <a:pt x="6" y="1710"/>
                </a:moveTo>
                <a:lnTo>
                  <a:pt x="4" y="1702"/>
                </a:lnTo>
                <a:lnTo>
                  <a:pt x="11" y="1699"/>
                </a:lnTo>
                <a:lnTo>
                  <a:pt x="23" y="1736"/>
                </a:lnTo>
                <a:lnTo>
                  <a:pt x="6" y="1710"/>
                </a:lnTo>
                <a:close/>
                <a:moveTo>
                  <a:pt x="19" y="1704"/>
                </a:moveTo>
                <a:lnTo>
                  <a:pt x="34" y="1710"/>
                </a:lnTo>
                <a:lnTo>
                  <a:pt x="36" y="1718"/>
                </a:lnTo>
                <a:lnTo>
                  <a:pt x="29" y="1721"/>
                </a:lnTo>
                <a:lnTo>
                  <a:pt x="19" y="1704"/>
                </a:lnTo>
                <a:close/>
                <a:moveTo>
                  <a:pt x="26" y="1677"/>
                </a:moveTo>
                <a:lnTo>
                  <a:pt x="23" y="1685"/>
                </a:lnTo>
                <a:lnTo>
                  <a:pt x="12" y="1685"/>
                </a:lnTo>
                <a:lnTo>
                  <a:pt x="26" y="1677"/>
                </a:lnTo>
                <a:close/>
                <a:moveTo>
                  <a:pt x="58" y="1682"/>
                </a:moveTo>
                <a:lnTo>
                  <a:pt x="43" y="1679"/>
                </a:lnTo>
                <a:lnTo>
                  <a:pt x="43" y="1674"/>
                </a:lnTo>
                <a:lnTo>
                  <a:pt x="49" y="1667"/>
                </a:lnTo>
                <a:lnTo>
                  <a:pt x="58" y="1682"/>
                </a:lnTo>
                <a:close/>
                <a:moveTo>
                  <a:pt x="260" y="2229"/>
                </a:moveTo>
                <a:lnTo>
                  <a:pt x="329" y="2214"/>
                </a:lnTo>
                <a:lnTo>
                  <a:pt x="337" y="2225"/>
                </a:lnTo>
                <a:lnTo>
                  <a:pt x="339" y="2236"/>
                </a:lnTo>
                <a:lnTo>
                  <a:pt x="342" y="2241"/>
                </a:lnTo>
                <a:lnTo>
                  <a:pt x="345" y="2251"/>
                </a:lnTo>
                <a:lnTo>
                  <a:pt x="353" y="2273"/>
                </a:lnTo>
                <a:lnTo>
                  <a:pt x="332" y="2253"/>
                </a:lnTo>
                <a:lnTo>
                  <a:pt x="319" y="2256"/>
                </a:lnTo>
                <a:lnTo>
                  <a:pt x="302" y="2237"/>
                </a:lnTo>
                <a:lnTo>
                  <a:pt x="288" y="2242"/>
                </a:lnTo>
                <a:lnTo>
                  <a:pt x="302" y="2259"/>
                </a:lnTo>
                <a:lnTo>
                  <a:pt x="286" y="2259"/>
                </a:lnTo>
                <a:lnTo>
                  <a:pt x="275" y="2244"/>
                </a:lnTo>
                <a:lnTo>
                  <a:pt x="286" y="2233"/>
                </a:lnTo>
                <a:lnTo>
                  <a:pt x="263" y="2239"/>
                </a:lnTo>
                <a:lnTo>
                  <a:pt x="260" y="2229"/>
                </a:lnTo>
                <a:close/>
                <a:moveTo>
                  <a:pt x="295" y="2216"/>
                </a:moveTo>
                <a:lnTo>
                  <a:pt x="266" y="2222"/>
                </a:lnTo>
                <a:lnTo>
                  <a:pt x="263" y="2211"/>
                </a:lnTo>
                <a:lnTo>
                  <a:pt x="295" y="2216"/>
                </a:lnTo>
                <a:close/>
                <a:moveTo>
                  <a:pt x="239" y="2237"/>
                </a:moveTo>
                <a:lnTo>
                  <a:pt x="227" y="2225"/>
                </a:lnTo>
                <a:lnTo>
                  <a:pt x="239" y="2227"/>
                </a:lnTo>
                <a:lnTo>
                  <a:pt x="239" y="2237"/>
                </a:lnTo>
                <a:close/>
                <a:moveTo>
                  <a:pt x="210" y="2224"/>
                </a:moveTo>
                <a:lnTo>
                  <a:pt x="219" y="2214"/>
                </a:lnTo>
                <a:lnTo>
                  <a:pt x="222" y="2222"/>
                </a:lnTo>
                <a:lnTo>
                  <a:pt x="210" y="2224"/>
                </a:lnTo>
                <a:close/>
                <a:moveTo>
                  <a:pt x="345" y="2217"/>
                </a:moveTo>
                <a:lnTo>
                  <a:pt x="336" y="2212"/>
                </a:lnTo>
                <a:lnTo>
                  <a:pt x="357" y="2208"/>
                </a:lnTo>
                <a:lnTo>
                  <a:pt x="386" y="2214"/>
                </a:lnTo>
                <a:lnTo>
                  <a:pt x="393" y="2233"/>
                </a:lnTo>
                <a:lnTo>
                  <a:pt x="383" y="2242"/>
                </a:lnTo>
                <a:lnTo>
                  <a:pt x="371" y="2234"/>
                </a:lnTo>
                <a:lnTo>
                  <a:pt x="363" y="2237"/>
                </a:lnTo>
                <a:lnTo>
                  <a:pt x="348" y="2233"/>
                </a:lnTo>
                <a:lnTo>
                  <a:pt x="345" y="2217"/>
                </a:lnTo>
                <a:close/>
                <a:moveTo>
                  <a:pt x="322" y="2207"/>
                </a:moveTo>
                <a:lnTo>
                  <a:pt x="302" y="2216"/>
                </a:lnTo>
                <a:lnTo>
                  <a:pt x="277" y="2203"/>
                </a:lnTo>
                <a:lnTo>
                  <a:pt x="215" y="2202"/>
                </a:lnTo>
                <a:lnTo>
                  <a:pt x="212" y="2197"/>
                </a:lnTo>
                <a:lnTo>
                  <a:pt x="219" y="2190"/>
                </a:lnTo>
                <a:lnTo>
                  <a:pt x="195" y="2190"/>
                </a:lnTo>
                <a:lnTo>
                  <a:pt x="193" y="2177"/>
                </a:lnTo>
                <a:lnTo>
                  <a:pt x="224" y="2165"/>
                </a:lnTo>
                <a:lnTo>
                  <a:pt x="212" y="2144"/>
                </a:lnTo>
                <a:lnTo>
                  <a:pt x="247" y="2173"/>
                </a:lnTo>
                <a:lnTo>
                  <a:pt x="255" y="2168"/>
                </a:lnTo>
                <a:lnTo>
                  <a:pt x="246" y="2161"/>
                </a:lnTo>
                <a:lnTo>
                  <a:pt x="251" y="2157"/>
                </a:lnTo>
                <a:lnTo>
                  <a:pt x="261" y="2168"/>
                </a:lnTo>
                <a:lnTo>
                  <a:pt x="263" y="2160"/>
                </a:lnTo>
                <a:lnTo>
                  <a:pt x="277" y="2169"/>
                </a:lnTo>
                <a:lnTo>
                  <a:pt x="286" y="2165"/>
                </a:lnTo>
                <a:lnTo>
                  <a:pt x="256" y="2149"/>
                </a:lnTo>
                <a:lnTo>
                  <a:pt x="249" y="2119"/>
                </a:lnTo>
                <a:lnTo>
                  <a:pt x="285" y="2103"/>
                </a:lnTo>
                <a:lnTo>
                  <a:pt x="286" y="2092"/>
                </a:lnTo>
                <a:lnTo>
                  <a:pt x="277" y="2086"/>
                </a:lnTo>
                <a:lnTo>
                  <a:pt x="249" y="2094"/>
                </a:lnTo>
                <a:lnTo>
                  <a:pt x="238" y="2086"/>
                </a:lnTo>
                <a:lnTo>
                  <a:pt x="236" y="2060"/>
                </a:lnTo>
                <a:lnTo>
                  <a:pt x="249" y="2061"/>
                </a:lnTo>
                <a:lnTo>
                  <a:pt x="251" y="2055"/>
                </a:lnTo>
                <a:lnTo>
                  <a:pt x="246" y="2046"/>
                </a:lnTo>
                <a:lnTo>
                  <a:pt x="238" y="2041"/>
                </a:lnTo>
                <a:lnTo>
                  <a:pt x="268" y="2039"/>
                </a:lnTo>
                <a:lnTo>
                  <a:pt x="273" y="2022"/>
                </a:lnTo>
                <a:lnTo>
                  <a:pt x="283" y="2019"/>
                </a:lnTo>
                <a:lnTo>
                  <a:pt x="290" y="2031"/>
                </a:lnTo>
                <a:lnTo>
                  <a:pt x="314" y="2026"/>
                </a:lnTo>
                <a:lnTo>
                  <a:pt x="319" y="2033"/>
                </a:lnTo>
                <a:lnTo>
                  <a:pt x="322" y="2207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57" name="Freeform 249"/>
          <p:cNvSpPr>
            <a:spLocks noChangeAspect="1" noEditPoints="1"/>
          </p:cNvSpPr>
          <p:nvPr/>
        </p:nvSpPr>
        <p:spPr bwMode="gray">
          <a:xfrm>
            <a:off x="3040063" y="5168900"/>
            <a:ext cx="73025" cy="36513"/>
          </a:xfrm>
          <a:custGeom>
            <a:avLst/>
            <a:gdLst>
              <a:gd name="T0" fmla="*/ 2147483647 w 147"/>
              <a:gd name="T1" fmla="*/ 2147483647 h 77"/>
              <a:gd name="T2" fmla="*/ 2147483647 w 147"/>
              <a:gd name="T3" fmla="*/ 2147483647 h 77"/>
              <a:gd name="T4" fmla="*/ 2147483647 w 147"/>
              <a:gd name="T5" fmla="*/ 2147483647 h 77"/>
              <a:gd name="T6" fmla="*/ 2147483647 w 147"/>
              <a:gd name="T7" fmla="*/ 2147483647 h 77"/>
              <a:gd name="T8" fmla="*/ 2147483647 w 147"/>
              <a:gd name="T9" fmla="*/ 2147483647 h 77"/>
              <a:gd name="T10" fmla="*/ 2147483647 w 147"/>
              <a:gd name="T11" fmla="*/ 2147483647 h 77"/>
              <a:gd name="T12" fmla="*/ 2147483647 w 147"/>
              <a:gd name="T13" fmla="*/ 2147483647 h 77"/>
              <a:gd name="T14" fmla="*/ 0 w 147"/>
              <a:gd name="T15" fmla="*/ 2147483647 h 77"/>
              <a:gd name="T16" fmla="*/ 2147483647 w 147"/>
              <a:gd name="T17" fmla="*/ 2147483647 h 77"/>
              <a:gd name="T18" fmla="*/ 2147483647 w 147"/>
              <a:gd name="T19" fmla="*/ 2147483647 h 77"/>
              <a:gd name="T20" fmla="*/ 2147483647 w 147"/>
              <a:gd name="T21" fmla="*/ 2147483647 h 77"/>
              <a:gd name="T22" fmla="*/ 2147483647 w 147"/>
              <a:gd name="T23" fmla="*/ 2147483647 h 77"/>
              <a:gd name="T24" fmla="*/ 2147483647 w 147"/>
              <a:gd name="T25" fmla="*/ 2147483647 h 77"/>
              <a:gd name="T26" fmla="*/ 2147483647 w 147"/>
              <a:gd name="T27" fmla="*/ 2147483647 h 77"/>
              <a:gd name="T28" fmla="*/ 2147483647 w 147"/>
              <a:gd name="T29" fmla="*/ 2147483647 h 77"/>
              <a:gd name="T30" fmla="*/ 2147483647 w 147"/>
              <a:gd name="T31" fmla="*/ 2147483647 h 77"/>
              <a:gd name="T32" fmla="*/ 2147483647 w 147"/>
              <a:gd name="T33" fmla="*/ 2147483647 h 77"/>
              <a:gd name="T34" fmla="*/ 2147483647 w 147"/>
              <a:gd name="T35" fmla="*/ 2147483647 h 77"/>
              <a:gd name="T36" fmla="*/ 2147483647 w 147"/>
              <a:gd name="T37" fmla="*/ 2147483647 h 77"/>
              <a:gd name="T38" fmla="*/ 2147483647 w 147"/>
              <a:gd name="T39" fmla="*/ 2147483647 h 77"/>
              <a:gd name="T40" fmla="*/ 2147483647 w 147"/>
              <a:gd name="T41" fmla="*/ 2147483647 h 77"/>
              <a:gd name="T42" fmla="*/ 2147483647 w 147"/>
              <a:gd name="T43" fmla="*/ 2147483647 h 77"/>
              <a:gd name="T44" fmla="*/ 2147483647 w 147"/>
              <a:gd name="T45" fmla="*/ 2147483647 h 77"/>
              <a:gd name="T46" fmla="*/ 2147483647 w 147"/>
              <a:gd name="T47" fmla="*/ 2147483647 h 77"/>
              <a:gd name="T48" fmla="*/ 2147483647 w 147"/>
              <a:gd name="T49" fmla="*/ 2147483647 h 77"/>
              <a:gd name="T50" fmla="*/ 2147483647 w 147"/>
              <a:gd name="T51" fmla="*/ 2147483647 h 77"/>
              <a:gd name="T52" fmla="*/ 2147483647 w 147"/>
              <a:gd name="T53" fmla="*/ 2147483647 h 77"/>
              <a:gd name="T54" fmla="*/ 2147483647 w 147"/>
              <a:gd name="T55" fmla="*/ 2147483647 h 77"/>
              <a:gd name="T56" fmla="*/ 2147483647 w 147"/>
              <a:gd name="T57" fmla="*/ 2147483647 h 77"/>
              <a:gd name="T58" fmla="*/ 2147483647 w 147"/>
              <a:gd name="T59" fmla="*/ 2147483647 h 77"/>
              <a:gd name="T60" fmla="*/ 2147483647 w 147"/>
              <a:gd name="T61" fmla="*/ 0 h 77"/>
              <a:gd name="T62" fmla="*/ 2147483647 w 147"/>
              <a:gd name="T63" fmla="*/ 0 h 77"/>
              <a:gd name="T64" fmla="*/ 2147483647 w 147"/>
              <a:gd name="T65" fmla="*/ 2147483647 h 77"/>
              <a:gd name="T66" fmla="*/ 2147483647 w 147"/>
              <a:gd name="T67" fmla="*/ 2147483647 h 77"/>
              <a:gd name="T68" fmla="*/ 2147483647 w 147"/>
              <a:gd name="T69" fmla="*/ 2147483647 h 77"/>
              <a:gd name="T70" fmla="*/ 2147483647 w 147"/>
              <a:gd name="T71" fmla="*/ 2147483647 h 77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147"/>
              <a:gd name="T109" fmla="*/ 0 h 77"/>
              <a:gd name="T110" fmla="*/ 147 w 147"/>
              <a:gd name="T111" fmla="*/ 77 h 77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147" h="77">
                <a:moveTo>
                  <a:pt x="73" y="9"/>
                </a:moveTo>
                <a:lnTo>
                  <a:pt x="80" y="13"/>
                </a:lnTo>
                <a:lnTo>
                  <a:pt x="76" y="21"/>
                </a:lnTo>
                <a:lnTo>
                  <a:pt x="52" y="51"/>
                </a:lnTo>
                <a:lnTo>
                  <a:pt x="34" y="52"/>
                </a:lnTo>
                <a:lnTo>
                  <a:pt x="34" y="59"/>
                </a:lnTo>
                <a:lnTo>
                  <a:pt x="17" y="69"/>
                </a:lnTo>
                <a:lnTo>
                  <a:pt x="0" y="55"/>
                </a:lnTo>
                <a:lnTo>
                  <a:pt x="20" y="51"/>
                </a:lnTo>
                <a:lnTo>
                  <a:pt x="26" y="38"/>
                </a:lnTo>
                <a:lnTo>
                  <a:pt x="43" y="30"/>
                </a:lnTo>
                <a:lnTo>
                  <a:pt x="22" y="17"/>
                </a:lnTo>
                <a:lnTo>
                  <a:pt x="26" y="13"/>
                </a:lnTo>
                <a:lnTo>
                  <a:pt x="18" y="4"/>
                </a:lnTo>
                <a:lnTo>
                  <a:pt x="39" y="13"/>
                </a:lnTo>
                <a:lnTo>
                  <a:pt x="73" y="9"/>
                </a:lnTo>
                <a:close/>
                <a:moveTo>
                  <a:pt x="141" y="34"/>
                </a:moveTo>
                <a:lnTo>
                  <a:pt x="124" y="42"/>
                </a:lnTo>
                <a:lnTo>
                  <a:pt x="97" y="42"/>
                </a:lnTo>
                <a:lnTo>
                  <a:pt x="107" y="60"/>
                </a:lnTo>
                <a:lnTo>
                  <a:pt x="88" y="54"/>
                </a:lnTo>
                <a:lnTo>
                  <a:pt x="86" y="64"/>
                </a:lnTo>
                <a:lnTo>
                  <a:pt x="91" y="69"/>
                </a:lnTo>
                <a:lnTo>
                  <a:pt x="76" y="64"/>
                </a:lnTo>
                <a:lnTo>
                  <a:pt x="73" y="77"/>
                </a:lnTo>
                <a:lnTo>
                  <a:pt x="61" y="59"/>
                </a:lnTo>
                <a:lnTo>
                  <a:pt x="65" y="40"/>
                </a:lnTo>
                <a:lnTo>
                  <a:pt x="80" y="30"/>
                </a:lnTo>
                <a:lnTo>
                  <a:pt x="91" y="37"/>
                </a:lnTo>
                <a:lnTo>
                  <a:pt x="86" y="10"/>
                </a:lnTo>
                <a:lnTo>
                  <a:pt x="99" y="0"/>
                </a:lnTo>
                <a:lnTo>
                  <a:pt x="111" y="0"/>
                </a:lnTo>
                <a:lnTo>
                  <a:pt x="122" y="12"/>
                </a:lnTo>
                <a:lnTo>
                  <a:pt x="139" y="10"/>
                </a:lnTo>
                <a:lnTo>
                  <a:pt x="147" y="27"/>
                </a:lnTo>
                <a:lnTo>
                  <a:pt x="141" y="34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58" name="Freeform 250"/>
          <p:cNvSpPr>
            <a:spLocks noChangeAspect="1" noEditPoints="1"/>
          </p:cNvSpPr>
          <p:nvPr/>
        </p:nvSpPr>
        <p:spPr bwMode="gray">
          <a:xfrm>
            <a:off x="1003300" y="4154488"/>
            <a:ext cx="357188" cy="207962"/>
          </a:xfrm>
          <a:custGeom>
            <a:avLst/>
            <a:gdLst>
              <a:gd name="T0" fmla="*/ 2147483647 w 737"/>
              <a:gd name="T1" fmla="*/ 2147483647 h 426"/>
              <a:gd name="T2" fmla="*/ 2147483647 w 737"/>
              <a:gd name="T3" fmla="*/ 2147483647 h 426"/>
              <a:gd name="T4" fmla="*/ 2147483647 w 737"/>
              <a:gd name="T5" fmla="*/ 2147483647 h 426"/>
              <a:gd name="T6" fmla="*/ 2147483647 w 737"/>
              <a:gd name="T7" fmla="*/ 2147483647 h 426"/>
              <a:gd name="T8" fmla="*/ 2147483647 w 737"/>
              <a:gd name="T9" fmla="*/ 2147483647 h 426"/>
              <a:gd name="T10" fmla="*/ 2147483647 w 737"/>
              <a:gd name="T11" fmla="*/ 2147483647 h 426"/>
              <a:gd name="T12" fmla="*/ 2147483647 w 737"/>
              <a:gd name="T13" fmla="*/ 2147483647 h 426"/>
              <a:gd name="T14" fmla="*/ 2147483647 w 737"/>
              <a:gd name="T15" fmla="*/ 2147483647 h 426"/>
              <a:gd name="T16" fmla="*/ 2147483647 w 737"/>
              <a:gd name="T17" fmla="*/ 2147483647 h 426"/>
              <a:gd name="T18" fmla="*/ 2147483647 w 737"/>
              <a:gd name="T19" fmla="*/ 2147483647 h 426"/>
              <a:gd name="T20" fmla="*/ 2147483647 w 737"/>
              <a:gd name="T21" fmla="*/ 2147483647 h 426"/>
              <a:gd name="T22" fmla="*/ 2147483647 w 737"/>
              <a:gd name="T23" fmla="*/ 2147483647 h 426"/>
              <a:gd name="T24" fmla="*/ 2147483647 w 737"/>
              <a:gd name="T25" fmla="*/ 2147483647 h 426"/>
              <a:gd name="T26" fmla="*/ 2147483647 w 737"/>
              <a:gd name="T27" fmla="*/ 2147483647 h 426"/>
              <a:gd name="T28" fmla="*/ 2147483647 w 737"/>
              <a:gd name="T29" fmla="*/ 2147483647 h 426"/>
              <a:gd name="T30" fmla="*/ 2147483647 w 737"/>
              <a:gd name="T31" fmla="*/ 2147483647 h 426"/>
              <a:gd name="T32" fmla="*/ 2147483647 w 737"/>
              <a:gd name="T33" fmla="*/ 2147483647 h 426"/>
              <a:gd name="T34" fmla="*/ 2147483647 w 737"/>
              <a:gd name="T35" fmla="*/ 2147483647 h 426"/>
              <a:gd name="T36" fmla="*/ 2147483647 w 737"/>
              <a:gd name="T37" fmla="*/ 2147483647 h 426"/>
              <a:gd name="T38" fmla="*/ 2147483647 w 737"/>
              <a:gd name="T39" fmla="*/ 2147483647 h 426"/>
              <a:gd name="T40" fmla="*/ 2147483647 w 737"/>
              <a:gd name="T41" fmla="*/ 2147483647 h 426"/>
              <a:gd name="T42" fmla="*/ 2147483647 w 737"/>
              <a:gd name="T43" fmla="*/ 2147483647 h 426"/>
              <a:gd name="T44" fmla="*/ 2147483647 w 737"/>
              <a:gd name="T45" fmla="*/ 2147483647 h 426"/>
              <a:gd name="T46" fmla="*/ 2147483647 w 737"/>
              <a:gd name="T47" fmla="*/ 2147483647 h 426"/>
              <a:gd name="T48" fmla="*/ 2147483647 w 737"/>
              <a:gd name="T49" fmla="*/ 2147483647 h 426"/>
              <a:gd name="T50" fmla="*/ 2147483647 w 737"/>
              <a:gd name="T51" fmla="*/ 2147483647 h 426"/>
              <a:gd name="T52" fmla="*/ 2147483647 w 737"/>
              <a:gd name="T53" fmla="*/ 2147483647 h 426"/>
              <a:gd name="T54" fmla="*/ 2147483647 w 737"/>
              <a:gd name="T55" fmla="*/ 2147483647 h 426"/>
              <a:gd name="T56" fmla="*/ 2147483647 w 737"/>
              <a:gd name="T57" fmla="*/ 2147483647 h 426"/>
              <a:gd name="T58" fmla="*/ 2147483647 w 737"/>
              <a:gd name="T59" fmla="*/ 2147483647 h 426"/>
              <a:gd name="T60" fmla="*/ 2147483647 w 737"/>
              <a:gd name="T61" fmla="*/ 2147483647 h 426"/>
              <a:gd name="T62" fmla="*/ 2147483647 w 737"/>
              <a:gd name="T63" fmla="*/ 0 h 426"/>
              <a:gd name="T64" fmla="*/ 2147483647 w 737"/>
              <a:gd name="T65" fmla="*/ 2147483647 h 426"/>
              <a:gd name="T66" fmla="*/ 2147483647 w 737"/>
              <a:gd name="T67" fmla="*/ 0 h 426"/>
              <a:gd name="T68" fmla="*/ 2147483647 w 737"/>
              <a:gd name="T69" fmla="*/ 0 h 426"/>
              <a:gd name="T70" fmla="*/ 2147483647 w 737"/>
              <a:gd name="T71" fmla="*/ 2147483647 h 426"/>
              <a:gd name="T72" fmla="*/ 2147483647 w 737"/>
              <a:gd name="T73" fmla="*/ 2147483647 h 426"/>
              <a:gd name="T74" fmla="*/ 2147483647 w 737"/>
              <a:gd name="T75" fmla="*/ 2147483647 h 426"/>
              <a:gd name="T76" fmla="*/ 2147483647 w 737"/>
              <a:gd name="T77" fmla="*/ 2147483647 h 426"/>
              <a:gd name="T78" fmla="*/ 2147483647 w 737"/>
              <a:gd name="T79" fmla="*/ 2147483647 h 426"/>
              <a:gd name="T80" fmla="*/ 2147483647 w 737"/>
              <a:gd name="T81" fmla="*/ 2147483647 h 426"/>
              <a:gd name="T82" fmla="*/ 2147483647 w 737"/>
              <a:gd name="T83" fmla="*/ 2147483647 h 426"/>
              <a:gd name="T84" fmla="*/ 0 w 737"/>
              <a:gd name="T85" fmla="*/ 2147483647 h 426"/>
              <a:gd name="T86" fmla="*/ 2147483647 w 737"/>
              <a:gd name="T87" fmla="*/ 2147483647 h 426"/>
              <a:gd name="T88" fmla="*/ 2147483647 w 737"/>
              <a:gd name="T89" fmla="*/ 2147483647 h 426"/>
              <a:gd name="T90" fmla="*/ 0 w 737"/>
              <a:gd name="T91" fmla="*/ 2147483647 h 42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737"/>
              <a:gd name="T139" fmla="*/ 0 h 426"/>
              <a:gd name="T140" fmla="*/ 737 w 737"/>
              <a:gd name="T141" fmla="*/ 426 h 42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737" h="426">
                <a:moveTo>
                  <a:pt x="735" y="340"/>
                </a:moveTo>
                <a:lnTo>
                  <a:pt x="732" y="347"/>
                </a:lnTo>
                <a:lnTo>
                  <a:pt x="737" y="346"/>
                </a:lnTo>
                <a:lnTo>
                  <a:pt x="735" y="340"/>
                </a:lnTo>
                <a:close/>
                <a:moveTo>
                  <a:pt x="500" y="355"/>
                </a:moveTo>
                <a:lnTo>
                  <a:pt x="502" y="350"/>
                </a:lnTo>
                <a:lnTo>
                  <a:pt x="500" y="355"/>
                </a:lnTo>
                <a:close/>
                <a:moveTo>
                  <a:pt x="511" y="254"/>
                </a:moveTo>
                <a:lnTo>
                  <a:pt x="512" y="249"/>
                </a:lnTo>
                <a:lnTo>
                  <a:pt x="511" y="254"/>
                </a:lnTo>
                <a:close/>
                <a:moveTo>
                  <a:pt x="304" y="261"/>
                </a:moveTo>
                <a:lnTo>
                  <a:pt x="300" y="266"/>
                </a:lnTo>
                <a:lnTo>
                  <a:pt x="304" y="261"/>
                </a:lnTo>
                <a:close/>
                <a:moveTo>
                  <a:pt x="664" y="423"/>
                </a:moveTo>
                <a:lnTo>
                  <a:pt x="661" y="426"/>
                </a:lnTo>
                <a:lnTo>
                  <a:pt x="664" y="423"/>
                </a:lnTo>
                <a:close/>
                <a:moveTo>
                  <a:pt x="101" y="152"/>
                </a:moveTo>
                <a:lnTo>
                  <a:pt x="109" y="162"/>
                </a:lnTo>
                <a:lnTo>
                  <a:pt x="105" y="168"/>
                </a:lnTo>
                <a:lnTo>
                  <a:pt x="102" y="160"/>
                </a:lnTo>
                <a:lnTo>
                  <a:pt x="95" y="160"/>
                </a:lnTo>
                <a:lnTo>
                  <a:pt x="90" y="156"/>
                </a:lnTo>
                <a:lnTo>
                  <a:pt x="90" y="149"/>
                </a:lnTo>
                <a:lnTo>
                  <a:pt x="101" y="152"/>
                </a:lnTo>
                <a:close/>
                <a:moveTo>
                  <a:pt x="75" y="149"/>
                </a:moveTo>
                <a:lnTo>
                  <a:pt x="75" y="152"/>
                </a:lnTo>
                <a:lnTo>
                  <a:pt x="80" y="148"/>
                </a:lnTo>
                <a:lnTo>
                  <a:pt x="75" y="149"/>
                </a:lnTo>
                <a:close/>
                <a:moveTo>
                  <a:pt x="520" y="76"/>
                </a:moveTo>
                <a:lnTo>
                  <a:pt x="525" y="72"/>
                </a:lnTo>
                <a:lnTo>
                  <a:pt x="520" y="76"/>
                </a:lnTo>
                <a:close/>
                <a:moveTo>
                  <a:pt x="254" y="0"/>
                </a:moveTo>
                <a:lnTo>
                  <a:pt x="251" y="5"/>
                </a:lnTo>
                <a:lnTo>
                  <a:pt x="260" y="0"/>
                </a:lnTo>
                <a:lnTo>
                  <a:pt x="254" y="0"/>
                </a:lnTo>
                <a:close/>
                <a:moveTo>
                  <a:pt x="239" y="2"/>
                </a:moveTo>
                <a:lnTo>
                  <a:pt x="236" y="8"/>
                </a:lnTo>
                <a:lnTo>
                  <a:pt x="239" y="2"/>
                </a:lnTo>
                <a:close/>
                <a:moveTo>
                  <a:pt x="277" y="140"/>
                </a:moveTo>
                <a:lnTo>
                  <a:pt x="282" y="148"/>
                </a:lnTo>
                <a:lnTo>
                  <a:pt x="277" y="149"/>
                </a:lnTo>
                <a:lnTo>
                  <a:pt x="277" y="140"/>
                </a:lnTo>
                <a:close/>
                <a:moveTo>
                  <a:pt x="0" y="112"/>
                </a:moveTo>
                <a:lnTo>
                  <a:pt x="5" y="114"/>
                </a:lnTo>
                <a:lnTo>
                  <a:pt x="5" y="118"/>
                </a:lnTo>
                <a:lnTo>
                  <a:pt x="0" y="112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59" name="Freeform 251"/>
          <p:cNvSpPr>
            <a:spLocks noChangeAspect="1"/>
          </p:cNvSpPr>
          <p:nvPr/>
        </p:nvSpPr>
        <p:spPr bwMode="gray">
          <a:xfrm>
            <a:off x="1947863" y="4454525"/>
            <a:ext cx="4762" cy="4763"/>
          </a:xfrm>
          <a:custGeom>
            <a:avLst/>
            <a:gdLst>
              <a:gd name="T0" fmla="*/ 0 w 7"/>
              <a:gd name="T1" fmla="*/ 2147483647 h 7"/>
              <a:gd name="T2" fmla="*/ 2147483647 w 7"/>
              <a:gd name="T3" fmla="*/ 2147483647 h 7"/>
              <a:gd name="T4" fmla="*/ 2147483647 w 7"/>
              <a:gd name="T5" fmla="*/ 0 h 7"/>
              <a:gd name="T6" fmla="*/ 0 w 7"/>
              <a:gd name="T7" fmla="*/ 2147483647 h 7"/>
              <a:gd name="T8" fmla="*/ 0 60000 65536"/>
              <a:gd name="T9" fmla="*/ 0 60000 65536"/>
              <a:gd name="T10" fmla="*/ 0 60000 65536"/>
              <a:gd name="T11" fmla="*/ 0 60000 65536"/>
              <a:gd name="T12" fmla="*/ 0 w 7"/>
              <a:gd name="T13" fmla="*/ 0 h 7"/>
              <a:gd name="T14" fmla="*/ 7 w 7"/>
              <a:gd name="T15" fmla="*/ 7 h 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" h="7">
                <a:moveTo>
                  <a:pt x="0" y="7"/>
                </a:moveTo>
                <a:lnTo>
                  <a:pt x="7" y="3"/>
                </a:lnTo>
                <a:lnTo>
                  <a:pt x="2" y="0"/>
                </a:lnTo>
                <a:lnTo>
                  <a:pt x="0" y="7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grpSp>
        <p:nvGrpSpPr>
          <p:cNvPr id="5" name="Group 252"/>
          <p:cNvGrpSpPr>
            <a:grpSpLocks/>
          </p:cNvGrpSpPr>
          <p:nvPr/>
        </p:nvGrpSpPr>
        <p:grpSpPr bwMode="auto">
          <a:xfrm>
            <a:off x="606425" y="1517650"/>
            <a:ext cx="2298700" cy="1887538"/>
            <a:chOff x="768" y="1173"/>
            <a:chExt cx="1448" cy="1189"/>
          </a:xfrm>
        </p:grpSpPr>
        <p:grpSp>
          <p:nvGrpSpPr>
            <p:cNvPr id="6" name="Group 253"/>
            <p:cNvGrpSpPr>
              <a:grpSpLocks/>
            </p:cNvGrpSpPr>
            <p:nvPr/>
          </p:nvGrpSpPr>
          <p:grpSpPr bwMode="auto">
            <a:xfrm>
              <a:off x="1400" y="1829"/>
              <a:ext cx="816" cy="445"/>
              <a:chOff x="1397" y="1825"/>
              <a:chExt cx="816" cy="445"/>
            </a:xfrm>
          </p:grpSpPr>
          <p:sp>
            <p:nvSpPr>
              <p:cNvPr id="58622" name="Freeform 254"/>
              <p:cNvSpPr>
                <a:spLocks/>
              </p:cNvSpPr>
              <p:nvPr/>
            </p:nvSpPr>
            <p:spPr bwMode="auto">
              <a:xfrm>
                <a:off x="2086" y="2082"/>
                <a:ext cx="5" cy="15"/>
              </a:xfrm>
              <a:custGeom>
                <a:avLst/>
                <a:gdLst>
                  <a:gd name="T0" fmla="*/ 0 w 5"/>
                  <a:gd name="T1" fmla="*/ 15 h 15"/>
                  <a:gd name="T2" fmla="*/ 3 w 5"/>
                  <a:gd name="T3" fmla="*/ 14 h 15"/>
                  <a:gd name="T4" fmla="*/ 5 w 5"/>
                  <a:gd name="T5" fmla="*/ 7 h 15"/>
                  <a:gd name="T6" fmla="*/ 1 w 5"/>
                  <a:gd name="T7" fmla="*/ 0 h 15"/>
                  <a:gd name="T8" fmla="*/ 4 w 5"/>
                  <a:gd name="T9" fmla="*/ 7 h 15"/>
                  <a:gd name="T10" fmla="*/ 3 w 5"/>
                  <a:gd name="T11" fmla="*/ 14 h 15"/>
                  <a:gd name="T12" fmla="*/ 0 w 5"/>
                  <a:gd name="T13" fmla="*/ 15 h 1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"/>
                  <a:gd name="T22" fmla="*/ 0 h 15"/>
                  <a:gd name="T23" fmla="*/ 5 w 5"/>
                  <a:gd name="T24" fmla="*/ 15 h 1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" h="15">
                    <a:moveTo>
                      <a:pt x="0" y="15"/>
                    </a:moveTo>
                    <a:lnTo>
                      <a:pt x="3" y="14"/>
                    </a:lnTo>
                    <a:lnTo>
                      <a:pt x="5" y="7"/>
                    </a:lnTo>
                    <a:lnTo>
                      <a:pt x="1" y="0"/>
                    </a:lnTo>
                    <a:lnTo>
                      <a:pt x="4" y="7"/>
                    </a:lnTo>
                    <a:lnTo>
                      <a:pt x="3" y="14"/>
                    </a:ln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EAEAEA"/>
              </a:solidFill>
              <a:ln w="6350" cap="rnd">
                <a:solidFill>
                  <a:srgbClr val="B2B2B2"/>
                </a:solidFill>
                <a:prstDash val="solid"/>
                <a:bevel/>
                <a:headEnd/>
                <a:tailEnd/>
              </a:ln>
            </p:spPr>
            <p:txBody>
              <a:bodyPr/>
              <a:lstStyle/>
              <a:p>
                <a:endParaRPr lang="en-GB">
                  <a:latin typeface="Calibri" pitchFamily="34" charset="0"/>
                </a:endParaRPr>
              </a:p>
            </p:txBody>
          </p:sp>
          <p:sp>
            <p:nvSpPr>
              <p:cNvPr id="58623" name="Freeform 255"/>
              <p:cNvSpPr>
                <a:spLocks/>
              </p:cNvSpPr>
              <p:nvPr/>
            </p:nvSpPr>
            <p:spPr bwMode="auto">
              <a:xfrm>
                <a:off x="1397" y="1825"/>
                <a:ext cx="814" cy="436"/>
              </a:xfrm>
              <a:custGeom>
                <a:avLst/>
                <a:gdLst>
                  <a:gd name="T0" fmla="*/ 781 w 814"/>
                  <a:gd name="T1" fmla="*/ 41 h 436"/>
                  <a:gd name="T2" fmla="*/ 806 w 814"/>
                  <a:gd name="T3" fmla="*/ 85 h 436"/>
                  <a:gd name="T4" fmla="*/ 795 w 814"/>
                  <a:gd name="T5" fmla="*/ 106 h 436"/>
                  <a:gd name="T6" fmla="*/ 773 w 814"/>
                  <a:gd name="T7" fmla="*/ 113 h 436"/>
                  <a:gd name="T8" fmla="*/ 766 w 814"/>
                  <a:gd name="T9" fmla="*/ 153 h 436"/>
                  <a:gd name="T10" fmla="*/ 756 w 814"/>
                  <a:gd name="T11" fmla="*/ 158 h 436"/>
                  <a:gd name="T12" fmla="*/ 712 w 814"/>
                  <a:gd name="T13" fmla="*/ 176 h 436"/>
                  <a:gd name="T14" fmla="*/ 692 w 814"/>
                  <a:gd name="T15" fmla="*/ 194 h 436"/>
                  <a:gd name="T16" fmla="*/ 691 w 814"/>
                  <a:gd name="T17" fmla="*/ 236 h 436"/>
                  <a:gd name="T18" fmla="*/ 685 w 814"/>
                  <a:gd name="T19" fmla="*/ 211 h 436"/>
                  <a:gd name="T20" fmla="*/ 680 w 814"/>
                  <a:gd name="T21" fmla="*/ 214 h 436"/>
                  <a:gd name="T22" fmla="*/ 681 w 814"/>
                  <a:gd name="T23" fmla="*/ 229 h 436"/>
                  <a:gd name="T24" fmla="*/ 689 w 814"/>
                  <a:gd name="T25" fmla="*/ 257 h 436"/>
                  <a:gd name="T26" fmla="*/ 686 w 814"/>
                  <a:gd name="T27" fmla="*/ 263 h 436"/>
                  <a:gd name="T28" fmla="*/ 681 w 814"/>
                  <a:gd name="T29" fmla="*/ 276 h 436"/>
                  <a:gd name="T30" fmla="*/ 641 w 814"/>
                  <a:gd name="T31" fmla="*/ 306 h 436"/>
                  <a:gd name="T32" fmla="*/ 608 w 814"/>
                  <a:gd name="T33" fmla="*/ 343 h 436"/>
                  <a:gd name="T34" fmla="*/ 624 w 814"/>
                  <a:gd name="T35" fmla="*/ 435 h 436"/>
                  <a:gd name="T36" fmla="*/ 600 w 814"/>
                  <a:gd name="T37" fmla="*/ 413 h 436"/>
                  <a:gd name="T38" fmla="*/ 591 w 814"/>
                  <a:gd name="T39" fmla="*/ 380 h 436"/>
                  <a:gd name="T40" fmla="*/ 551 w 814"/>
                  <a:gd name="T41" fmla="*/ 358 h 436"/>
                  <a:gd name="T42" fmla="*/ 514 w 814"/>
                  <a:gd name="T43" fmla="*/ 352 h 436"/>
                  <a:gd name="T44" fmla="*/ 491 w 814"/>
                  <a:gd name="T45" fmla="*/ 359 h 436"/>
                  <a:gd name="T46" fmla="*/ 497 w 814"/>
                  <a:gd name="T47" fmla="*/ 375 h 436"/>
                  <a:gd name="T48" fmla="*/ 461 w 814"/>
                  <a:gd name="T49" fmla="*/ 362 h 436"/>
                  <a:gd name="T50" fmla="*/ 422 w 814"/>
                  <a:gd name="T51" fmla="*/ 365 h 436"/>
                  <a:gd name="T52" fmla="*/ 402 w 814"/>
                  <a:gd name="T53" fmla="*/ 385 h 436"/>
                  <a:gd name="T54" fmla="*/ 395 w 814"/>
                  <a:gd name="T55" fmla="*/ 385 h 436"/>
                  <a:gd name="T56" fmla="*/ 383 w 814"/>
                  <a:gd name="T57" fmla="*/ 404 h 436"/>
                  <a:gd name="T58" fmla="*/ 361 w 814"/>
                  <a:gd name="T59" fmla="*/ 416 h 436"/>
                  <a:gd name="T60" fmla="*/ 312 w 814"/>
                  <a:gd name="T61" fmla="*/ 361 h 436"/>
                  <a:gd name="T62" fmla="*/ 259 w 814"/>
                  <a:gd name="T63" fmla="*/ 334 h 436"/>
                  <a:gd name="T64" fmla="*/ 172 w 814"/>
                  <a:gd name="T65" fmla="*/ 329 h 436"/>
                  <a:gd name="T66" fmla="*/ 96 w 814"/>
                  <a:gd name="T67" fmla="*/ 299 h 436"/>
                  <a:gd name="T68" fmla="*/ 54 w 814"/>
                  <a:gd name="T69" fmla="*/ 271 h 436"/>
                  <a:gd name="T70" fmla="*/ 31 w 814"/>
                  <a:gd name="T71" fmla="*/ 226 h 436"/>
                  <a:gd name="T72" fmla="*/ 15 w 814"/>
                  <a:gd name="T73" fmla="*/ 207 h 436"/>
                  <a:gd name="T74" fmla="*/ 3 w 814"/>
                  <a:gd name="T75" fmla="*/ 132 h 436"/>
                  <a:gd name="T76" fmla="*/ 9 w 814"/>
                  <a:gd name="T77" fmla="*/ 57 h 436"/>
                  <a:gd name="T78" fmla="*/ 0 w 814"/>
                  <a:gd name="T79" fmla="*/ 29 h 436"/>
                  <a:gd name="T80" fmla="*/ 24 w 814"/>
                  <a:gd name="T81" fmla="*/ 40 h 436"/>
                  <a:gd name="T82" fmla="*/ 33 w 814"/>
                  <a:gd name="T83" fmla="*/ 14 h 436"/>
                  <a:gd name="T84" fmla="*/ 134 w 814"/>
                  <a:gd name="T85" fmla="*/ 8 h 436"/>
                  <a:gd name="T86" fmla="*/ 308 w 814"/>
                  <a:gd name="T87" fmla="*/ 9 h 436"/>
                  <a:gd name="T88" fmla="*/ 430 w 814"/>
                  <a:gd name="T89" fmla="*/ 14 h 436"/>
                  <a:gd name="T90" fmla="*/ 466 w 814"/>
                  <a:gd name="T91" fmla="*/ 58 h 436"/>
                  <a:gd name="T92" fmla="*/ 510 w 814"/>
                  <a:gd name="T93" fmla="*/ 52 h 436"/>
                  <a:gd name="T94" fmla="*/ 558 w 814"/>
                  <a:gd name="T95" fmla="*/ 60 h 436"/>
                  <a:gd name="T96" fmla="*/ 561 w 814"/>
                  <a:gd name="T97" fmla="*/ 73 h 436"/>
                  <a:gd name="T98" fmla="*/ 525 w 814"/>
                  <a:gd name="T99" fmla="*/ 94 h 436"/>
                  <a:gd name="T100" fmla="*/ 522 w 814"/>
                  <a:gd name="T101" fmla="*/ 152 h 436"/>
                  <a:gd name="T102" fmla="*/ 539 w 814"/>
                  <a:gd name="T103" fmla="*/ 107 h 436"/>
                  <a:gd name="T104" fmla="*/ 558 w 814"/>
                  <a:gd name="T105" fmla="*/ 80 h 436"/>
                  <a:gd name="T106" fmla="*/ 574 w 814"/>
                  <a:gd name="T107" fmla="*/ 116 h 436"/>
                  <a:gd name="T108" fmla="*/ 589 w 814"/>
                  <a:gd name="T109" fmla="*/ 139 h 436"/>
                  <a:gd name="T110" fmla="*/ 632 w 814"/>
                  <a:gd name="T111" fmla="*/ 144 h 436"/>
                  <a:gd name="T112" fmla="*/ 685 w 814"/>
                  <a:gd name="T113" fmla="*/ 110 h 436"/>
                  <a:gd name="T114" fmla="*/ 755 w 814"/>
                  <a:gd name="T115" fmla="*/ 86 h 4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814"/>
                  <a:gd name="T175" fmla="*/ 0 h 436"/>
                  <a:gd name="T176" fmla="*/ 814 w 814"/>
                  <a:gd name="T177" fmla="*/ 436 h 4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814" h="436">
                    <a:moveTo>
                      <a:pt x="755" y="86"/>
                    </a:moveTo>
                    <a:lnTo>
                      <a:pt x="762" y="85"/>
                    </a:lnTo>
                    <a:lnTo>
                      <a:pt x="762" y="81"/>
                    </a:lnTo>
                    <a:lnTo>
                      <a:pt x="765" y="78"/>
                    </a:lnTo>
                    <a:lnTo>
                      <a:pt x="766" y="69"/>
                    </a:lnTo>
                    <a:lnTo>
                      <a:pt x="770" y="60"/>
                    </a:lnTo>
                    <a:lnTo>
                      <a:pt x="771" y="54"/>
                    </a:lnTo>
                    <a:lnTo>
                      <a:pt x="778" y="42"/>
                    </a:lnTo>
                    <a:lnTo>
                      <a:pt x="781" y="41"/>
                    </a:lnTo>
                    <a:lnTo>
                      <a:pt x="783" y="45"/>
                    </a:lnTo>
                    <a:lnTo>
                      <a:pt x="784" y="46"/>
                    </a:lnTo>
                    <a:lnTo>
                      <a:pt x="788" y="47"/>
                    </a:lnTo>
                    <a:lnTo>
                      <a:pt x="795" y="43"/>
                    </a:lnTo>
                    <a:lnTo>
                      <a:pt x="802" y="50"/>
                    </a:lnTo>
                    <a:lnTo>
                      <a:pt x="802" y="63"/>
                    </a:lnTo>
                    <a:lnTo>
                      <a:pt x="802" y="78"/>
                    </a:lnTo>
                    <a:lnTo>
                      <a:pt x="806" y="80"/>
                    </a:lnTo>
                    <a:lnTo>
                      <a:pt x="806" y="85"/>
                    </a:lnTo>
                    <a:lnTo>
                      <a:pt x="809" y="87"/>
                    </a:lnTo>
                    <a:lnTo>
                      <a:pt x="811" y="88"/>
                    </a:lnTo>
                    <a:lnTo>
                      <a:pt x="813" y="87"/>
                    </a:lnTo>
                    <a:lnTo>
                      <a:pt x="813" y="91"/>
                    </a:lnTo>
                    <a:lnTo>
                      <a:pt x="812" y="93"/>
                    </a:lnTo>
                    <a:lnTo>
                      <a:pt x="814" y="94"/>
                    </a:lnTo>
                    <a:lnTo>
                      <a:pt x="814" y="96"/>
                    </a:lnTo>
                    <a:lnTo>
                      <a:pt x="802" y="100"/>
                    </a:lnTo>
                    <a:lnTo>
                      <a:pt x="795" y="106"/>
                    </a:lnTo>
                    <a:lnTo>
                      <a:pt x="790" y="104"/>
                    </a:lnTo>
                    <a:lnTo>
                      <a:pt x="789" y="101"/>
                    </a:lnTo>
                    <a:lnTo>
                      <a:pt x="788" y="101"/>
                    </a:lnTo>
                    <a:lnTo>
                      <a:pt x="784" y="110"/>
                    </a:lnTo>
                    <a:lnTo>
                      <a:pt x="782" y="110"/>
                    </a:lnTo>
                    <a:lnTo>
                      <a:pt x="778" y="113"/>
                    </a:lnTo>
                    <a:lnTo>
                      <a:pt x="777" y="112"/>
                    </a:lnTo>
                    <a:lnTo>
                      <a:pt x="775" y="116"/>
                    </a:lnTo>
                    <a:lnTo>
                      <a:pt x="773" y="113"/>
                    </a:lnTo>
                    <a:lnTo>
                      <a:pt x="771" y="114"/>
                    </a:lnTo>
                    <a:lnTo>
                      <a:pt x="763" y="125"/>
                    </a:lnTo>
                    <a:lnTo>
                      <a:pt x="760" y="128"/>
                    </a:lnTo>
                    <a:lnTo>
                      <a:pt x="759" y="132"/>
                    </a:lnTo>
                    <a:lnTo>
                      <a:pt x="762" y="137"/>
                    </a:lnTo>
                    <a:lnTo>
                      <a:pt x="758" y="143"/>
                    </a:lnTo>
                    <a:lnTo>
                      <a:pt x="762" y="146"/>
                    </a:lnTo>
                    <a:lnTo>
                      <a:pt x="764" y="152"/>
                    </a:lnTo>
                    <a:lnTo>
                      <a:pt x="766" y="153"/>
                    </a:lnTo>
                    <a:lnTo>
                      <a:pt x="771" y="154"/>
                    </a:lnTo>
                    <a:lnTo>
                      <a:pt x="772" y="151"/>
                    </a:lnTo>
                    <a:lnTo>
                      <a:pt x="771" y="150"/>
                    </a:lnTo>
                    <a:lnTo>
                      <a:pt x="772" y="150"/>
                    </a:lnTo>
                    <a:lnTo>
                      <a:pt x="773" y="153"/>
                    </a:lnTo>
                    <a:lnTo>
                      <a:pt x="769" y="156"/>
                    </a:lnTo>
                    <a:lnTo>
                      <a:pt x="765" y="157"/>
                    </a:lnTo>
                    <a:lnTo>
                      <a:pt x="762" y="155"/>
                    </a:lnTo>
                    <a:lnTo>
                      <a:pt x="756" y="158"/>
                    </a:lnTo>
                    <a:lnTo>
                      <a:pt x="754" y="155"/>
                    </a:lnTo>
                    <a:lnTo>
                      <a:pt x="752" y="159"/>
                    </a:lnTo>
                    <a:lnTo>
                      <a:pt x="744" y="161"/>
                    </a:lnTo>
                    <a:lnTo>
                      <a:pt x="738" y="162"/>
                    </a:lnTo>
                    <a:lnTo>
                      <a:pt x="731" y="162"/>
                    </a:lnTo>
                    <a:lnTo>
                      <a:pt x="728" y="164"/>
                    </a:lnTo>
                    <a:lnTo>
                      <a:pt x="719" y="167"/>
                    </a:lnTo>
                    <a:lnTo>
                      <a:pt x="714" y="173"/>
                    </a:lnTo>
                    <a:lnTo>
                      <a:pt x="712" y="176"/>
                    </a:lnTo>
                    <a:lnTo>
                      <a:pt x="715" y="181"/>
                    </a:lnTo>
                    <a:lnTo>
                      <a:pt x="714" y="187"/>
                    </a:lnTo>
                    <a:lnTo>
                      <a:pt x="713" y="187"/>
                    </a:lnTo>
                    <a:lnTo>
                      <a:pt x="712" y="192"/>
                    </a:lnTo>
                    <a:lnTo>
                      <a:pt x="705" y="203"/>
                    </a:lnTo>
                    <a:lnTo>
                      <a:pt x="702" y="205"/>
                    </a:lnTo>
                    <a:lnTo>
                      <a:pt x="702" y="201"/>
                    </a:lnTo>
                    <a:lnTo>
                      <a:pt x="696" y="199"/>
                    </a:lnTo>
                    <a:lnTo>
                      <a:pt x="692" y="194"/>
                    </a:lnTo>
                    <a:lnTo>
                      <a:pt x="692" y="193"/>
                    </a:lnTo>
                    <a:lnTo>
                      <a:pt x="692" y="196"/>
                    </a:lnTo>
                    <a:lnTo>
                      <a:pt x="699" y="208"/>
                    </a:lnTo>
                    <a:lnTo>
                      <a:pt x="700" y="213"/>
                    </a:lnTo>
                    <a:lnTo>
                      <a:pt x="699" y="214"/>
                    </a:lnTo>
                    <a:lnTo>
                      <a:pt x="697" y="219"/>
                    </a:lnTo>
                    <a:lnTo>
                      <a:pt x="697" y="222"/>
                    </a:lnTo>
                    <a:lnTo>
                      <a:pt x="692" y="229"/>
                    </a:lnTo>
                    <a:lnTo>
                      <a:pt x="691" y="236"/>
                    </a:lnTo>
                    <a:lnTo>
                      <a:pt x="687" y="238"/>
                    </a:lnTo>
                    <a:lnTo>
                      <a:pt x="686" y="232"/>
                    </a:lnTo>
                    <a:lnTo>
                      <a:pt x="691" y="225"/>
                    </a:lnTo>
                    <a:lnTo>
                      <a:pt x="691" y="224"/>
                    </a:lnTo>
                    <a:lnTo>
                      <a:pt x="690" y="223"/>
                    </a:lnTo>
                    <a:lnTo>
                      <a:pt x="688" y="218"/>
                    </a:lnTo>
                    <a:lnTo>
                      <a:pt x="685" y="218"/>
                    </a:lnTo>
                    <a:lnTo>
                      <a:pt x="683" y="214"/>
                    </a:lnTo>
                    <a:lnTo>
                      <a:pt x="685" y="211"/>
                    </a:lnTo>
                    <a:lnTo>
                      <a:pt x="685" y="207"/>
                    </a:lnTo>
                    <a:lnTo>
                      <a:pt x="683" y="206"/>
                    </a:lnTo>
                    <a:lnTo>
                      <a:pt x="684" y="203"/>
                    </a:lnTo>
                    <a:lnTo>
                      <a:pt x="684" y="200"/>
                    </a:lnTo>
                    <a:lnTo>
                      <a:pt x="687" y="197"/>
                    </a:lnTo>
                    <a:lnTo>
                      <a:pt x="687" y="194"/>
                    </a:lnTo>
                    <a:lnTo>
                      <a:pt x="686" y="195"/>
                    </a:lnTo>
                    <a:lnTo>
                      <a:pt x="679" y="201"/>
                    </a:lnTo>
                    <a:lnTo>
                      <a:pt x="680" y="214"/>
                    </a:lnTo>
                    <a:lnTo>
                      <a:pt x="679" y="214"/>
                    </a:lnTo>
                    <a:lnTo>
                      <a:pt x="681" y="216"/>
                    </a:lnTo>
                    <a:lnTo>
                      <a:pt x="682" y="221"/>
                    </a:lnTo>
                    <a:lnTo>
                      <a:pt x="669" y="214"/>
                    </a:lnTo>
                    <a:lnTo>
                      <a:pt x="671" y="209"/>
                    </a:lnTo>
                    <a:lnTo>
                      <a:pt x="668" y="214"/>
                    </a:lnTo>
                    <a:lnTo>
                      <a:pt x="668" y="215"/>
                    </a:lnTo>
                    <a:lnTo>
                      <a:pt x="682" y="224"/>
                    </a:lnTo>
                    <a:lnTo>
                      <a:pt x="681" y="229"/>
                    </a:lnTo>
                    <a:lnTo>
                      <a:pt x="683" y="234"/>
                    </a:lnTo>
                    <a:lnTo>
                      <a:pt x="681" y="236"/>
                    </a:lnTo>
                    <a:lnTo>
                      <a:pt x="683" y="239"/>
                    </a:lnTo>
                    <a:lnTo>
                      <a:pt x="680" y="239"/>
                    </a:lnTo>
                    <a:lnTo>
                      <a:pt x="679" y="241"/>
                    </a:lnTo>
                    <a:lnTo>
                      <a:pt x="688" y="242"/>
                    </a:lnTo>
                    <a:lnTo>
                      <a:pt x="688" y="246"/>
                    </a:lnTo>
                    <a:lnTo>
                      <a:pt x="687" y="250"/>
                    </a:lnTo>
                    <a:lnTo>
                      <a:pt x="689" y="257"/>
                    </a:lnTo>
                    <a:lnTo>
                      <a:pt x="688" y="255"/>
                    </a:lnTo>
                    <a:lnTo>
                      <a:pt x="685" y="254"/>
                    </a:lnTo>
                    <a:lnTo>
                      <a:pt x="679" y="257"/>
                    </a:lnTo>
                    <a:lnTo>
                      <a:pt x="678" y="253"/>
                    </a:lnTo>
                    <a:lnTo>
                      <a:pt x="677" y="258"/>
                    </a:lnTo>
                    <a:lnTo>
                      <a:pt x="678" y="260"/>
                    </a:lnTo>
                    <a:lnTo>
                      <a:pt x="679" y="260"/>
                    </a:lnTo>
                    <a:lnTo>
                      <a:pt x="685" y="259"/>
                    </a:lnTo>
                    <a:lnTo>
                      <a:pt x="686" y="263"/>
                    </a:lnTo>
                    <a:lnTo>
                      <a:pt x="689" y="259"/>
                    </a:lnTo>
                    <a:lnTo>
                      <a:pt x="691" y="265"/>
                    </a:lnTo>
                    <a:lnTo>
                      <a:pt x="685" y="270"/>
                    </a:lnTo>
                    <a:lnTo>
                      <a:pt x="682" y="270"/>
                    </a:lnTo>
                    <a:lnTo>
                      <a:pt x="680" y="266"/>
                    </a:lnTo>
                    <a:lnTo>
                      <a:pt x="675" y="268"/>
                    </a:lnTo>
                    <a:lnTo>
                      <a:pt x="680" y="271"/>
                    </a:lnTo>
                    <a:lnTo>
                      <a:pt x="677" y="276"/>
                    </a:lnTo>
                    <a:lnTo>
                      <a:pt x="681" y="276"/>
                    </a:lnTo>
                    <a:lnTo>
                      <a:pt x="681" y="279"/>
                    </a:lnTo>
                    <a:lnTo>
                      <a:pt x="676" y="282"/>
                    </a:lnTo>
                    <a:lnTo>
                      <a:pt x="671" y="282"/>
                    </a:lnTo>
                    <a:lnTo>
                      <a:pt x="667" y="284"/>
                    </a:lnTo>
                    <a:lnTo>
                      <a:pt x="660" y="291"/>
                    </a:lnTo>
                    <a:lnTo>
                      <a:pt x="656" y="293"/>
                    </a:lnTo>
                    <a:lnTo>
                      <a:pt x="649" y="294"/>
                    </a:lnTo>
                    <a:lnTo>
                      <a:pt x="641" y="304"/>
                    </a:lnTo>
                    <a:lnTo>
                      <a:pt x="641" y="306"/>
                    </a:lnTo>
                    <a:lnTo>
                      <a:pt x="629" y="316"/>
                    </a:lnTo>
                    <a:lnTo>
                      <a:pt x="620" y="316"/>
                    </a:lnTo>
                    <a:lnTo>
                      <a:pt x="621" y="321"/>
                    </a:lnTo>
                    <a:lnTo>
                      <a:pt x="617" y="324"/>
                    </a:lnTo>
                    <a:lnTo>
                      <a:pt x="616" y="325"/>
                    </a:lnTo>
                    <a:lnTo>
                      <a:pt x="614" y="328"/>
                    </a:lnTo>
                    <a:lnTo>
                      <a:pt x="610" y="335"/>
                    </a:lnTo>
                    <a:lnTo>
                      <a:pt x="610" y="338"/>
                    </a:lnTo>
                    <a:lnTo>
                      <a:pt x="608" y="343"/>
                    </a:lnTo>
                    <a:lnTo>
                      <a:pt x="608" y="347"/>
                    </a:lnTo>
                    <a:lnTo>
                      <a:pt x="607" y="349"/>
                    </a:lnTo>
                    <a:lnTo>
                      <a:pt x="610" y="361"/>
                    </a:lnTo>
                    <a:lnTo>
                      <a:pt x="614" y="371"/>
                    </a:lnTo>
                    <a:lnTo>
                      <a:pt x="620" y="382"/>
                    </a:lnTo>
                    <a:lnTo>
                      <a:pt x="621" y="392"/>
                    </a:lnTo>
                    <a:lnTo>
                      <a:pt x="627" y="408"/>
                    </a:lnTo>
                    <a:lnTo>
                      <a:pt x="627" y="421"/>
                    </a:lnTo>
                    <a:lnTo>
                      <a:pt x="624" y="435"/>
                    </a:lnTo>
                    <a:lnTo>
                      <a:pt x="622" y="434"/>
                    </a:lnTo>
                    <a:lnTo>
                      <a:pt x="617" y="436"/>
                    </a:lnTo>
                    <a:lnTo>
                      <a:pt x="612" y="436"/>
                    </a:lnTo>
                    <a:lnTo>
                      <a:pt x="612" y="431"/>
                    </a:lnTo>
                    <a:lnTo>
                      <a:pt x="610" y="426"/>
                    </a:lnTo>
                    <a:lnTo>
                      <a:pt x="604" y="423"/>
                    </a:lnTo>
                    <a:lnTo>
                      <a:pt x="601" y="415"/>
                    </a:lnTo>
                    <a:lnTo>
                      <a:pt x="602" y="413"/>
                    </a:lnTo>
                    <a:lnTo>
                      <a:pt x="600" y="413"/>
                    </a:lnTo>
                    <a:lnTo>
                      <a:pt x="600" y="408"/>
                    </a:lnTo>
                    <a:lnTo>
                      <a:pt x="597" y="408"/>
                    </a:lnTo>
                    <a:lnTo>
                      <a:pt x="592" y="401"/>
                    </a:lnTo>
                    <a:lnTo>
                      <a:pt x="594" y="392"/>
                    </a:lnTo>
                    <a:lnTo>
                      <a:pt x="592" y="391"/>
                    </a:lnTo>
                    <a:lnTo>
                      <a:pt x="591" y="393"/>
                    </a:lnTo>
                    <a:lnTo>
                      <a:pt x="590" y="393"/>
                    </a:lnTo>
                    <a:lnTo>
                      <a:pt x="590" y="391"/>
                    </a:lnTo>
                    <a:lnTo>
                      <a:pt x="591" y="380"/>
                    </a:lnTo>
                    <a:lnTo>
                      <a:pt x="590" y="373"/>
                    </a:lnTo>
                    <a:lnTo>
                      <a:pt x="581" y="366"/>
                    </a:lnTo>
                    <a:lnTo>
                      <a:pt x="581" y="364"/>
                    </a:lnTo>
                    <a:lnTo>
                      <a:pt x="575" y="358"/>
                    </a:lnTo>
                    <a:lnTo>
                      <a:pt x="569" y="357"/>
                    </a:lnTo>
                    <a:lnTo>
                      <a:pt x="567" y="360"/>
                    </a:lnTo>
                    <a:lnTo>
                      <a:pt x="558" y="362"/>
                    </a:lnTo>
                    <a:lnTo>
                      <a:pt x="555" y="363"/>
                    </a:lnTo>
                    <a:lnTo>
                      <a:pt x="551" y="358"/>
                    </a:lnTo>
                    <a:lnTo>
                      <a:pt x="539" y="353"/>
                    </a:lnTo>
                    <a:lnTo>
                      <a:pt x="541" y="351"/>
                    </a:lnTo>
                    <a:lnTo>
                      <a:pt x="539" y="351"/>
                    </a:lnTo>
                    <a:lnTo>
                      <a:pt x="529" y="352"/>
                    </a:lnTo>
                    <a:lnTo>
                      <a:pt x="529" y="349"/>
                    </a:lnTo>
                    <a:lnTo>
                      <a:pt x="525" y="353"/>
                    </a:lnTo>
                    <a:lnTo>
                      <a:pt x="517" y="355"/>
                    </a:lnTo>
                    <a:lnTo>
                      <a:pt x="516" y="344"/>
                    </a:lnTo>
                    <a:lnTo>
                      <a:pt x="514" y="352"/>
                    </a:lnTo>
                    <a:lnTo>
                      <a:pt x="511" y="352"/>
                    </a:lnTo>
                    <a:lnTo>
                      <a:pt x="502" y="352"/>
                    </a:lnTo>
                    <a:lnTo>
                      <a:pt x="494" y="355"/>
                    </a:lnTo>
                    <a:lnTo>
                      <a:pt x="486" y="352"/>
                    </a:lnTo>
                    <a:lnTo>
                      <a:pt x="482" y="353"/>
                    </a:lnTo>
                    <a:lnTo>
                      <a:pt x="482" y="356"/>
                    </a:lnTo>
                    <a:lnTo>
                      <a:pt x="484" y="357"/>
                    </a:lnTo>
                    <a:lnTo>
                      <a:pt x="490" y="356"/>
                    </a:lnTo>
                    <a:lnTo>
                      <a:pt x="491" y="359"/>
                    </a:lnTo>
                    <a:lnTo>
                      <a:pt x="492" y="359"/>
                    </a:lnTo>
                    <a:lnTo>
                      <a:pt x="497" y="356"/>
                    </a:lnTo>
                    <a:lnTo>
                      <a:pt x="498" y="357"/>
                    </a:lnTo>
                    <a:lnTo>
                      <a:pt x="497" y="361"/>
                    </a:lnTo>
                    <a:lnTo>
                      <a:pt x="493" y="366"/>
                    </a:lnTo>
                    <a:lnTo>
                      <a:pt x="500" y="372"/>
                    </a:lnTo>
                    <a:lnTo>
                      <a:pt x="499" y="373"/>
                    </a:lnTo>
                    <a:lnTo>
                      <a:pt x="498" y="374"/>
                    </a:lnTo>
                    <a:lnTo>
                      <a:pt x="497" y="375"/>
                    </a:lnTo>
                    <a:lnTo>
                      <a:pt x="494" y="371"/>
                    </a:lnTo>
                    <a:lnTo>
                      <a:pt x="489" y="368"/>
                    </a:lnTo>
                    <a:lnTo>
                      <a:pt x="487" y="368"/>
                    </a:lnTo>
                    <a:lnTo>
                      <a:pt x="486" y="372"/>
                    </a:lnTo>
                    <a:lnTo>
                      <a:pt x="479" y="371"/>
                    </a:lnTo>
                    <a:lnTo>
                      <a:pt x="477" y="372"/>
                    </a:lnTo>
                    <a:lnTo>
                      <a:pt x="471" y="371"/>
                    </a:lnTo>
                    <a:lnTo>
                      <a:pt x="468" y="366"/>
                    </a:lnTo>
                    <a:lnTo>
                      <a:pt x="461" y="362"/>
                    </a:lnTo>
                    <a:lnTo>
                      <a:pt x="458" y="362"/>
                    </a:lnTo>
                    <a:lnTo>
                      <a:pt x="458" y="364"/>
                    </a:lnTo>
                    <a:lnTo>
                      <a:pt x="456" y="366"/>
                    </a:lnTo>
                    <a:lnTo>
                      <a:pt x="450" y="365"/>
                    </a:lnTo>
                    <a:lnTo>
                      <a:pt x="442" y="362"/>
                    </a:lnTo>
                    <a:lnTo>
                      <a:pt x="434" y="364"/>
                    </a:lnTo>
                    <a:lnTo>
                      <a:pt x="429" y="364"/>
                    </a:lnTo>
                    <a:lnTo>
                      <a:pt x="421" y="367"/>
                    </a:lnTo>
                    <a:lnTo>
                      <a:pt x="422" y="365"/>
                    </a:lnTo>
                    <a:lnTo>
                      <a:pt x="421" y="365"/>
                    </a:lnTo>
                    <a:lnTo>
                      <a:pt x="421" y="362"/>
                    </a:lnTo>
                    <a:lnTo>
                      <a:pt x="419" y="363"/>
                    </a:lnTo>
                    <a:lnTo>
                      <a:pt x="418" y="372"/>
                    </a:lnTo>
                    <a:lnTo>
                      <a:pt x="416" y="377"/>
                    </a:lnTo>
                    <a:lnTo>
                      <a:pt x="413" y="379"/>
                    </a:lnTo>
                    <a:lnTo>
                      <a:pt x="411" y="381"/>
                    </a:lnTo>
                    <a:lnTo>
                      <a:pt x="405" y="384"/>
                    </a:lnTo>
                    <a:lnTo>
                      <a:pt x="402" y="385"/>
                    </a:lnTo>
                    <a:lnTo>
                      <a:pt x="408" y="380"/>
                    </a:lnTo>
                    <a:lnTo>
                      <a:pt x="404" y="382"/>
                    </a:lnTo>
                    <a:lnTo>
                      <a:pt x="404" y="379"/>
                    </a:lnTo>
                    <a:lnTo>
                      <a:pt x="402" y="381"/>
                    </a:lnTo>
                    <a:lnTo>
                      <a:pt x="400" y="380"/>
                    </a:lnTo>
                    <a:lnTo>
                      <a:pt x="399" y="382"/>
                    </a:lnTo>
                    <a:lnTo>
                      <a:pt x="397" y="380"/>
                    </a:lnTo>
                    <a:lnTo>
                      <a:pt x="398" y="385"/>
                    </a:lnTo>
                    <a:lnTo>
                      <a:pt x="395" y="385"/>
                    </a:lnTo>
                    <a:lnTo>
                      <a:pt x="392" y="389"/>
                    </a:lnTo>
                    <a:lnTo>
                      <a:pt x="389" y="390"/>
                    </a:lnTo>
                    <a:lnTo>
                      <a:pt x="389" y="391"/>
                    </a:lnTo>
                    <a:lnTo>
                      <a:pt x="390" y="392"/>
                    </a:lnTo>
                    <a:lnTo>
                      <a:pt x="389" y="394"/>
                    </a:lnTo>
                    <a:lnTo>
                      <a:pt x="386" y="395"/>
                    </a:lnTo>
                    <a:lnTo>
                      <a:pt x="387" y="397"/>
                    </a:lnTo>
                    <a:lnTo>
                      <a:pt x="387" y="403"/>
                    </a:lnTo>
                    <a:lnTo>
                      <a:pt x="383" y="404"/>
                    </a:lnTo>
                    <a:lnTo>
                      <a:pt x="385" y="405"/>
                    </a:lnTo>
                    <a:lnTo>
                      <a:pt x="384" y="412"/>
                    </a:lnTo>
                    <a:lnTo>
                      <a:pt x="386" y="420"/>
                    </a:lnTo>
                    <a:lnTo>
                      <a:pt x="389" y="424"/>
                    </a:lnTo>
                    <a:lnTo>
                      <a:pt x="384" y="424"/>
                    </a:lnTo>
                    <a:lnTo>
                      <a:pt x="379" y="422"/>
                    </a:lnTo>
                    <a:lnTo>
                      <a:pt x="372" y="421"/>
                    </a:lnTo>
                    <a:lnTo>
                      <a:pt x="365" y="419"/>
                    </a:lnTo>
                    <a:lnTo>
                      <a:pt x="361" y="416"/>
                    </a:lnTo>
                    <a:lnTo>
                      <a:pt x="356" y="410"/>
                    </a:lnTo>
                    <a:lnTo>
                      <a:pt x="352" y="397"/>
                    </a:lnTo>
                    <a:lnTo>
                      <a:pt x="348" y="394"/>
                    </a:lnTo>
                    <a:lnTo>
                      <a:pt x="346" y="389"/>
                    </a:lnTo>
                    <a:lnTo>
                      <a:pt x="342" y="385"/>
                    </a:lnTo>
                    <a:lnTo>
                      <a:pt x="337" y="373"/>
                    </a:lnTo>
                    <a:lnTo>
                      <a:pt x="328" y="364"/>
                    </a:lnTo>
                    <a:lnTo>
                      <a:pt x="326" y="362"/>
                    </a:lnTo>
                    <a:lnTo>
                      <a:pt x="312" y="361"/>
                    </a:lnTo>
                    <a:lnTo>
                      <a:pt x="308" y="363"/>
                    </a:lnTo>
                    <a:lnTo>
                      <a:pt x="302" y="376"/>
                    </a:lnTo>
                    <a:lnTo>
                      <a:pt x="296" y="374"/>
                    </a:lnTo>
                    <a:lnTo>
                      <a:pt x="285" y="366"/>
                    </a:lnTo>
                    <a:lnTo>
                      <a:pt x="281" y="361"/>
                    </a:lnTo>
                    <a:lnTo>
                      <a:pt x="277" y="348"/>
                    </a:lnTo>
                    <a:lnTo>
                      <a:pt x="270" y="344"/>
                    </a:lnTo>
                    <a:lnTo>
                      <a:pt x="262" y="336"/>
                    </a:lnTo>
                    <a:lnTo>
                      <a:pt x="259" y="334"/>
                    </a:lnTo>
                    <a:lnTo>
                      <a:pt x="258" y="331"/>
                    </a:lnTo>
                    <a:lnTo>
                      <a:pt x="254" y="329"/>
                    </a:lnTo>
                    <a:lnTo>
                      <a:pt x="243" y="329"/>
                    </a:lnTo>
                    <a:lnTo>
                      <a:pt x="231" y="329"/>
                    </a:lnTo>
                    <a:lnTo>
                      <a:pt x="230" y="337"/>
                    </a:lnTo>
                    <a:lnTo>
                      <a:pt x="219" y="337"/>
                    </a:lnTo>
                    <a:lnTo>
                      <a:pt x="207" y="337"/>
                    </a:lnTo>
                    <a:lnTo>
                      <a:pt x="192" y="337"/>
                    </a:lnTo>
                    <a:lnTo>
                      <a:pt x="172" y="329"/>
                    </a:lnTo>
                    <a:lnTo>
                      <a:pt x="152" y="322"/>
                    </a:lnTo>
                    <a:lnTo>
                      <a:pt x="139" y="316"/>
                    </a:lnTo>
                    <a:lnTo>
                      <a:pt x="139" y="315"/>
                    </a:lnTo>
                    <a:lnTo>
                      <a:pt x="129" y="316"/>
                    </a:lnTo>
                    <a:lnTo>
                      <a:pt x="118" y="317"/>
                    </a:lnTo>
                    <a:lnTo>
                      <a:pt x="106" y="317"/>
                    </a:lnTo>
                    <a:lnTo>
                      <a:pt x="106" y="309"/>
                    </a:lnTo>
                    <a:lnTo>
                      <a:pt x="104" y="306"/>
                    </a:lnTo>
                    <a:lnTo>
                      <a:pt x="96" y="299"/>
                    </a:lnTo>
                    <a:lnTo>
                      <a:pt x="89" y="297"/>
                    </a:lnTo>
                    <a:lnTo>
                      <a:pt x="87" y="292"/>
                    </a:lnTo>
                    <a:lnTo>
                      <a:pt x="84" y="291"/>
                    </a:lnTo>
                    <a:lnTo>
                      <a:pt x="83" y="293"/>
                    </a:lnTo>
                    <a:lnTo>
                      <a:pt x="71" y="286"/>
                    </a:lnTo>
                    <a:lnTo>
                      <a:pt x="68" y="286"/>
                    </a:lnTo>
                    <a:lnTo>
                      <a:pt x="59" y="283"/>
                    </a:lnTo>
                    <a:lnTo>
                      <a:pt x="57" y="274"/>
                    </a:lnTo>
                    <a:lnTo>
                      <a:pt x="54" y="271"/>
                    </a:lnTo>
                    <a:lnTo>
                      <a:pt x="54" y="268"/>
                    </a:lnTo>
                    <a:lnTo>
                      <a:pt x="40" y="252"/>
                    </a:lnTo>
                    <a:lnTo>
                      <a:pt x="39" y="247"/>
                    </a:lnTo>
                    <a:lnTo>
                      <a:pt x="41" y="246"/>
                    </a:lnTo>
                    <a:lnTo>
                      <a:pt x="41" y="243"/>
                    </a:lnTo>
                    <a:lnTo>
                      <a:pt x="39" y="241"/>
                    </a:lnTo>
                    <a:lnTo>
                      <a:pt x="36" y="240"/>
                    </a:lnTo>
                    <a:lnTo>
                      <a:pt x="33" y="238"/>
                    </a:lnTo>
                    <a:lnTo>
                      <a:pt x="31" y="226"/>
                    </a:lnTo>
                    <a:lnTo>
                      <a:pt x="36" y="231"/>
                    </a:lnTo>
                    <a:lnTo>
                      <a:pt x="33" y="224"/>
                    </a:lnTo>
                    <a:lnTo>
                      <a:pt x="38" y="221"/>
                    </a:lnTo>
                    <a:lnTo>
                      <a:pt x="31" y="219"/>
                    </a:lnTo>
                    <a:lnTo>
                      <a:pt x="31" y="224"/>
                    </a:lnTo>
                    <a:lnTo>
                      <a:pt x="27" y="223"/>
                    </a:lnTo>
                    <a:lnTo>
                      <a:pt x="24" y="221"/>
                    </a:lnTo>
                    <a:lnTo>
                      <a:pt x="23" y="216"/>
                    </a:lnTo>
                    <a:lnTo>
                      <a:pt x="15" y="207"/>
                    </a:lnTo>
                    <a:lnTo>
                      <a:pt x="13" y="198"/>
                    </a:lnTo>
                    <a:lnTo>
                      <a:pt x="13" y="192"/>
                    </a:lnTo>
                    <a:lnTo>
                      <a:pt x="5" y="179"/>
                    </a:lnTo>
                    <a:lnTo>
                      <a:pt x="5" y="176"/>
                    </a:lnTo>
                    <a:lnTo>
                      <a:pt x="8" y="171"/>
                    </a:lnTo>
                    <a:lnTo>
                      <a:pt x="10" y="160"/>
                    </a:lnTo>
                    <a:lnTo>
                      <a:pt x="7" y="149"/>
                    </a:lnTo>
                    <a:lnTo>
                      <a:pt x="5" y="142"/>
                    </a:lnTo>
                    <a:lnTo>
                      <a:pt x="3" y="132"/>
                    </a:lnTo>
                    <a:lnTo>
                      <a:pt x="5" y="125"/>
                    </a:lnTo>
                    <a:lnTo>
                      <a:pt x="7" y="121"/>
                    </a:lnTo>
                    <a:lnTo>
                      <a:pt x="6" y="119"/>
                    </a:lnTo>
                    <a:lnTo>
                      <a:pt x="9" y="105"/>
                    </a:lnTo>
                    <a:lnTo>
                      <a:pt x="11" y="68"/>
                    </a:lnTo>
                    <a:lnTo>
                      <a:pt x="20" y="67"/>
                    </a:lnTo>
                    <a:lnTo>
                      <a:pt x="17" y="64"/>
                    </a:lnTo>
                    <a:lnTo>
                      <a:pt x="10" y="63"/>
                    </a:lnTo>
                    <a:lnTo>
                      <a:pt x="9" y="57"/>
                    </a:lnTo>
                    <a:lnTo>
                      <a:pt x="10" y="61"/>
                    </a:lnTo>
                    <a:lnTo>
                      <a:pt x="12" y="60"/>
                    </a:lnTo>
                    <a:lnTo>
                      <a:pt x="11" y="56"/>
                    </a:lnTo>
                    <a:lnTo>
                      <a:pt x="9" y="54"/>
                    </a:lnTo>
                    <a:lnTo>
                      <a:pt x="10" y="49"/>
                    </a:lnTo>
                    <a:lnTo>
                      <a:pt x="9" y="48"/>
                    </a:lnTo>
                    <a:lnTo>
                      <a:pt x="7" y="49"/>
                    </a:lnTo>
                    <a:lnTo>
                      <a:pt x="5" y="37"/>
                    </a:lnTo>
                    <a:lnTo>
                      <a:pt x="0" y="29"/>
                    </a:lnTo>
                    <a:lnTo>
                      <a:pt x="0" y="22"/>
                    </a:lnTo>
                    <a:lnTo>
                      <a:pt x="1" y="20"/>
                    </a:lnTo>
                    <a:lnTo>
                      <a:pt x="12" y="25"/>
                    </a:lnTo>
                    <a:lnTo>
                      <a:pt x="27" y="26"/>
                    </a:lnTo>
                    <a:lnTo>
                      <a:pt x="28" y="31"/>
                    </a:lnTo>
                    <a:lnTo>
                      <a:pt x="23" y="39"/>
                    </a:lnTo>
                    <a:lnTo>
                      <a:pt x="23" y="41"/>
                    </a:lnTo>
                    <a:lnTo>
                      <a:pt x="25" y="41"/>
                    </a:lnTo>
                    <a:lnTo>
                      <a:pt x="24" y="40"/>
                    </a:lnTo>
                    <a:lnTo>
                      <a:pt x="30" y="32"/>
                    </a:lnTo>
                    <a:lnTo>
                      <a:pt x="32" y="32"/>
                    </a:lnTo>
                    <a:lnTo>
                      <a:pt x="33" y="34"/>
                    </a:lnTo>
                    <a:lnTo>
                      <a:pt x="33" y="30"/>
                    </a:lnTo>
                    <a:lnTo>
                      <a:pt x="32" y="22"/>
                    </a:lnTo>
                    <a:lnTo>
                      <a:pt x="29" y="19"/>
                    </a:lnTo>
                    <a:lnTo>
                      <a:pt x="31" y="17"/>
                    </a:lnTo>
                    <a:lnTo>
                      <a:pt x="31" y="14"/>
                    </a:lnTo>
                    <a:lnTo>
                      <a:pt x="33" y="14"/>
                    </a:lnTo>
                    <a:lnTo>
                      <a:pt x="29" y="13"/>
                    </a:lnTo>
                    <a:lnTo>
                      <a:pt x="26" y="8"/>
                    </a:lnTo>
                    <a:lnTo>
                      <a:pt x="42" y="8"/>
                    </a:lnTo>
                    <a:lnTo>
                      <a:pt x="53" y="8"/>
                    </a:lnTo>
                    <a:lnTo>
                      <a:pt x="71" y="8"/>
                    </a:lnTo>
                    <a:lnTo>
                      <a:pt x="90" y="8"/>
                    </a:lnTo>
                    <a:lnTo>
                      <a:pt x="106" y="8"/>
                    </a:lnTo>
                    <a:lnTo>
                      <a:pt x="121" y="8"/>
                    </a:lnTo>
                    <a:lnTo>
                      <a:pt x="134" y="8"/>
                    </a:lnTo>
                    <a:lnTo>
                      <a:pt x="148" y="8"/>
                    </a:lnTo>
                    <a:lnTo>
                      <a:pt x="166" y="8"/>
                    </a:lnTo>
                    <a:lnTo>
                      <a:pt x="188" y="8"/>
                    </a:lnTo>
                    <a:lnTo>
                      <a:pt x="205" y="8"/>
                    </a:lnTo>
                    <a:lnTo>
                      <a:pt x="226" y="9"/>
                    </a:lnTo>
                    <a:lnTo>
                      <a:pt x="249" y="9"/>
                    </a:lnTo>
                    <a:lnTo>
                      <a:pt x="274" y="9"/>
                    </a:lnTo>
                    <a:lnTo>
                      <a:pt x="290" y="9"/>
                    </a:lnTo>
                    <a:lnTo>
                      <a:pt x="308" y="9"/>
                    </a:lnTo>
                    <a:lnTo>
                      <a:pt x="328" y="9"/>
                    </a:lnTo>
                    <a:lnTo>
                      <a:pt x="347" y="9"/>
                    </a:lnTo>
                    <a:lnTo>
                      <a:pt x="368" y="9"/>
                    </a:lnTo>
                    <a:lnTo>
                      <a:pt x="386" y="9"/>
                    </a:lnTo>
                    <a:lnTo>
                      <a:pt x="416" y="9"/>
                    </a:lnTo>
                    <a:lnTo>
                      <a:pt x="416" y="0"/>
                    </a:lnTo>
                    <a:lnTo>
                      <a:pt x="418" y="0"/>
                    </a:lnTo>
                    <a:lnTo>
                      <a:pt x="424" y="14"/>
                    </a:lnTo>
                    <a:lnTo>
                      <a:pt x="430" y="14"/>
                    </a:lnTo>
                    <a:lnTo>
                      <a:pt x="437" y="17"/>
                    </a:lnTo>
                    <a:lnTo>
                      <a:pt x="449" y="16"/>
                    </a:lnTo>
                    <a:lnTo>
                      <a:pt x="468" y="28"/>
                    </a:lnTo>
                    <a:lnTo>
                      <a:pt x="476" y="26"/>
                    </a:lnTo>
                    <a:lnTo>
                      <a:pt x="492" y="30"/>
                    </a:lnTo>
                    <a:lnTo>
                      <a:pt x="470" y="46"/>
                    </a:lnTo>
                    <a:lnTo>
                      <a:pt x="459" y="57"/>
                    </a:lnTo>
                    <a:lnTo>
                      <a:pt x="460" y="58"/>
                    </a:lnTo>
                    <a:lnTo>
                      <a:pt x="466" y="58"/>
                    </a:lnTo>
                    <a:lnTo>
                      <a:pt x="475" y="52"/>
                    </a:lnTo>
                    <a:lnTo>
                      <a:pt x="476" y="53"/>
                    </a:lnTo>
                    <a:lnTo>
                      <a:pt x="476" y="59"/>
                    </a:lnTo>
                    <a:lnTo>
                      <a:pt x="482" y="59"/>
                    </a:lnTo>
                    <a:lnTo>
                      <a:pt x="498" y="53"/>
                    </a:lnTo>
                    <a:lnTo>
                      <a:pt x="510" y="43"/>
                    </a:lnTo>
                    <a:lnTo>
                      <a:pt x="519" y="41"/>
                    </a:lnTo>
                    <a:lnTo>
                      <a:pt x="510" y="52"/>
                    </a:lnTo>
                    <a:lnTo>
                      <a:pt x="510" y="55"/>
                    </a:lnTo>
                    <a:lnTo>
                      <a:pt x="512" y="53"/>
                    </a:lnTo>
                    <a:lnTo>
                      <a:pt x="517" y="53"/>
                    </a:lnTo>
                    <a:lnTo>
                      <a:pt x="521" y="56"/>
                    </a:lnTo>
                    <a:lnTo>
                      <a:pt x="526" y="61"/>
                    </a:lnTo>
                    <a:lnTo>
                      <a:pt x="534" y="62"/>
                    </a:lnTo>
                    <a:lnTo>
                      <a:pt x="542" y="57"/>
                    </a:lnTo>
                    <a:lnTo>
                      <a:pt x="557" y="55"/>
                    </a:lnTo>
                    <a:lnTo>
                      <a:pt x="558" y="60"/>
                    </a:lnTo>
                    <a:lnTo>
                      <a:pt x="560" y="61"/>
                    </a:lnTo>
                    <a:lnTo>
                      <a:pt x="565" y="61"/>
                    </a:lnTo>
                    <a:lnTo>
                      <a:pt x="568" y="61"/>
                    </a:lnTo>
                    <a:lnTo>
                      <a:pt x="569" y="67"/>
                    </a:lnTo>
                    <a:lnTo>
                      <a:pt x="573" y="71"/>
                    </a:lnTo>
                    <a:lnTo>
                      <a:pt x="567" y="73"/>
                    </a:lnTo>
                    <a:lnTo>
                      <a:pt x="565" y="70"/>
                    </a:lnTo>
                    <a:lnTo>
                      <a:pt x="564" y="73"/>
                    </a:lnTo>
                    <a:lnTo>
                      <a:pt x="561" y="73"/>
                    </a:lnTo>
                    <a:lnTo>
                      <a:pt x="554" y="69"/>
                    </a:lnTo>
                    <a:lnTo>
                      <a:pt x="542" y="74"/>
                    </a:lnTo>
                    <a:lnTo>
                      <a:pt x="536" y="79"/>
                    </a:lnTo>
                    <a:lnTo>
                      <a:pt x="536" y="74"/>
                    </a:lnTo>
                    <a:lnTo>
                      <a:pt x="531" y="76"/>
                    </a:lnTo>
                    <a:lnTo>
                      <a:pt x="522" y="89"/>
                    </a:lnTo>
                    <a:lnTo>
                      <a:pt x="520" y="94"/>
                    </a:lnTo>
                    <a:lnTo>
                      <a:pt x="517" y="100"/>
                    </a:lnTo>
                    <a:lnTo>
                      <a:pt x="525" y="94"/>
                    </a:lnTo>
                    <a:lnTo>
                      <a:pt x="525" y="90"/>
                    </a:lnTo>
                    <a:lnTo>
                      <a:pt x="529" y="86"/>
                    </a:lnTo>
                    <a:lnTo>
                      <a:pt x="529" y="88"/>
                    </a:lnTo>
                    <a:lnTo>
                      <a:pt x="524" y="100"/>
                    </a:lnTo>
                    <a:lnTo>
                      <a:pt x="521" y="117"/>
                    </a:lnTo>
                    <a:lnTo>
                      <a:pt x="518" y="125"/>
                    </a:lnTo>
                    <a:lnTo>
                      <a:pt x="519" y="140"/>
                    </a:lnTo>
                    <a:lnTo>
                      <a:pt x="519" y="144"/>
                    </a:lnTo>
                    <a:lnTo>
                      <a:pt x="522" y="152"/>
                    </a:lnTo>
                    <a:lnTo>
                      <a:pt x="523" y="154"/>
                    </a:lnTo>
                    <a:lnTo>
                      <a:pt x="528" y="156"/>
                    </a:lnTo>
                    <a:lnTo>
                      <a:pt x="532" y="153"/>
                    </a:lnTo>
                    <a:lnTo>
                      <a:pt x="535" y="151"/>
                    </a:lnTo>
                    <a:lnTo>
                      <a:pt x="541" y="137"/>
                    </a:lnTo>
                    <a:lnTo>
                      <a:pt x="541" y="128"/>
                    </a:lnTo>
                    <a:lnTo>
                      <a:pt x="541" y="125"/>
                    </a:lnTo>
                    <a:lnTo>
                      <a:pt x="537" y="117"/>
                    </a:lnTo>
                    <a:lnTo>
                      <a:pt x="539" y="107"/>
                    </a:lnTo>
                    <a:lnTo>
                      <a:pt x="541" y="106"/>
                    </a:lnTo>
                    <a:lnTo>
                      <a:pt x="541" y="97"/>
                    </a:lnTo>
                    <a:lnTo>
                      <a:pt x="543" y="93"/>
                    </a:lnTo>
                    <a:lnTo>
                      <a:pt x="549" y="88"/>
                    </a:lnTo>
                    <a:lnTo>
                      <a:pt x="550" y="94"/>
                    </a:lnTo>
                    <a:lnTo>
                      <a:pt x="552" y="92"/>
                    </a:lnTo>
                    <a:lnTo>
                      <a:pt x="553" y="86"/>
                    </a:lnTo>
                    <a:lnTo>
                      <a:pt x="559" y="83"/>
                    </a:lnTo>
                    <a:lnTo>
                      <a:pt x="558" y="80"/>
                    </a:lnTo>
                    <a:lnTo>
                      <a:pt x="559" y="77"/>
                    </a:lnTo>
                    <a:lnTo>
                      <a:pt x="569" y="79"/>
                    </a:lnTo>
                    <a:lnTo>
                      <a:pt x="580" y="86"/>
                    </a:lnTo>
                    <a:lnTo>
                      <a:pt x="582" y="89"/>
                    </a:lnTo>
                    <a:lnTo>
                      <a:pt x="581" y="91"/>
                    </a:lnTo>
                    <a:lnTo>
                      <a:pt x="583" y="102"/>
                    </a:lnTo>
                    <a:lnTo>
                      <a:pt x="580" y="108"/>
                    </a:lnTo>
                    <a:lnTo>
                      <a:pt x="576" y="111"/>
                    </a:lnTo>
                    <a:lnTo>
                      <a:pt x="574" y="116"/>
                    </a:lnTo>
                    <a:lnTo>
                      <a:pt x="575" y="117"/>
                    </a:lnTo>
                    <a:lnTo>
                      <a:pt x="578" y="117"/>
                    </a:lnTo>
                    <a:lnTo>
                      <a:pt x="582" y="111"/>
                    </a:lnTo>
                    <a:lnTo>
                      <a:pt x="588" y="109"/>
                    </a:lnTo>
                    <a:lnTo>
                      <a:pt x="592" y="114"/>
                    </a:lnTo>
                    <a:lnTo>
                      <a:pt x="594" y="125"/>
                    </a:lnTo>
                    <a:lnTo>
                      <a:pt x="596" y="128"/>
                    </a:lnTo>
                    <a:lnTo>
                      <a:pt x="594" y="137"/>
                    </a:lnTo>
                    <a:lnTo>
                      <a:pt x="589" y="139"/>
                    </a:lnTo>
                    <a:lnTo>
                      <a:pt x="588" y="141"/>
                    </a:lnTo>
                    <a:lnTo>
                      <a:pt x="586" y="146"/>
                    </a:lnTo>
                    <a:lnTo>
                      <a:pt x="585" y="149"/>
                    </a:lnTo>
                    <a:lnTo>
                      <a:pt x="581" y="155"/>
                    </a:lnTo>
                    <a:lnTo>
                      <a:pt x="595" y="159"/>
                    </a:lnTo>
                    <a:lnTo>
                      <a:pt x="604" y="158"/>
                    </a:lnTo>
                    <a:lnTo>
                      <a:pt x="613" y="152"/>
                    </a:lnTo>
                    <a:lnTo>
                      <a:pt x="622" y="149"/>
                    </a:lnTo>
                    <a:lnTo>
                      <a:pt x="632" y="144"/>
                    </a:lnTo>
                    <a:lnTo>
                      <a:pt x="646" y="133"/>
                    </a:lnTo>
                    <a:lnTo>
                      <a:pt x="643" y="125"/>
                    </a:lnTo>
                    <a:lnTo>
                      <a:pt x="656" y="122"/>
                    </a:lnTo>
                    <a:lnTo>
                      <a:pt x="664" y="125"/>
                    </a:lnTo>
                    <a:lnTo>
                      <a:pt x="673" y="124"/>
                    </a:lnTo>
                    <a:lnTo>
                      <a:pt x="684" y="119"/>
                    </a:lnTo>
                    <a:lnTo>
                      <a:pt x="684" y="115"/>
                    </a:lnTo>
                    <a:lnTo>
                      <a:pt x="682" y="112"/>
                    </a:lnTo>
                    <a:lnTo>
                      <a:pt x="685" y="110"/>
                    </a:lnTo>
                    <a:lnTo>
                      <a:pt x="682" y="109"/>
                    </a:lnTo>
                    <a:lnTo>
                      <a:pt x="688" y="104"/>
                    </a:lnTo>
                    <a:lnTo>
                      <a:pt x="691" y="98"/>
                    </a:lnTo>
                    <a:lnTo>
                      <a:pt x="700" y="92"/>
                    </a:lnTo>
                    <a:lnTo>
                      <a:pt x="723" y="92"/>
                    </a:lnTo>
                    <a:lnTo>
                      <a:pt x="735" y="92"/>
                    </a:lnTo>
                    <a:lnTo>
                      <a:pt x="749" y="92"/>
                    </a:lnTo>
                    <a:lnTo>
                      <a:pt x="751" y="86"/>
                    </a:lnTo>
                    <a:lnTo>
                      <a:pt x="755" y="86"/>
                    </a:lnTo>
                  </a:path>
                </a:pathLst>
              </a:custGeom>
              <a:solidFill>
                <a:srgbClr val="EAEAEA"/>
              </a:solidFill>
              <a:ln w="6350" cap="rnd">
                <a:solidFill>
                  <a:srgbClr val="B2B2B2"/>
                </a:solidFill>
                <a:prstDash val="solid"/>
                <a:bevel/>
                <a:headEnd/>
                <a:tailEnd/>
              </a:ln>
            </p:spPr>
            <p:txBody>
              <a:bodyPr/>
              <a:lstStyle/>
              <a:p>
                <a:endParaRPr lang="en-GB">
                  <a:latin typeface="Calibri" pitchFamily="34" charset="0"/>
                </a:endParaRPr>
              </a:p>
            </p:txBody>
          </p:sp>
          <p:sp>
            <p:nvSpPr>
              <p:cNvPr id="58624" name="Freeform 256"/>
              <p:cNvSpPr>
                <a:spLocks/>
              </p:cNvSpPr>
              <p:nvPr/>
            </p:nvSpPr>
            <p:spPr bwMode="auto">
              <a:xfrm>
                <a:off x="2212" y="1920"/>
                <a:ext cx="1" cy="4"/>
              </a:xfrm>
              <a:custGeom>
                <a:avLst/>
                <a:gdLst>
                  <a:gd name="T0" fmla="*/ 1 w 1"/>
                  <a:gd name="T1" fmla="*/ 0 h 4"/>
                  <a:gd name="T2" fmla="*/ 0 w 1"/>
                  <a:gd name="T3" fmla="*/ 4 h 4"/>
                  <a:gd name="T4" fmla="*/ 1 w 1"/>
                  <a:gd name="T5" fmla="*/ 3 h 4"/>
                  <a:gd name="T6" fmla="*/ 1 w 1"/>
                  <a:gd name="T7" fmla="*/ 0 h 4"/>
                  <a:gd name="T8" fmla="*/ 1 w 1"/>
                  <a:gd name="T9" fmla="*/ 0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4"/>
                  <a:gd name="T17" fmla="*/ 1 w 1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4">
                    <a:moveTo>
                      <a:pt x="1" y="0"/>
                    </a:moveTo>
                    <a:lnTo>
                      <a:pt x="0" y="4"/>
                    </a:lnTo>
                    <a:lnTo>
                      <a:pt x="1" y="3"/>
                    </a:lnTo>
                    <a:lnTo>
                      <a:pt x="1" y="0"/>
                    </a:lnTo>
                  </a:path>
                </a:pathLst>
              </a:custGeom>
              <a:solidFill>
                <a:srgbClr val="EAEAEA"/>
              </a:solidFill>
              <a:ln w="6350" cap="rnd">
                <a:solidFill>
                  <a:srgbClr val="B2B2B2"/>
                </a:solidFill>
                <a:prstDash val="solid"/>
                <a:bevel/>
                <a:headEnd/>
                <a:tailEnd/>
              </a:ln>
            </p:spPr>
            <p:txBody>
              <a:bodyPr/>
              <a:lstStyle/>
              <a:p>
                <a:endParaRPr lang="en-GB">
                  <a:latin typeface="Calibri" pitchFamily="34" charset="0"/>
                </a:endParaRPr>
              </a:p>
            </p:txBody>
          </p:sp>
          <p:sp>
            <p:nvSpPr>
              <p:cNvPr id="58625" name="Freeform 257"/>
              <p:cNvSpPr>
                <a:spLocks/>
              </p:cNvSpPr>
              <p:nvPr/>
            </p:nvSpPr>
            <p:spPr bwMode="auto">
              <a:xfrm>
                <a:off x="2186" y="1934"/>
                <a:ext cx="1" cy="1"/>
              </a:xfrm>
              <a:custGeom>
                <a:avLst/>
                <a:gdLst>
                  <a:gd name="T0" fmla="*/ 0 w 1"/>
                  <a:gd name="T1" fmla="*/ 0 h 1"/>
                  <a:gd name="T2" fmla="*/ 1 w 1"/>
                  <a:gd name="T3" fmla="*/ 1 h 1"/>
                  <a:gd name="T4" fmla="*/ 1 w 1"/>
                  <a:gd name="T5" fmla="*/ 0 h 1"/>
                  <a:gd name="T6" fmla="*/ 0 w 1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"/>
                  <a:gd name="T13" fmla="*/ 0 h 1"/>
                  <a:gd name="T14" fmla="*/ 1 w 1"/>
                  <a:gd name="T15" fmla="*/ 1 h 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" h="1">
                    <a:moveTo>
                      <a:pt x="0" y="0"/>
                    </a:move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EAEAEA"/>
              </a:solidFill>
              <a:ln w="6350" cap="rnd">
                <a:solidFill>
                  <a:srgbClr val="B2B2B2"/>
                </a:solidFill>
                <a:prstDash val="solid"/>
                <a:bevel/>
                <a:headEnd/>
                <a:tailEnd/>
              </a:ln>
            </p:spPr>
            <p:txBody>
              <a:bodyPr/>
              <a:lstStyle/>
              <a:p>
                <a:endParaRPr lang="en-GB">
                  <a:latin typeface="Calibri" pitchFamily="34" charset="0"/>
                </a:endParaRPr>
              </a:p>
            </p:txBody>
          </p:sp>
          <p:sp>
            <p:nvSpPr>
              <p:cNvPr id="58626" name="Freeform 258"/>
              <p:cNvSpPr>
                <a:spLocks/>
              </p:cNvSpPr>
              <p:nvPr/>
            </p:nvSpPr>
            <p:spPr bwMode="auto">
              <a:xfrm>
                <a:off x="2186" y="1930"/>
                <a:ext cx="1" cy="2"/>
              </a:xfrm>
              <a:custGeom>
                <a:avLst/>
                <a:gdLst>
                  <a:gd name="T0" fmla="*/ 0 w 1"/>
                  <a:gd name="T1" fmla="*/ 2 h 2"/>
                  <a:gd name="T2" fmla="*/ 0 w 1"/>
                  <a:gd name="T3" fmla="*/ 2 h 2"/>
                  <a:gd name="T4" fmla="*/ 1 w 1"/>
                  <a:gd name="T5" fmla="*/ 0 h 2"/>
                  <a:gd name="T6" fmla="*/ 0 w 1"/>
                  <a:gd name="T7" fmla="*/ 2 h 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"/>
                  <a:gd name="T13" fmla="*/ 0 h 2"/>
                  <a:gd name="T14" fmla="*/ 1 w 1"/>
                  <a:gd name="T15" fmla="*/ 2 h 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" h="2">
                    <a:moveTo>
                      <a:pt x="0" y="2"/>
                    </a:moveTo>
                    <a:lnTo>
                      <a:pt x="0" y="2"/>
                    </a:lnTo>
                    <a:lnTo>
                      <a:pt x="1" y="0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EAEAEA"/>
              </a:solidFill>
              <a:ln w="6350" cap="rnd">
                <a:solidFill>
                  <a:srgbClr val="B2B2B2"/>
                </a:solidFill>
                <a:prstDash val="solid"/>
                <a:bevel/>
                <a:headEnd/>
                <a:tailEnd/>
              </a:ln>
            </p:spPr>
            <p:txBody>
              <a:bodyPr/>
              <a:lstStyle/>
              <a:p>
                <a:endParaRPr lang="en-GB">
                  <a:latin typeface="Calibri" pitchFamily="34" charset="0"/>
                </a:endParaRPr>
              </a:p>
            </p:txBody>
          </p:sp>
          <p:sp>
            <p:nvSpPr>
              <p:cNvPr id="58627" name="Freeform 259"/>
              <p:cNvSpPr>
                <a:spLocks/>
              </p:cNvSpPr>
              <p:nvPr/>
            </p:nvSpPr>
            <p:spPr bwMode="auto">
              <a:xfrm>
                <a:off x="2182" y="1932"/>
                <a:ext cx="3" cy="2"/>
              </a:xfrm>
              <a:custGeom>
                <a:avLst/>
                <a:gdLst>
                  <a:gd name="T0" fmla="*/ 0 w 3"/>
                  <a:gd name="T1" fmla="*/ 1 h 2"/>
                  <a:gd name="T2" fmla="*/ 1 w 3"/>
                  <a:gd name="T3" fmla="*/ 2 h 2"/>
                  <a:gd name="T4" fmla="*/ 3 w 3"/>
                  <a:gd name="T5" fmla="*/ 2 h 2"/>
                  <a:gd name="T6" fmla="*/ 2 w 3"/>
                  <a:gd name="T7" fmla="*/ 0 h 2"/>
                  <a:gd name="T8" fmla="*/ 0 w 3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0" y="1"/>
                    </a:moveTo>
                    <a:lnTo>
                      <a:pt x="1" y="2"/>
                    </a:lnTo>
                    <a:lnTo>
                      <a:pt x="3" y="2"/>
                    </a:lnTo>
                    <a:lnTo>
                      <a:pt x="2" y="0"/>
                    </a:lnTo>
                    <a:lnTo>
                      <a:pt x="0" y="1"/>
                    </a:lnTo>
                  </a:path>
                </a:pathLst>
              </a:custGeom>
              <a:solidFill>
                <a:srgbClr val="EAEAEA"/>
              </a:solidFill>
              <a:ln w="6350" cap="rnd">
                <a:solidFill>
                  <a:srgbClr val="B2B2B2"/>
                </a:solidFill>
                <a:prstDash val="solid"/>
                <a:bevel/>
                <a:headEnd/>
                <a:tailEnd/>
              </a:ln>
            </p:spPr>
            <p:txBody>
              <a:bodyPr/>
              <a:lstStyle/>
              <a:p>
                <a:endParaRPr lang="en-GB">
                  <a:latin typeface="Calibri" pitchFamily="34" charset="0"/>
                </a:endParaRPr>
              </a:p>
            </p:txBody>
          </p:sp>
          <p:sp>
            <p:nvSpPr>
              <p:cNvPr id="58628" name="Freeform 260"/>
              <p:cNvSpPr>
                <a:spLocks/>
              </p:cNvSpPr>
              <p:nvPr/>
            </p:nvSpPr>
            <p:spPr bwMode="auto">
              <a:xfrm>
                <a:off x="2164" y="1985"/>
                <a:ext cx="4" cy="3"/>
              </a:xfrm>
              <a:custGeom>
                <a:avLst/>
                <a:gdLst>
                  <a:gd name="T0" fmla="*/ 0 w 4"/>
                  <a:gd name="T1" fmla="*/ 2 h 3"/>
                  <a:gd name="T2" fmla="*/ 4 w 4"/>
                  <a:gd name="T3" fmla="*/ 3 h 3"/>
                  <a:gd name="T4" fmla="*/ 4 w 4"/>
                  <a:gd name="T5" fmla="*/ 2 h 3"/>
                  <a:gd name="T6" fmla="*/ 3 w 4"/>
                  <a:gd name="T7" fmla="*/ 0 h 3"/>
                  <a:gd name="T8" fmla="*/ 2 w 4"/>
                  <a:gd name="T9" fmla="*/ 2 h 3"/>
                  <a:gd name="T10" fmla="*/ 0 w 4"/>
                  <a:gd name="T11" fmla="*/ 2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3"/>
                  <a:gd name="T20" fmla="*/ 4 w 4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3">
                    <a:moveTo>
                      <a:pt x="0" y="2"/>
                    </a:moveTo>
                    <a:lnTo>
                      <a:pt x="4" y="3"/>
                    </a:lnTo>
                    <a:lnTo>
                      <a:pt x="4" y="2"/>
                    </a:lnTo>
                    <a:lnTo>
                      <a:pt x="3" y="0"/>
                    </a:lnTo>
                    <a:lnTo>
                      <a:pt x="2" y="2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EAEAEA"/>
              </a:solidFill>
              <a:ln w="6350" cap="rnd">
                <a:solidFill>
                  <a:srgbClr val="B2B2B2"/>
                </a:solidFill>
                <a:prstDash val="solid"/>
                <a:bevel/>
                <a:headEnd/>
                <a:tailEnd/>
              </a:ln>
            </p:spPr>
            <p:txBody>
              <a:bodyPr/>
              <a:lstStyle/>
              <a:p>
                <a:endParaRPr lang="en-GB">
                  <a:latin typeface="Calibri" pitchFamily="34" charset="0"/>
                </a:endParaRPr>
              </a:p>
            </p:txBody>
          </p:sp>
          <p:sp>
            <p:nvSpPr>
              <p:cNvPr id="58629" name="Freeform 261"/>
              <p:cNvSpPr>
                <a:spLocks/>
              </p:cNvSpPr>
              <p:nvPr/>
            </p:nvSpPr>
            <p:spPr bwMode="auto">
              <a:xfrm>
                <a:off x="2155" y="1984"/>
                <a:ext cx="6" cy="2"/>
              </a:xfrm>
              <a:custGeom>
                <a:avLst/>
                <a:gdLst>
                  <a:gd name="T0" fmla="*/ 0 w 6"/>
                  <a:gd name="T1" fmla="*/ 2 h 2"/>
                  <a:gd name="T2" fmla="*/ 6 w 6"/>
                  <a:gd name="T3" fmla="*/ 2 h 2"/>
                  <a:gd name="T4" fmla="*/ 6 w 6"/>
                  <a:gd name="T5" fmla="*/ 1 h 2"/>
                  <a:gd name="T6" fmla="*/ 4 w 6"/>
                  <a:gd name="T7" fmla="*/ 0 h 2"/>
                  <a:gd name="T8" fmla="*/ 0 w 6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2"/>
                  <a:gd name="T17" fmla="*/ 6 w 6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2">
                    <a:moveTo>
                      <a:pt x="0" y="2"/>
                    </a:moveTo>
                    <a:lnTo>
                      <a:pt x="6" y="2"/>
                    </a:lnTo>
                    <a:lnTo>
                      <a:pt x="6" y="1"/>
                    </a:lnTo>
                    <a:lnTo>
                      <a:pt x="4" y="0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EAEAEA"/>
              </a:solidFill>
              <a:ln w="6350" cap="rnd">
                <a:solidFill>
                  <a:srgbClr val="B2B2B2"/>
                </a:solidFill>
                <a:prstDash val="solid"/>
                <a:bevel/>
                <a:headEnd/>
                <a:tailEnd/>
              </a:ln>
            </p:spPr>
            <p:txBody>
              <a:bodyPr/>
              <a:lstStyle/>
              <a:p>
                <a:endParaRPr lang="en-GB">
                  <a:latin typeface="Calibri" pitchFamily="34" charset="0"/>
                </a:endParaRPr>
              </a:p>
            </p:txBody>
          </p:sp>
          <p:sp>
            <p:nvSpPr>
              <p:cNvPr id="58630" name="Freeform 262"/>
              <p:cNvSpPr>
                <a:spLocks/>
              </p:cNvSpPr>
              <p:nvPr/>
            </p:nvSpPr>
            <p:spPr bwMode="auto">
              <a:xfrm>
                <a:off x="2112" y="1989"/>
                <a:ext cx="29" cy="11"/>
              </a:xfrm>
              <a:custGeom>
                <a:avLst/>
                <a:gdLst>
                  <a:gd name="T0" fmla="*/ 25 w 29"/>
                  <a:gd name="T1" fmla="*/ 1 h 11"/>
                  <a:gd name="T2" fmla="*/ 25 w 29"/>
                  <a:gd name="T3" fmla="*/ 0 h 11"/>
                  <a:gd name="T4" fmla="*/ 19 w 29"/>
                  <a:gd name="T5" fmla="*/ 4 h 11"/>
                  <a:gd name="T6" fmla="*/ 4 w 29"/>
                  <a:gd name="T7" fmla="*/ 7 h 11"/>
                  <a:gd name="T8" fmla="*/ 0 w 29"/>
                  <a:gd name="T9" fmla="*/ 9 h 11"/>
                  <a:gd name="T10" fmla="*/ 0 w 29"/>
                  <a:gd name="T11" fmla="*/ 11 h 11"/>
                  <a:gd name="T12" fmla="*/ 3 w 29"/>
                  <a:gd name="T13" fmla="*/ 11 h 11"/>
                  <a:gd name="T14" fmla="*/ 25 w 29"/>
                  <a:gd name="T15" fmla="*/ 4 h 11"/>
                  <a:gd name="T16" fmla="*/ 29 w 29"/>
                  <a:gd name="T17" fmla="*/ 3 h 11"/>
                  <a:gd name="T18" fmla="*/ 29 w 29"/>
                  <a:gd name="T19" fmla="*/ 2 h 11"/>
                  <a:gd name="T20" fmla="*/ 26 w 29"/>
                  <a:gd name="T21" fmla="*/ 3 h 11"/>
                  <a:gd name="T22" fmla="*/ 22 w 29"/>
                  <a:gd name="T23" fmla="*/ 4 h 11"/>
                  <a:gd name="T24" fmla="*/ 25 w 29"/>
                  <a:gd name="T25" fmla="*/ 1 h 1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9"/>
                  <a:gd name="T40" fmla="*/ 0 h 11"/>
                  <a:gd name="T41" fmla="*/ 29 w 29"/>
                  <a:gd name="T42" fmla="*/ 11 h 11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9" h="11">
                    <a:moveTo>
                      <a:pt x="25" y="1"/>
                    </a:moveTo>
                    <a:lnTo>
                      <a:pt x="25" y="0"/>
                    </a:lnTo>
                    <a:lnTo>
                      <a:pt x="19" y="4"/>
                    </a:lnTo>
                    <a:lnTo>
                      <a:pt x="4" y="7"/>
                    </a:lnTo>
                    <a:lnTo>
                      <a:pt x="0" y="9"/>
                    </a:lnTo>
                    <a:lnTo>
                      <a:pt x="0" y="11"/>
                    </a:lnTo>
                    <a:lnTo>
                      <a:pt x="3" y="11"/>
                    </a:lnTo>
                    <a:lnTo>
                      <a:pt x="25" y="4"/>
                    </a:lnTo>
                    <a:lnTo>
                      <a:pt x="29" y="3"/>
                    </a:lnTo>
                    <a:lnTo>
                      <a:pt x="29" y="2"/>
                    </a:lnTo>
                    <a:lnTo>
                      <a:pt x="26" y="3"/>
                    </a:lnTo>
                    <a:lnTo>
                      <a:pt x="22" y="4"/>
                    </a:lnTo>
                    <a:lnTo>
                      <a:pt x="25" y="1"/>
                    </a:lnTo>
                  </a:path>
                </a:pathLst>
              </a:custGeom>
              <a:solidFill>
                <a:srgbClr val="EAEAEA"/>
              </a:solidFill>
              <a:ln w="6350" cap="rnd">
                <a:solidFill>
                  <a:srgbClr val="B2B2B2"/>
                </a:solidFill>
                <a:prstDash val="solid"/>
                <a:bevel/>
                <a:headEnd/>
                <a:tailEnd/>
              </a:ln>
            </p:spPr>
            <p:txBody>
              <a:bodyPr/>
              <a:lstStyle/>
              <a:p>
                <a:endParaRPr lang="en-GB">
                  <a:latin typeface="Calibri" pitchFamily="34" charset="0"/>
                </a:endParaRPr>
              </a:p>
            </p:txBody>
          </p:sp>
          <p:sp>
            <p:nvSpPr>
              <p:cNvPr id="58631" name="Freeform 263"/>
              <p:cNvSpPr>
                <a:spLocks/>
              </p:cNvSpPr>
              <p:nvPr/>
            </p:nvSpPr>
            <p:spPr bwMode="auto">
              <a:xfrm>
                <a:off x="2018" y="2261"/>
                <a:ext cx="3" cy="3"/>
              </a:xfrm>
              <a:custGeom>
                <a:avLst/>
                <a:gdLst>
                  <a:gd name="T0" fmla="*/ 3 w 3"/>
                  <a:gd name="T1" fmla="*/ 0 h 3"/>
                  <a:gd name="T2" fmla="*/ 0 w 3"/>
                  <a:gd name="T3" fmla="*/ 3 h 3"/>
                  <a:gd name="T4" fmla="*/ 3 w 3"/>
                  <a:gd name="T5" fmla="*/ 0 h 3"/>
                  <a:gd name="T6" fmla="*/ 0 60000 65536"/>
                  <a:gd name="T7" fmla="*/ 0 60000 65536"/>
                  <a:gd name="T8" fmla="*/ 0 60000 65536"/>
                  <a:gd name="T9" fmla="*/ 0 w 3"/>
                  <a:gd name="T10" fmla="*/ 0 h 3"/>
                  <a:gd name="T11" fmla="*/ 3 w 3"/>
                  <a:gd name="T12" fmla="*/ 3 h 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" h="3">
                    <a:moveTo>
                      <a:pt x="3" y="0"/>
                    </a:moveTo>
                    <a:lnTo>
                      <a:pt x="0" y="3"/>
                    </a:lnTo>
                    <a:lnTo>
                      <a:pt x="3" y="0"/>
                    </a:lnTo>
                  </a:path>
                </a:pathLst>
              </a:custGeom>
              <a:solidFill>
                <a:srgbClr val="EAEAEA"/>
              </a:solidFill>
              <a:ln w="6350" cap="rnd">
                <a:solidFill>
                  <a:srgbClr val="B2B2B2"/>
                </a:solidFill>
                <a:prstDash val="solid"/>
                <a:bevel/>
                <a:headEnd/>
                <a:tailEnd/>
              </a:ln>
            </p:spPr>
            <p:txBody>
              <a:bodyPr/>
              <a:lstStyle/>
              <a:p>
                <a:endParaRPr lang="en-GB">
                  <a:latin typeface="Calibri" pitchFamily="34" charset="0"/>
                </a:endParaRPr>
              </a:p>
            </p:txBody>
          </p:sp>
          <p:sp>
            <p:nvSpPr>
              <p:cNvPr id="58632" name="Freeform 264"/>
              <p:cNvSpPr>
                <a:spLocks/>
              </p:cNvSpPr>
              <p:nvPr/>
            </p:nvSpPr>
            <p:spPr bwMode="auto">
              <a:xfrm>
                <a:off x="2014" y="2265"/>
                <a:ext cx="3" cy="2"/>
              </a:xfrm>
              <a:custGeom>
                <a:avLst/>
                <a:gdLst>
                  <a:gd name="T0" fmla="*/ 3 w 3"/>
                  <a:gd name="T1" fmla="*/ 0 h 2"/>
                  <a:gd name="T2" fmla="*/ 0 w 3"/>
                  <a:gd name="T3" fmla="*/ 2 h 2"/>
                  <a:gd name="T4" fmla="*/ 3 w 3"/>
                  <a:gd name="T5" fmla="*/ 0 h 2"/>
                  <a:gd name="T6" fmla="*/ 0 60000 65536"/>
                  <a:gd name="T7" fmla="*/ 0 60000 65536"/>
                  <a:gd name="T8" fmla="*/ 0 60000 65536"/>
                  <a:gd name="T9" fmla="*/ 0 w 3"/>
                  <a:gd name="T10" fmla="*/ 0 h 2"/>
                  <a:gd name="T11" fmla="*/ 3 w 3"/>
                  <a:gd name="T12" fmla="*/ 2 h 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" h="2">
                    <a:moveTo>
                      <a:pt x="3" y="0"/>
                    </a:moveTo>
                    <a:lnTo>
                      <a:pt x="0" y="2"/>
                    </a:lnTo>
                    <a:lnTo>
                      <a:pt x="3" y="0"/>
                    </a:lnTo>
                  </a:path>
                </a:pathLst>
              </a:custGeom>
              <a:solidFill>
                <a:srgbClr val="EAEAEA"/>
              </a:solidFill>
              <a:ln w="6350" cap="rnd">
                <a:solidFill>
                  <a:srgbClr val="B2B2B2"/>
                </a:solidFill>
                <a:prstDash val="solid"/>
                <a:bevel/>
                <a:headEnd/>
                <a:tailEnd/>
              </a:ln>
            </p:spPr>
            <p:txBody>
              <a:bodyPr/>
              <a:lstStyle/>
              <a:p>
                <a:endParaRPr lang="en-GB">
                  <a:latin typeface="Calibri" pitchFamily="34" charset="0"/>
                </a:endParaRPr>
              </a:p>
            </p:txBody>
          </p:sp>
          <p:sp>
            <p:nvSpPr>
              <p:cNvPr id="58633" name="Freeform 265"/>
              <p:cNvSpPr>
                <a:spLocks/>
              </p:cNvSpPr>
              <p:nvPr/>
            </p:nvSpPr>
            <p:spPr bwMode="auto">
              <a:xfrm>
                <a:off x="2000" y="2267"/>
                <a:ext cx="7" cy="3"/>
              </a:xfrm>
              <a:custGeom>
                <a:avLst/>
                <a:gdLst>
                  <a:gd name="T0" fmla="*/ 7 w 7"/>
                  <a:gd name="T1" fmla="*/ 2 h 3"/>
                  <a:gd name="T2" fmla="*/ 0 w 7"/>
                  <a:gd name="T3" fmla="*/ 3 h 3"/>
                  <a:gd name="T4" fmla="*/ 6 w 7"/>
                  <a:gd name="T5" fmla="*/ 0 h 3"/>
                  <a:gd name="T6" fmla="*/ 7 w 7"/>
                  <a:gd name="T7" fmla="*/ 0 h 3"/>
                  <a:gd name="T8" fmla="*/ 7 w 7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3"/>
                  <a:gd name="T17" fmla="*/ 7 w 7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3">
                    <a:moveTo>
                      <a:pt x="7" y="2"/>
                    </a:moveTo>
                    <a:lnTo>
                      <a:pt x="0" y="3"/>
                    </a:lnTo>
                    <a:lnTo>
                      <a:pt x="6" y="0"/>
                    </a:lnTo>
                    <a:lnTo>
                      <a:pt x="7" y="0"/>
                    </a:lnTo>
                    <a:lnTo>
                      <a:pt x="7" y="2"/>
                    </a:lnTo>
                  </a:path>
                </a:pathLst>
              </a:custGeom>
              <a:solidFill>
                <a:srgbClr val="EAEAEA"/>
              </a:solidFill>
              <a:ln w="6350" cap="rnd">
                <a:solidFill>
                  <a:srgbClr val="B2B2B2"/>
                </a:solidFill>
                <a:prstDash val="solid"/>
                <a:bevel/>
                <a:headEnd/>
                <a:tailEnd/>
              </a:ln>
            </p:spPr>
            <p:txBody>
              <a:bodyPr/>
              <a:lstStyle/>
              <a:p>
                <a:endParaRPr lang="en-GB">
                  <a:latin typeface="Calibri" pitchFamily="34" charset="0"/>
                </a:endParaRPr>
              </a:p>
            </p:txBody>
          </p:sp>
          <p:sp>
            <p:nvSpPr>
              <p:cNvPr id="58634" name="Freeform 266"/>
              <p:cNvSpPr>
                <a:spLocks/>
              </p:cNvSpPr>
              <p:nvPr/>
            </p:nvSpPr>
            <p:spPr bwMode="auto">
              <a:xfrm>
                <a:off x="1786" y="2211"/>
                <a:ext cx="8" cy="9"/>
              </a:xfrm>
              <a:custGeom>
                <a:avLst/>
                <a:gdLst>
                  <a:gd name="T0" fmla="*/ 2 w 8"/>
                  <a:gd name="T1" fmla="*/ 5 h 9"/>
                  <a:gd name="T2" fmla="*/ 8 w 8"/>
                  <a:gd name="T3" fmla="*/ 0 h 9"/>
                  <a:gd name="T4" fmla="*/ 1 w 8"/>
                  <a:gd name="T5" fmla="*/ 9 h 9"/>
                  <a:gd name="T6" fmla="*/ 0 w 8"/>
                  <a:gd name="T7" fmla="*/ 9 h 9"/>
                  <a:gd name="T8" fmla="*/ 2 w 8"/>
                  <a:gd name="T9" fmla="*/ 5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9"/>
                  <a:gd name="T17" fmla="*/ 8 w 8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9">
                    <a:moveTo>
                      <a:pt x="2" y="5"/>
                    </a:moveTo>
                    <a:lnTo>
                      <a:pt x="8" y="0"/>
                    </a:lnTo>
                    <a:lnTo>
                      <a:pt x="1" y="9"/>
                    </a:lnTo>
                    <a:lnTo>
                      <a:pt x="0" y="9"/>
                    </a:lnTo>
                    <a:lnTo>
                      <a:pt x="2" y="5"/>
                    </a:lnTo>
                  </a:path>
                </a:pathLst>
              </a:custGeom>
              <a:solidFill>
                <a:srgbClr val="EAEAEA"/>
              </a:solidFill>
              <a:ln w="6350" cap="rnd">
                <a:solidFill>
                  <a:srgbClr val="B2B2B2"/>
                </a:solidFill>
                <a:prstDash val="solid"/>
                <a:bevel/>
                <a:headEnd/>
                <a:tailEnd/>
              </a:ln>
            </p:spPr>
            <p:txBody>
              <a:bodyPr/>
              <a:lstStyle/>
              <a:p>
                <a:endParaRPr lang="en-GB">
                  <a:latin typeface="Calibri" pitchFamily="34" charset="0"/>
                </a:endParaRPr>
              </a:p>
            </p:txBody>
          </p:sp>
          <p:sp>
            <p:nvSpPr>
              <p:cNvPr id="58635" name="Freeform 267"/>
              <p:cNvSpPr>
                <a:spLocks/>
              </p:cNvSpPr>
              <p:nvPr/>
            </p:nvSpPr>
            <p:spPr bwMode="auto">
              <a:xfrm>
                <a:off x="1483" y="2134"/>
                <a:ext cx="4" cy="4"/>
              </a:xfrm>
              <a:custGeom>
                <a:avLst/>
                <a:gdLst>
                  <a:gd name="T0" fmla="*/ 0 w 4"/>
                  <a:gd name="T1" fmla="*/ 0 h 4"/>
                  <a:gd name="T2" fmla="*/ 4 w 4"/>
                  <a:gd name="T3" fmla="*/ 4 h 4"/>
                  <a:gd name="T4" fmla="*/ 3 w 4"/>
                  <a:gd name="T5" fmla="*/ 4 h 4"/>
                  <a:gd name="T6" fmla="*/ 0 w 4"/>
                  <a:gd name="T7" fmla="*/ 0 h 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"/>
                  <a:gd name="T13" fmla="*/ 0 h 4"/>
                  <a:gd name="T14" fmla="*/ 4 w 4"/>
                  <a:gd name="T15" fmla="*/ 4 h 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" h="4">
                    <a:moveTo>
                      <a:pt x="0" y="0"/>
                    </a:moveTo>
                    <a:lnTo>
                      <a:pt x="4" y="4"/>
                    </a:lnTo>
                    <a:lnTo>
                      <a:pt x="3" y="4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EAEAEA"/>
              </a:solidFill>
              <a:ln w="6350" cap="rnd">
                <a:solidFill>
                  <a:srgbClr val="B2B2B2"/>
                </a:solidFill>
                <a:prstDash val="solid"/>
                <a:bevel/>
                <a:headEnd/>
                <a:tailEnd/>
              </a:ln>
            </p:spPr>
            <p:txBody>
              <a:bodyPr/>
              <a:lstStyle/>
              <a:p>
                <a:endParaRPr lang="en-GB">
                  <a:latin typeface="Calibri" pitchFamily="34" charset="0"/>
                </a:endParaRPr>
              </a:p>
            </p:txBody>
          </p:sp>
          <p:sp>
            <p:nvSpPr>
              <p:cNvPr id="58636" name="Freeform 268"/>
              <p:cNvSpPr>
                <a:spLocks/>
              </p:cNvSpPr>
              <p:nvPr/>
            </p:nvSpPr>
            <p:spPr bwMode="auto">
              <a:xfrm>
                <a:off x="1460" y="2117"/>
                <a:ext cx="4" cy="2"/>
              </a:xfrm>
              <a:custGeom>
                <a:avLst/>
                <a:gdLst>
                  <a:gd name="T0" fmla="*/ 0 w 4"/>
                  <a:gd name="T1" fmla="*/ 1 h 2"/>
                  <a:gd name="T2" fmla="*/ 2 w 4"/>
                  <a:gd name="T3" fmla="*/ 0 h 2"/>
                  <a:gd name="T4" fmla="*/ 4 w 4"/>
                  <a:gd name="T5" fmla="*/ 2 h 2"/>
                  <a:gd name="T6" fmla="*/ 0 w 4"/>
                  <a:gd name="T7" fmla="*/ 1 h 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"/>
                  <a:gd name="T13" fmla="*/ 0 h 2"/>
                  <a:gd name="T14" fmla="*/ 4 w 4"/>
                  <a:gd name="T15" fmla="*/ 2 h 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" h="2">
                    <a:moveTo>
                      <a:pt x="0" y="1"/>
                    </a:moveTo>
                    <a:lnTo>
                      <a:pt x="2" y="0"/>
                    </a:lnTo>
                    <a:lnTo>
                      <a:pt x="4" y="2"/>
                    </a:lnTo>
                    <a:lnTo>
                      <a:pt x="0" y="1"/>
                    </a:lnTo>
                  </a:path>
                </a:pathLst>
              </a:custGeom>
              <a:solidFill>
                <a:srgbClr val="EAEAEA"/>
              </a:solidFill>
              <a:ln w="6350" cap="rnd">
                <a:solidFill>
                  <a:srgbClr val="B2B2B2"/>
                </a:solidFill>
                <a:prstDash val="solid"/>
                <a:bevel/>
                <a:headEnd/>
                <a:tailEnd/>
              </a:ln>
            </p:spPr>
            <p:txBody>
              <a:bodyPr/>
              <a:lstStyle/>
              <a:p>
                <a:endParaRPr lang="en-GB">
                  <a:latin typeface="Calibri" pitchFamily="34" charset="0"/>
                </a:endParaRPr>
              </a:p>
            </p:txBody>
          </p:sp>
          <p:sp>
            <p:nvSpPr>
              <p:cNvPr id="58637" name="Freeform 269"/>
              <p:cNvSpPr>
                <a:spLocks/>
              </p:cNvSpPr>
              <p:nvPr/>
            </p:nvSpPr>
            <p:spPr bwMode="auto">
              <a:xfrm>
                <a:off x="1465" y="2116"/>
                <a:ext cx="5" cy="3"/>
              </a:xfrm>
              <a:custGeom>
                <a:avLst/>
                <a:gdLst>
                  <a:gd name="T0" fmla="*/ 0 w 5"/>
                  <a:gd name="T1" fmla="*/ 0 h 3"/>
                  <a:gd name="T2" fmla="*/ 5 w 5"/>
                  <a:gd name="T3" fmla="*/ 2 h 3"/>
                  <a:gd name="T4" fmla="*/ 2 w 5"/>
                  <a:gd name="T5" fmla="*/ 3 h 3"/>
                  <a:gd name="T6" fmla="*/ 0 w 5"/>
                  <a:gd name="T7" fmla="*/ 0 h 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"/>
                  <a:gd name="T13" fmla="*/ 0 h 3"/>
                  <a:gd name="T14" fmla="*/ 5 w 5"/>
                  <a:gd name="T15" fmla="*/ 3 h 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" h="3">
                    <a:moveTo>
                      <a:pt x="0" y="0"/>
                    </a:moveTo>
                    <a:lnTo>
                      <a:pt x="5" y="2"/>
                    </a:lnTo>
                    <a:lnTo>
                      <a:pt x="2" y="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EAEAEA"/>
              </a:solidFill>
              <a:ln w="6350" cap="rnd">
                <a:solidFill>
                  <a:srgbClr val="B2B2B2"/>
                </a:solidFill>
                <a:prstDash val="solid"/>
                <a:bevel/>
                <a:headEnd/>
                <a:tailEnd/>
              </a:ln>
            </p:spPr>
            <p:txBody>
              <a:bodyPr/>
              <a:lstStyle/>
              <a:p>
                <a:endParaRPr lang="en-GB">
                  <a:latin typeface="Calibri" pitchFamily="34" charset="0"/>
                </a:endParaRPr>
              </a:p>
            </p:txBody>
          </p:sp>
        </p:grpSp>
        <p:sp>
          <p:nvSpPr>
            <p:cNvPr id="58619" name="Freeform 270"/>
            <p:cNvSpPr>
              <a:spLocks noChangeAspect="1" noEditPoints="1"/>
            </p:cNvSpPr>
            <p:nvPr/>
          </p:nvSpPr>
          <p:spPr bwMode="gray">
            <a:xfrm>
              <a:off x="903" y="2312"/>
              <a:ext cx="70" cy="50"/>
            </a:xfrm>
            <a:custGeom>
              <a:avLst/>
              <a:gdLst>
                <a:gd name="T0" fmla="*/ 0 w 227"/>
                <a:gd name="T1" fmla="*/ 0 h 163"/>
                <a:gd name="T2" fmla="*/ 0 w 227"/>
                <a:gd name="T3" fmla="*/ 0 h 163"/>
                <a:gd name="T4" fmla="*/ 0 w 227"/>
                <a:gd name="T5" fmla="*/ 0 h 163"/>
                <a:gd name="T6" fmla="*/ 0 w 227"/>
                <a:gd name="T7" fmla="*/ 0 h 163"/>
                <a:gd name="T8" fmla="*/ 0 w 227"/>
                <a:gd name="T9" fmla="*/ 0 h 163"/>
                <a:gd name="T10" fmla="*/ 0 w 227"/>
                <a:gd name="T11" fmla="*/ 0 h 163"/>
                <a:gd name="T12" fmla="*/ 0 w 227"/>
                <a:gd name="T13" fmla="*/ 0 h 163"/>
                <a:gd name="T14" fmla="*/ 0 w 227"/>
                <a:gd name="T15" fmla="*/ 0 h 163"/>
                <a:gd name="T16" fmla="*/ 0 w 227"/>
                <a:gd name="T17" fmla="*/ 0 h 163"/>
                <a:gd name="T18" fmla="*/ 0 w 227"/>
                <a:gd name="T19" fmla="*/ 0 h 163"/>
                <a:gd name="T20" fmla="*/ 0 w 227"/>
                <a:gd name="T21" fmla="*/ 0 h 163"/>
                <a:gd name="T22" fmla="*/ 0 w 227"/>
                <a:gd name="T23" fmla="*/ 0 h 163"/>
                <a:gd name="T24" fmla="*/ 0 w 227"/>
                <a:gd name="T25" fmla="*/ 0 h 163"/>
                <a:gd name="T26" fmla="*/ 0 w 227"/>
                <a:gd name="T27" fmla="*/ 0 h 163"/>
                <a:gd name="T28" fmla="*/ 0 w 227"/>
                <a:gd name="T29" fmla="*/ 0 h 163"/>
                <a:gd name="T30" fmla="*/ 0 w 227"/>
                <a:gd name="T31" fmla="*/ 0 h 163"/>
                <a:gd name="T32" fmla="*/ 0 w 227"/>
                <a:gd name="T33" fmla="*/ 0 h 163"/>
                <a:gd name="T34" fmla="*/ 0 w 227"/>
                <a:gd name="T35" fmla="*/ 0 h 163"/>
                <a:gd name="T36" fmla="*/ 0 w 227"/>
                <a:gd name="T37" fmla="*/ 0 h 163"/>
                <a:gd name="T38" fmla="*/ 0 w 227"/>
                <a:gd name="T39" fmla="*/ 0 h 163"/>
                <a:gd name="T40" fmla="*/ 0 w 227"/>
                <a:gd name="T41" fmla="*/ 0 h 163"/>
                <a:gd name="T42" fmla="*/ 0 w 227"/>
                <a:gd name="T43" fmla="*/ 0 h 163"/>
                <a:gd name="T44" fmla="*/ 0 w 227"/>
                <a:gd name="T45" fmla="*/ 0 h 163"/>
                <a:gd name="T46" fmla="*/ 0 w 227"/>
                <a:gd name="T47" fmla="*/ 0 h 163"/>
                <a:gd name="T48" fmla="*/ 0 w 227"/>
                <a:gd name="T49" fmla="*/ 0 h 163"/>
                <a:gd name="T50" fmla="*/ 0 w 227"/>
                <a:gd name="T51" fmla="*/ 0 h 163"/>
                <a:gd name="T52" fmla="*/ 0 w 227"/>
                <a:gd name="T53" fmla="*/ 0 h 163"/>
                <a:gd name="T54" fmla="*/ 0 w 227"/>
                <a:gd name="T55" fmla="*/ 0 h 163"/>
                <a:gd name="T56" fmla="*/ 0 w 227"/>
                <a:gd name="T57" fmla="*/ 0 h 163"/>
                <a:gd name="T58" fmla="*/ 0 w 227"/>
                <a:gd name="T59" fmla="*/ 0 h 163"/>
                <a:gd name="T60" fmla="*/ 0 w 227"/>
                <a:gd name="T61" fmla="*/ 0 h 163"/>
                <a:gd name="T62" fmla="*/ 0 w 227"/>
                <a:gd name="T63" fmla="*/ 0 h 163"/>
                <a:gd name="T64" fmla="*/ 0 w 227"/>
                <a:gd name="T65" fmla="*/ 0 h 163"/>
                <a:gd name="T66" fmla="*/ 0 w 227"/>
                <a:gd name="T67" fmla="*/ 0 h 163"/>
                <a:gd name="T68" fmla="*/ 0 w 227"/>
                <a:gd name="T69" fmla="*/ 0 h 163"/>
                <a:gd name="T70" fmla="*/ 0 w 227"/>
                <a:gd name="T71" fmla="*/ 0 h 16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27"/>
                <a:gd name="T109" fmla="*/ 0 h 163"/>
                <a:gd name="T110" fmla="*/ 227 w 227"/>
                <a:gd name="T111" fmla="*/ 163 h 16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27" h="163">
                  <a:moveTo>
                    <a:pt x="5" y="0"/>
                  </a:moveTo>
                  <a:lnTo>
                    <a:pt x="19" y="0"/>
                  </a:lnTo>
                  <a:lnTo>
                    <a:pt x="20" y="6"/>
                  </a:lnTo>
                  <a:lnTo>
                    <a:pt x="12" y="19"/>
                  </a:lnTo>
                  <a:lnTo>
                    <a:pt x="0" y="10"/>
                  </a:lnTo>
                  <a:lnTo>
                    <a:pt x="5" y="0"/>
                  </a:lnTo>
                  <a:close/>
                  <a:moveTo>
                    <a:pt x="127" y="66"/>
                  </a:moveTo>
                  <a:lnTo>
                    <a:pt x="136" y="70"/>
                  </a:lnTo>
                  <a:lnTo>
                    <a:pt x="133" y="73"/>
                  </a:lnTo>
                  <a:lnTo>
                    <a:pt x="127" y="66"/>
                  </a:lnTo>
                  <a:close/>
                  <a:moveTo>
                    <a:pt x="178" y="102"/>
                  </a:moveTo>
                  <a:lnTo>
                    <a:pt x="210" y="112"/>
                  </a:lnTo>
                  <a:lnTo>
                    <a:pt x="227" y="130"/>
                  </a:lnTo>
                  <a:lnTo>
                    <a:pt x="226" y="146"/>
                  </a:lnTo>
                  <a:lnTo>
                    <a:pt x="207" y="146"/>
                  </a:lnTo>
                  <a:lnTo>
                    <a:pt x="192" y="163"/>
                  </a:lnTo>
                  <a:lnTo>
                    <a:pt x="184" y="159"/>
                  </a:lnTo>
                  <a:lnTo>
                    <a:pt x="175" y="127"/>
                  </a:lnTo>
                  <a:lnTo>
                    <a:pt x="178" y="102"/>
                  </a:lnTo>
                  <a:close/>
                  <a:moveTo>
                    <a:pt x="155" y="64"/>
                  </a:moveTo>
                  <a:lnTo>
                    <a:pt x="158" y="62"/>
                  </a:lnTo>
                  <a:lnTo>
                    <a:pt x="173" y="76"/>
                  </a:lnTo>
                  <a:lnTo>
                    <a:pt x="158" y="81"/>
                  </a:lnTo>
                  <a:lnTo>
                    <a:pt x="142" y="62"/>
                  </a:lnTo>
                  <a:lnTo>
                    <a:pt x="155" y="64"/>
                  </a:lnTo>
                  <a:close/>
                  <a:moveTo>
                    <a:pt x="116" y="51"/>
                  </a:moveTo>
                  <a:lnTo>
                    <a:pt x="113" y="54"/>
                  </a:lnTo>
                  <a:lnTo>
                    <a:pt x="139" y="51"/>
                  </a:lnTo>
                  <a:lnTo>
                    <a:pt x="139" y="56"/>
                  </a:lnTo>
                  <a:lnTo>
                    <a:pt x="116" y="57"/>
                  </a:lnTo>
                  <a:lnTo>
                    <a:pt x="116" y="51"/>
                  </a:lnTo>
                  <a:close/>
                  <a:moveTo>
                    <a:pt x="74" y="36"/>
                  </a:moveTo>
                  <a:lnTo>
                    <a:pt x="79" y="31"/>
                  </a:lnTo>
                  <a:lnTo>
                    <a:pt x="95" y="42"/>
                  </a:lnTo>
                  <a:lnTo>
                    <a:pt x="83" y="45"/>
                  </a:lnTo>
                  <a:lnTo>
                    <a:pt x="74" y="36"/>
                  </a:lnTo>
                  <a:close/>
                </a:path>
              </a:pathLst>
            </a:custGeom>
            <a:solidFill>
              <a:srgbClr val="EAEAEA"/>
            </a:solidFill>
            <a:ln w="6350" cap="flat" cmpd="sng">
              <a:solidFill>
                <a:srgbClr val="B2B2B2"/>
              </a:solidFill>
              <a:prstDash val="solid"/>
              <a:bevel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20" name="Freeform 271"/>
            <p:cNvSpPr>
              <a:spLocks noChangeAspect="1" noEditPoints="1"/>
            </p:cNvSpPr>
            <p:nvPr/>
          </p:nvSpPr>
          <p:spPr bwMode="gray">
            <a:xfrm>
              <a:off x="903" y="2312"/>
              <a:ext cx="70" cy="50"/>
            </a:xfrm>
            <a:custGeom>
              <a:avLst/>
              <a:gdLst>
                <a:gd name="T0" fmla="*/ 0 w 227"/>
                <a:gd name="T1" fmla="*/ 0 h 163"/>
                <a:gd name="T2" fmla="*/ 0 w 227"/>
                <a:gd name="T3" fmla="*/ 0 h 163"/>
                <a:gd name="T4" fmla="*/ 0 w 227"/>
                <a:gd name="T5" fmla="*/ 0 h 163"/>
                <a:gd name="T6" fmla="*/ 0 w 227"/>
                <a:gd name="T7" fmla="*/ 0 h 163"/>
                <a:gd name="T8" fmla="*/ 0 w 227"/>
                <a:gd name="T9" fmla="*/ 0 h 163"/>
                <a:gd name="T10" fmla="*/ 0 w 227"/>
                <a:gd name="T11" fmla="*/ 0 h 163"/>
                <a:gd name="T12" fmla="*/ 0 w 227"/>
                <a:gd name="T13" fmla="*/ 0 h 163"/>
                <a:gd name="T14" fmla="*/ 0 w 227"/>
                <a:gd name="T15" fmla="*/ 0 h 163"/>
                <a:gd name="T16" fmla="*/ 0 w 227"/>
                <a:gd name="T17" fmla="*/ 0 h 163"/>
                <a:gd name="T18" fmla="*/ 0 w 227"/>
                <a:gd name="T19" fmla="*/ 0 h 163"/>
                <a:gd name="T20" fmla="*/ 0 w 227"/>
                <a:gd name="T21" fmla="*/ 0 h 163"/>
                <a:gd name="T22" fmla="*/ 0 w 227"/>
                <a:gd name="T23" fmla="*/ 0 h 163"/>
                <a:gd name="T24" fmla="*/ 0 w 227"/>
                <a:gd name="T25" fmla="*/ 0 h 163"/>
                <a:gd name="T26" fmla="*/ 0 w 227"/>
                <a:gd name="T27" fmla="*/ 0 h 163"/>
                <a:gd name="T28" fmla="*/ 0 w 227"/>
                <a:gd name="T29" fmla="*/ 0 h 163"/>
                <a:gd name="T30" fmla="*/ 0 w 227"/>
                <a:gd name="T31" fmla="*/ 0 h 163"/>
                <a:gd name="T32" fmla="*/ 0 w 227"/>
                <a:gd name="T33" fmla="*/ 0 h 163"/>
                <a:gd name="T34" fmla="*/ 0 w 227"/>
                <a:gd name="T35" fmla="*/ 0 h 163"/>
                <a:gd name="T36" fmla="*/ 0 w 227"/>
                <a:gd name="T37" fmla="*/ 0 h 163"/>
                <a:gd name="T38" fmla="*/ 0 w 227"/>
                <a:gd name="T39" fmla="*/ 0 h 163"/>
                <a:gd name="T40" fmla="*/ 0 w 227"/>
                <a:gd name="T41" fmla="*/ 0 h 163"/>
                <a:gd name="T42" fmla="*/ 0 w 227"/>
                <a:gd name="T43" fmla="*/ 0 h 163"/>
                <a:gd name="T44" fmla="*/ 0 w 227"/>
                <a:gd name="T45" fmla="*/ 0 h 163"/>
                <a:gd name="T46" fmla="*/ 0 w 227"/>
                <a:gd name="T47" fmla="*/ 0 h 163"/>
                <a:gd name="T48" fmla="*/ 0 w 227"/>
                <a:gd name="T49" fmla="*/ 0 h 163"/>
                <a:gd name="T50" fmla="*/ 0 w 227"/>
                <a:gd name="T51" fmla="*/ 0 h 163"/>
                <a:gd name="T52" fmla="*/ 0 w 227"/>
                <a:gd name="T53" fmla="*/ 0 h 163"/>
                <a:gd name="T54" fmla="*/ 0 w 227"/>
                <a:gd name="T55" fmla="*/ 0 h 163"/>
                <a:gd name="T56" fmla="*/ 0 w 227"/>
                <a:gd name="T57" fmla="*/ 0 h 163"/>
                <a:gd name="T58" fmla="*/ 0 w 227"/>
                <a:gd name="T59" fmla="*/ 0 h 163"/>
                <a:gd name="T60" fmla="*/ 0 w 227"/>
                <a:gd name="T61" fmla="*/ 0 h 163"/>
                <a:gd name="T62" fmla="*/ 0 w 227"/>
                <a:gd name="T63" fmla="*/ 0 h 163"/>
                <a:gd name="T64" fmla="*/ 0 w 227"/>
                <a:gd name="T65" fmla="*/ 0 h 163"/>
                <a:gd name="T66" fmla="*/ 0 w 227"/>
                <a:gd name="T67" fmla="*/ 0 h 163"/>
                <a:gd name="T68" fmla="*/ 0 w 227"/>
                <a:gd name="T69" fmla="*/ 0 h 163"/>
                <a:gd name="T70" fmla="*/ 0 w 227"/>
                <a:gd name="T71" fmla="*/ 0 h 16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27"/>
                <a:gd name="T109" fmla="*/ 0 h 163"/>
                <a:gd name="T110" fmla="*/ 227 w 227"/>
                <a:gd name="T111" fmla="*/ 163 h 16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27" h="163">
                  <a:moveTo>
                    <a:pt x="5" y="0"/>
                  </a:moveTo>
                  <a:lnTo>
                    <a:pt x="19" y="0"/>
                  </a:lnTo>
                  <a:lnTo>
                    <a:pt x="20" y="6"/>
                  </a:lnTo>
                  <a:lnTo>
                    <a:pt x="12" y="19"/>
                  </a:lnTo>
                  <a:lnTo>
                    <a:pt x="0" y="10"/>
                  </a:lnTo>
                  <a:lnTo>
                    <a:pt x="5" y="0"/>
                  </a:lnTo>
                  <a:close/>
                  <a:moveTo>
                    <a:pt x="127" y="66"/>
                  </a:moveTo>
                  <a:lnTo>
                    <a:pt x="136" y="70"/>
                  </a:lnTo>
                  <a:lnTo>
                    <a:pt x="133" y="73"/>
                  </a:lnTo>
                  <a:lnTo>
                    <a:pt x="127" y="66"/>
                  </a:lnTo>
                  <a:close/>
                  <a:moveTo>
                    <a:pt x="178" y="102"/>
                  </a:moveTo>
                  <a:lnTo>
                    <a:pt x="210" y="112"/>
                  </a:lnTo>
                  <a:lnTo>
                    <a:pt x="227" y="130"/>
                  </a:lnTo>
                  <a:lnTo>
                    <a:pt x="226" y="146"/>
                  </a:lnTo>
                  <a:lnTo>
                    <a:pt x="207" y="146"/>
                  </a:lnTo>
                  <a:lnTo>
                    <a:pt x="192" y="163"/>
                  </a:lnTo>
                  <a:lnTo>
                    <a:pt x="184" y="159"/>
                  </a:lnTo>
                  <a:lnTo>
                    <a:pt x="175" y="127"/>
                  </a:lnTo>
                  <a:lnTo>
                    <a:pt x="178" y="102"/>
                  </a:lnTo>
                  <a:close/>
                  <a:moveTo>
                    <a:pt x="155" y="64"/>
                  </a:moveTo>
                  <a:lnTo>
                    <a:pt x="158" y="62"/>
                  </a:lnTo>
                  <a:lnTo>
                    <a:pt x="173" y="76"/>
                  </a:lnTo>
                  <a:lnTo>
                    <a:pt x="158" y="81"/>
                  </a:lnTo>
                  <a:lnTo>
                    <a:pt x="142" y="62"/>
                  </a:lnTo>
                  <a:lnTo>
                    <a:pt x="155" y="64"/>
                  </a:lnTo>
                  <a:close/>
                  <a:moveTo>
                    <a:pt x="116" y="51"/>
                  </a:moveTo>
                  <a:lnTo>
                    <a:pt x="113" y="54"/>
                  </a:lnTo>
                  <a:lnTo>
                    <a:pt x="139" y="51"/>
                  </a:lnTo>
                  <a:lnTo>
                    <a:pt x="139" y="56"/>
                  </a:lnTo>
                  <a:lnTo>
                    <a:pt x="116" y="57"/>
                  </a:lnTo>
                  <a:lnTo>
                    <a:pt x="116" y="51"/>
                  </a:lnTo>
                  <a:close/>
                  <a:moveTo>
                    <a:pt x="74" y="36"/>
                  </a:moveTo>
                  <a:lnTo>
                    <a:pt x="79" y="31"/>
                  </a:lnTo>
                  <a:lnTo>
                    <a:pt x="95" y="42"/>
                  </a:lnTo>
                  <a:lnTo>
                    <a:pt x="83" y="45"/>
                  </a:lnTo>
                  <a:lnTo>
                    <a:pt x="74" y="36"/>
                  </a:lnTo>
                  <a:close/>
                </a:path>
              </a:pathLst>
            </a:custGeom>
            <a:solidFill>
              <a:srgbClr val="EAEAEA"/>
            </a:solidFill>
            <a:ln w="6350" cap="flat" cmpd="sng">
              <a:solidFill>
                <a:srgbClr val="B2B2B2"/>
              </a:solidFill>
              <a:prstDash val="solid"/>
              <a:bevel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21" name="Freeform 272"/>
            <p:cNvSpPr>
              <a:spLocks noChangeAspect="1" noEditPoints="1"/>
            </p:cNvSpPr>
            <p:nvPr/>
          </p:nvSpPr>
          <p:spPr bwMode="gray">
            <a:xfrm>
              <a:off x="768" y="1173"/>
              <a:ext cx="439" cy="580"/>
            </a:xfrm>
            <a:custGeom>
              <a:avLst/>
              <a:gdLst>
                <a:gd name="T0" fmla="*/ 0 w 1433"/>
                <a:gd name="T1" fmla="*/ 0 h 1891"/>
                <a:gd name="T2" fmla="*/ 0 w 1433"/>
                <a:gd name="T3" fmla="*/ 0 h 1891"/>
                <a:gd name="T4" fmla="*/ 0 w 1433"/>
                <a:gd name="T5" fmla="*/ 0 h 1891"/>
                <a:gd name="T6" fmla="*/ 0 w 1433"/>
                <a:gd name="T7" fmla="*/ 0 h 1891"/>
                <a:gd name="T8" fmla="*/ 0 w 1433"/>
                <a:gd name="T9" fmla="*/ 0 h 1891"/>
                <a:gd name="T10" fmla="*/ 0 w 1433"/>
                <a:gd name="T11" fmla="*/ 0 h 1891"/>
                <a:gd name="T12" fmla="*/ 0 w 1433"/>
                <a:gd name="T13" fmla="*/ 0 h 1891"/>
                <a:gd name="T14" fmla="*/ 0 w 1433"/>
                <a:gd name="T15" fmla="*/ 0 h 1891"/>
                <a:gd name="T16" fmla="*/ 0 w 1433"/>
                <a:gd name="T17" fmla="*/ 0 h 1891"/>
                <a:gd name="T18" fmla="*/ 0 w 1433"/>
                <a:gd name="T19" fmla="*/ 0 h 1891"/>
                <a:gd name="T20" fmla="*/ 0 w 1433"/>
                <a:gd name="T21" fmla="*/ 0 h 1891"/>
                <a:gd name="T22" fmla="*/ 0 w 1433"/>
                <a:gd name="T23" fmla="*/ 0 h 1891"/>
                <a:gd name="T24" fmla="*/ 0 w 1433"/>
                <a:gd name="T25" fmla="*/ 0 h 1891"/>
                <a:gd name="T26" fmla="*/ 0 w 1433"/>
                <a:gd name="T27" fmla="*/ 0 h 1891"/>
                <a:gd name="T28" fmla="*/ 0 w 1433"/>
                <a:gd name="T29" fmla="*/ 0 h 1891"/>
                <a:gd name="T30" fmla="*/ 0 w 1433"/>
                <a:gd name="T31" fmla="*/ 0 h 1891"/>
                <a:gd name="T32" fmla="*/ 0 w 1433"/>
                <a:gd name="T33" fmla="*/ 0 h 1891"/>
                <a:gd name="T34" fmla="*/ 0 w 1433"/>
                <a:gd name="T35" fmla="*/ 0 h 1891"/>
                <a:gd name="T36" fmla="*/ 0 w 1433"/>
                <a:gd name="T37" fmla="*/ 0 h 1891"/>
                <a:gd name="T38" fmla="*/ 0 w 1433"/>
                <a:gd name="T39" fmla="*/ 0 h 1891"/>
                <a:gd name="T40" fmla="*/ 0 w 1433"/>
                <a:gd name="T41" fmla="*/ 0 h 1891"/>
                <a:gd name="T42" fmla="*/ 0 w 1433"/>
                <a:gd name="T43" fmla="*/ 0 h 1891"/>
                <a:gd name="T44" fmla="*/ 0 w 1433"/>
                <a:gd name="T45" fmla="*/ 0 h 1891"/>
                <a:gd name="T46" fmla="*/ 0 w 1433"/>
                <a:gd name="T47" fmla="*/ 0 h 1891"/>
                <a:gd name="T48" fmla="*/ 0 w 1433"/>
                <a:gd name="T49" fmla="*/ 0 h 1891"/>
                <a:gd name="T50" fmla="*/ 0 w 1433"/>
                <a:gd name="T51" fmla="*/ 0 h 1891"/>
                <a:gd name="T52" fmla="*/ 0 w 1433"/>
                <a:gd name="T53" fmla="*/ 0 h 1891"/>
                <a:gd name="T54" fmla="*/ 0 w 1433"/>
                <a:gd name="T55" fmla="*/ 0 h 1891"/>
                <a:gd name="T56" fmla="*/ 0 w 1433"/>
                <a:gd name="T57" fmla="*/ 0 h 1891"/>
                <a:gd name="T58" fmla="*/ 0 w 1433"/>
                <a:gd name="T59" fmla="*/ 0 h 1891"/>
                <a:gd name="T60" fmla="*/ 0 w 1433"/>
                <a:gd name="T61" fmla="*/ 0 h 1891"/>
                <a:gd name="T62" fmla="*/ 0 w 1433"/>
                <a:gd name="T63" fmla="*/ 0 h 1891"/>
                <a:gd name="T64" fmla="*/ 0 w 1433"/>
                <a:gd name="T65" fmla="*/ 0 h 1891"/>
                <a:gd name="T66" fmla="*/ 0 w 1433"/>
                <a:gd name="T67" fmla="*/ 0 h 1891"/>
                <a:gd name="T68" fmla="*/ 0 w 1433"/>
                <a:gd name="T69" fmla="*/ 0 h 1891"/>
                <a:gd name="T70" fmla="*/ 0 w 1433"/>
                <a:gd name="T71" fmla="*/ 0 h 1891"/>
                <a:gd name="T72" fmla="*/ 0 w 1433"/>
                <a:gd name="T73" fmla="*/ 0 h 1891"/>
                <a:gd name="T74" fmla="*/ 0 w 1433"/>
                <a:gd name="T75" fmla="*/ 0 h 1891"/>
                <a:gd name="T76" fmla="*/ 0 w 1433"/>
                <a:gd name="T77" fmla="*/ 0 h 1891"/>
                <a:gd name="T78" fmla="*/ 0 w 1433"/>
                <a:gd name="T79" fmla="*/ 0 h 1891"/>
                <a:gd name="T80" fmla="*/ 0 w 1433"/>
                <a:gd name="T81" fmla="*/ 0 h 1891"/>
                <a:gd name="T82" fmla="*/ 0 w 1433"/>
                <a:gd name="T83" fmla="*/ 0 h 1891"/>
                <a:gd name="T84" fmla="*/ 0 w 1433"/>
                <a:gd name="T85" fmla="*/ 0 h 1891"/>
                <a:gd name="T86" fmla="*/ 0 w 1433"/>
                <a:gd name="T87" fmla="*/ 0 h 1891"/>
                <a:gd name="T88" fmla="*/ 0 w 1433"/>
                <a:gd name="T89" fmla="*/ 0 h 1891"/>
                <a:gd name="T90" fmla="*/ 0 w 1433"/>
                <a:gd name="T91" fmla="*/ 0 h 1891"/>
                <a:gd name="T92" fmla="*/ 0 w 1433"/>
                <a:gd name="T93" fmla="*/ 0 h 1891"/>
                <a:gd name="T94" fmla="*/ 0 w 1433"/>
                <a:gd name="T95" fmla="*/ 0 h 1891"/>
                <a:gd name="T96" fmla="*/ 0 w 1433"/>
                <a:gd name="T97" fmla="*/ 0 h 1891"/>
                <a:gd name="T98" fmla="*/ 0 w 1433"/>
                <a:gd name="T99" fmla="*/ 0 h 1891"/>
                <a:gd name="T100" fmla="*/ 0 w 1433"/>
                <a:gd name="T101" fmla="*/ 0 h 1891"/>
                <a:gd name="T102" fmla="*/ 0 w 1433"/>
                <a:gd name="T103" fmla="*/ 0 h 1891"/>
                <a:gd name="T104" fmla="*/ 0 w 1433"/>
                <a:gd name="T105" fmla="*/ 0 h 1891"/>
                <a:gd name="T106" fmla="*/ 0 w 1433"/>
                <a:gd name="T107" fmla="*/ 0 h 1891"/>
                <a:gd name="T108" fmla="*/ 0 w 1433"/>
                <a:gd name="T109" fmla="*/ 0 h 1891"/>
                <a:gd name="T110" fmla="*/ 0 w 1433"/>
                <a:gd name="T111" fmla="*/ 0 h 1891"/>
                <a:gd name="T112" fmla="*/ 0 w 1433"/>
                <a:gd name="T113" fmla="*/ 0 h 1891"/>
                <a:gd name="T114" fmla="*/ 0 w 1433"/>
                <a:gd name="T115" fmla="*/ 0 h 1891"/>
                <a:gd name="T116" fmla="*/ 0 w 1433"/>
                <a:gd name="T117" fmla="*/ 0 h 1891"/>
                <a:gd name="T118" fmla="*/ 0 w 1433"/>
                <a:gd name="T119" fmla="*/ 0 h 1891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433"/>
                <a:gd name="T181" fmla="*/ 0 h 1891"/>
                <a:gd name="T182" fmla="*/ 1433 w 1433"/>
                <a:gd name="T183" fmla="*/ 1891 h 1891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433" h="1891">
                  <a:moveTo>
                    <a:pt x="1433" y="1340"/>
                  </a:moveTo>
                  <a:lnTo>
                    <a:pt x="1392" y="1289"/>
                  </a:lnTo>
                  <a:lnTo>
                    <a:pt x="1387" y="1284"/>
                  </a:lnTo>
                  <a:lnTo>
                    <a:pt x="1390" y="1261"/>
                  </a:lnTo>
                  <a:lnTo>
                    <a:pt x="1362" y="1261"/>
                  </a:lnTo>
                  <a:lnTo>
                    <a:pt x="1352" y="1275"/>
                  </a:lnTo>
                  <a:lnTo>
                    <a:pt x="1335" y="1263"/>
                  </a:lnTo>
                  <a:lnTo>
                    <a:pt x="1322" y="1272"/>
                  </a:lnTo>
                  <a:lnTo>
                    <a:pt x="1305" y="1263"/>
                  </a:lnTo>
                  <a:lnTo>
                    <a:pt x="1305" y="1207"/>
                  </a:lnTo>
                  <a:lnTo>
                    <a:pt x="1305" y="1151"/>
                  </a:lnTo>
                  <a:lnTo>
                    <a:pt x="1305" y="1094"/>
                  </a:lnTo>
                  <a:lnTo>
                    <a:pt x="1305" y="1035"/>
                  </a:lnTo>
                  <a:lnTo>
                    <a:pt x="1305" y="975"/>
                  </a:lnTo>
                  <a:lnTo>
                    <a:pt x="1305" y="914"/>
                  </a:lnTo>
                  <a:lnTo>
                    <a:pt x="1305" y="853"/>
                  </a:lnTo>
                  <a:lnTo>
                    <a:pt x="1305" y="789"/>
                  </a:lnTo>
                  <a:lnTo>
                    <a:pt x="1305" y="724"/>
                  </a:lnTo>
                  <a:lnTo>
                    <a:pt x="1305" y="658"/>
                  </a:lnTo>
                  <a:lnTo>
                    <a:pt x="1305" y="591"/>
                  </a:lnTo>
                  <a:lnTo>
                    <a:pt x="1305" y="520"/>
                  </a:lnTo>
                  <a:lnTo>
                    <a:pt x="1305" y="449"/>
                  </a:lnTo>
                  <a:lnTo>
                    <a:pt x="1305" y="376"/>
                  </a:lnTo>
                  <a:lnTo>
                    <a:pt x="1305" y="301"/>
                  </a:lnTo>
                  <a:lnTo>
                    <a:pt x="1305" y="223"/>
                  </a:lnTo>
                  <a:lnTo>
                    <a:pt x="1297" y="221"/>
                  </a:lnTo>
                  <a:lnTo>
                    <a:pt x="1293" y="235"/>
                  </a:lnTo>
                  <a:lnTo>
                    <a:pt x="1204" y="169"/>
                  </a:lnTo>
                  <a:lnTo>
                    <a:pt x="1191" y="170"/>
                  </a:lnTo>
                  <a:lnTo>
                    <a:pt x="1189" y="184"/>
                  </a:lnTo>
                  <a:lnTo>
                    <a:pt x="1178" y="172"/>
                  </a:lnTo>
                  <a:lnTo>
                    <a:pt x="1107" y="187"/>
                  </a:lnTo>
                  <a:lnTo>
                    <a:pt x="1073" y="164"/>
                  </a:lnTo>
                  <a:lnTo>
                    <a:pt x="1030" y="167"/>
                  </a:lnTo>
                  <a:lnTo>
                    <a:pt x="923" y="119"/>
                  </a:lnTo>
                  <a:lnTo>
                    <a:pt x="875" y="132"/>
                  </a:lnTo>
                  <a:lnTo>
                    <a:pt x="884" y="127"/>
                  </a:lnTo>
                  <a:lnTo>
                    <a:pt x="875" y="118"/>
                  </a:lnTo>
                  <a:lnTo>
                    <a:pt x="812" y="124"/>
                  </a:lnTo>
                  <a:lnTo>
                    <a:pt x="820" y="111"/>
                  </a:lnTo>
                  <a:lnTo>
                    <a:pt x="801" y="107"/>
                  </a:lnTo>
                  <a:lnTo>
                    <a:pt x="787" y="96"/>
                  </a:lnTo>
                  <a:lnTo>
                    <a:pt x="793" y="73"/>
                  </a:lnTo>
                  <a:lnTo>
                    <a:pt x="764" y="65"/>
                  </a:lnTo>
                  <a:lnTo>
                    <a:pt x="767" y="79"/>
                  </a:lnTo>
                  <a:lnTo>
                    <a:pt x="757" y="79"/>
                  </a:lnTo>
                  <a:lnTo>
                    <a:pt x="742" y="57"/>
                  </a:lnTo>
                  <a:lnTo>
                    <a:pt x="697" y="76"/>
                  </a:lnTo>
                  <a:lnTo>
                    <a:pt x="677" y="65"/>
                  </a:lnTo>
                  <a:lnTo>
                    <a:pt x="680" y="59"/>
                  </a:lnTo>
                  <a:lnTo>
                    <a:pt x="672" y="39"/>
                  </a:lnTo>
                  <a:lnTo>
                    <a:pt x="657" y="32"/>
                  </a:lnTo>
                  <a:lnTo>
                    <a:pt x="642" y="49"/>
                  </a:lnTo>
                  <a:lnTo>
                    <a:pt x="640" y="60"/>
                  </a:lnTo>
                  <a:lnTo>
                    <a:pt x="649" y="86"/>
                  </a:lnTo>
                  <a:lnTo>
                    <a:pt x="640" y="86"/>
                  </a:lnTo>
                  <a:lnTo>
                    <a:pt x="634" y="73"/>
                  </a:lnTo>
                  <a:lnTo>
                    <a:pt x="600" y="71"/>
                  </a:lnTo>
                  <a:lnTo>
                    <a:pt x="605" y="56"/>
                  </a:lnTo>
                  <a:lnTo>
                    <a:pt x="635" y="40"/>
                  </a:lnTo>
                  <a:lnTo>
                    <a:pt x="635" y="28"/>
                  </a:lnTo>
                  <a:lnTo>
                    <a:pt x="583" y="0"/>
                  </a:lnTo>
                  <a:lnTo>
                    <a:pt x="567" y="18"/>
                  </a:lnTo>
                  <a:lnTo>
                    <a:pt x="569" y="28"/>
                  </a:lnTo>
                  <a:lnTo>
                    <a:pt x="525" y="71"/>
                  </a:lnTo>
                  <a:lnTo>
                    <a:pt x="468" y="76"/>
                  </a:lnTo>
                  <a:lnTo>
                    <a:pt x="473" y="79"/>
                  </a:lnTo>
                  <a:lnTo>
                    <a:pt x="464" y="85"/>
                  </a:lnTo>
                  <a:lnTo>
                    <a:pt x="465" y="94"/>
                  </a:lnTo>
                  <a:lnTo>
                    <a:pt x="453" y="86"/>
                  </a:lnTo>
                  <a:lnTo>
                    <a:pt x="476" y="60"/>
                  </a:lnTo>
                  <a:lnTo>
                    <a:pt x="436" y="85"/>
                  </a:lnTo>
                  <a:lnTo>
                    <a:pt x="425" y="98"/>
                  </a:lnTo>
                  <a:lnTo>
                    <a:pt x="454" y="116"/>
                  </a:lnTo>
                  <a:lnTo>
                    <a:pt x="437" y="122"/>
                  </a:lnTo>
                  <a:lnTo>
                    <a:pt x="432" y="152"/>
                  </a:lnTo>
                  <a:lnTo>
                    <a:pt x="427" y="136"/>
                  </a:lnTo>
                  <a:lnTo>
                    <a:pt x="420" y="142"/>
                  </a:lnTo>
                  <a:lnTo>
                    <a:pt x="428" y="116"/>
                  </a:lnTo>
                  <a:lnTo>
                    <a:pt x="420" y="107"/>
                  </a:lnTo>
                  <a:lnTo>
                    <a:pt x="338" y="169"/>
                  </a:lnTo>
                  <a:lnTo>
                    <a:pt x="347" y="149"/>
                  </a:lnTo>
                  <a:lnTo>
                    <a:pt x="338" y="147"/>
                  </a:lnTo>
                  <a:lnTo>
                    <a:pt x="327" y="178"/>
                  </a:lnTo>
                  <a:lnTo>
                    <a:pt x="317" y="183"/>
                  </a:lnTo>
                  <a:lnTo>
                    <a:pt x="295" y="213"/>
                  </a:lnTo>
                  <a:lnTo>
                    <a:pt x="292" y="221"/>
                  </a:lnTo>
                  <a:lnTo>
                    <a:pt x="284" y="267"/>
                  </a:lnTo>
                  <a:lnTo>
                    <a:pt x="281" y="257"/>
                  </a:lnTo>
                  <a:lnTo>
                    <a:pt x="266" y="299"/>
                  </a:lnTo>
                  <a:lnTo>
                    <a:pt x="246" y="317"/>
                  </a:lnTo>
                  <a:lnTo>
                    <a:pt x="140" y="333"/>
                  </a:lnTo>
                  <a:lnTo>
                    <a:pt x="139" y="381"/>
                  </a:lnTo>
                  <a:lnTo>
                    <a:pt x="146" y="381"/>
                  </a:lnTo>
                  <a:lnTo>
                    <a:pt x="112" y="398"/>
                  </a:lnTo>
                  <a:lnTo>
                    <a:pt x="229" y="481"/>
                  </a:lnTo>
                  <a:lnTo>
                    <a:pt x="249" y="504"/>
                  </a:lnTo>
                  <a:lnTo>
                    <a:pt x="261" y="551"/>
                  </a:lnTo>
                  <a:lnTo>
                    <a:pt x="300" y="566"/>
                  </a:lnTo>
                  <a:lnTo>
                    <a:pt x="303" y="554"/>
                  </a:lnTo>
                  <a:lnTo>
                    <a:pt x="315" y="546"/>
                  </a:lnTo>
                  <a:lnTo>
                    <a:pt x="312" y="565"/>
                  </a:lnTo>
                  <a:lnTo>
                    <a:pt x="315" y="568"/>
                  </a:lnTo>
                  <a:lnTo>
                    <a:pt x="354" y="562"/>
                  </a:lnTo>
                  <a:lnTo>
                    <a:pt x="361" y="568"/>
                  </a:lnTo>
                  <a:lnTo>
                    <a:pt x="344" y="592"/>
                  </a:lnTo>
                  <a:lnTo>
                    <a:pt x="368" y="617"/>
                  </a:lnTo>
                  <a:lnTo>
                    <a:pt x="372" y="599"/>
                  </a:lnTo>
                  <a:lnTo>
                    <a:pt x="374" y="609"/>
                  </a:lnTo>
                  <a:lnTo>
                    <a:pt x="405" y="614"/>
                  </a:lnTo>
                  <a:lnTo>
                    <a:pt x="448" y="600"/>
                  </a:lnTo>
                  <a:lnTo>
                    <a:pt x="453" y="614"/>
                  </a:lnTo>
                  <a:lnTo>
                    <a:pt x="400" y="638"/>
                  </a:lnTo>
                  <a:lnTo>
                    <a:pt x="374" y="617"/>
                  </a:lnTo>
                  <a:lnTo>
                    <a:pt x="351" y="624"/>
                  </a:lnTo>
                  <a:lnTo>
                    <a:pt x="334" y="602"/>
                  </a:lnTo>
                  <a:lnTo>
                    <a:pt x="344" y="624"/>
                  </a:lnTo>
                  <a:lnTo>
                    <a:pt x="340" y="642"/>
                  </a:lnTo>
                  <a:lnTo>
                    <a:pt x="347" y="647"/>
                  </a:lnTo>
                  <a:lnTo>
                    <a:pt x="349" y="633"/>
                  </a:lnTo>
                  <a:lnTo>
                    <a:pt x="386" y="648"/>
                  </a:lnTo>
                  <a:lnTo>
                    <a:pt x="380" y="664"/>
                  </a:lnTo>
                  <a:lnTo>
                    <a:pt x="378" y="653"/>
                  </a:lnTo>
                  <a:lnTo>
                    <a:pt x="361" y="648"/>
                  </a:lnTo>
                  <a:lnTo>
                    <a:pt x="346" y="684"/>
                  </a:lnTo>
                  <a:lnTo>
                    <a:pt x="334" y="670"/>
                  </a:lnTo>
                  <a:lnTo>
                    <a:pt x="263" y="672"/>
                  </a:lnTo>
                  <a:lnTo>
                    <a:pt x="242" y="655"/>
                  </a:lnTo>
                  <a:lnTo>
                    <a:pt x="256" y="645"/>
                  </a:lnTo>
                  <a:lnTo>
                    <a:pt x="255" y="617"/>
                  </a:lnTo>
                  <a:lnTo>
                    <a:pt x="263" y="609"/>
                  </a:lnTo>
                  <a:lnTo>
                    <a:pt x="213" y="611"/>
                  </a:lnTo>
                  <a:lnTo>
                    <a:pt x="161" y="648"/>
                  </a:lnTo>
                  <a:lnTo>
                    <a:pt x="174" y="664"/>
                  </a:lnTo>
                  <a:lnTo>
                    <a:pt x="139" y="659"/>
                  </a:lnTo>
                  <a:lnTo>
                    <a:pt x="106" y="690"/>
                  </a:lnTo>
                  <a:lnTo>
                    <a:pt x="85" y="695"/>
                  </a:lnTo>
                  <a:lnTo>
                    <a:pt x="83" y="707"/>
                  </a:lnTo>
                  <a:lnTo>
                    <a:pt x="57" y="714"/>
                  </a:lnTo>
                  <a:lnTo>
                    <a:pt x="92" y="748"/>
                  </a:lnTo>
                  <a:lnTo>
                    <a:pt x="144" y="758"/>
                  </a:lnTo>
                  <a:lnTo>
                    <a:pt x="123" y="775"/>
                  </a:lnTo>
                  <a:lnTo>
                    <a:pt x="114" y="761"/>
                  </a:lnTo>
                  <a:lnTo>
                    <a:pt x="112" y="768"/>
                  </a:lnTo>
                  <a:lnTo>
                    <a:pt x="132" y="799"/>
                  </a:lnTo>
                  <a:lnTo>
                    <a:pt x="131" y="819"/>
                  </a:lnTo>
                  <a:lnTo>
                    <a:pt x="146" y="836"/>
                  </a:lnTo>
                  <a:lnTo>
                    <a:pt x="207" y="849"/>
                  </a:lnTo>
                  <a:lnTo>
                    <a:pt x="263" y="836"/>
                  </a:lnTo>
                  <a:lnTo>
                    <a:pt x="286" y="854"/>
                  </a:lnTo>
                  <a:lnTo>
                    <a:pt x="290" y="843"/>
                  </a:lnTo>
                  <a:lnTo>
                    <a:pt x="275" y="831"/>
                  </a:lnTo>
                  <a:lnTo>
                    <a:pt x="286" y="831"/>
                  </a:lnTo>
                  <a:lnTo>
                    <a:pt x="298" y="843"/>
                  </a:lnTo>
                  <a:lnTo>
                    <a:pt x="305" y="866"/>
                  </a:lnTo>
                  <a:lnTo>
                    <a:pt x="318" y="840"/>
                  </a:lnTo>
                  <a:lnTo>
                    <a:pt x="349" y="811"/>
                  </a:lnTo>
                  <a:lnTo>
                    <a:pt x="368" y="814"/>
                  </a:lnTo>
                  <a:lnTo>
                    <a:pt x="383" y="802"/>
                  </a:lnTo>
                  <a:lnTo>
                    <a:pt x="397" y="816"/>
                  </a:lnTo>
                  <a:lnTo>
                    <a:pt x="388" y="843"/>
                  </a:lnTo>
                  <a:lnTo>
                    <a:pt x="363" y="843"/>
                  </a:lnTo>
                  <a:lnTo>
                    <a:pt x="364" y="857"/>
                  </a:lnTo>
                  <a:lnTo>
                    <a:pt x="376" y="856"/>
                  </a:lnTo>
                  <a:lnTo>
                    <a:pt x="394" y="905"/>
                  </a:lnTo>
                  <a:lnTo>
                    <a:pt x="394" y="922"/>
                  </a:lnTo>
                  <a:lnTo>
                    <a:pt x="381" y="944"/>
                  </a:lnTo>
                  <a:lnTo>
                    <a:pt x="329" y="961"/>
                  </a:lnTo>
                  <a:lnTo>
                    <a:pt x="334" y="951"/>
                  </a:lnTo>
                  <a:lnTo>
                    <a:pt x="326" y="950"/>
                  </a:lnTo>
                  <a:lnTo>
                    <a:pt x="292" y="993"/>
                  </a:lnTo>
                  <a:lnTo>
                    <a:pt x="269" y="990"/>
                  </a:lnTo>
                  <a:lnTo>
                    <a:pt x="258" y="1000"/>
                  </a:lnTo>
                  <a:lnTo>
                    <a:pt x="239" y="1010"/>
                  </a:lnTo>
                  <a:lnTo>
                    <a:pt x="239" y="1027"/>
                  </a:lnTo>
                  <a:lnTo>
                    <a:pt x="215" y="1027"/>
                  </a:lnTo>
                  <a:lnTo>
                    <a:pt x="174" y="1065"/>
                  </a:lnTo>
                  <a:lnTo>
                    <a:pt x="162" y="1091"/>
                  </a:lnTo>
                  <a:lnTo>
                    <a:pt x="162" y="1110"/>
                  </a:lnTo>
                  <a:lnTo>
                    <a:pt x="146" y="1119"/>
                  </a:lnTo>
                  <a:lnTo>
                    <a:pt x="154" y="1128"/>
                  </a:lnTo>
                  <a:lnTo>
                    <a:pt x="142" y="1136"/>
                  </a:lnTo>
                  <a:lnTo>
                    <a:pt x="140" y="1148"/>
                  </a:lnTo>
                  <a:lnTo>
                    <a:pt x="182" y="1139"/>
                  </a:lnTo>
                  <a:lnTo>
                    <a:pt x="187" y="1140"/>
                  </a:lnTo>
                  <a:lnTo>
                    <a:pt x="161" y="1148"/>
                  </a:lnTo>
                  <a:lnTo>
                    <a:pt x="154" y="1157"/>
                  </a:lnTo>
                  <a:lnTo>
                    <a:pt x="166" y="1166"/>
                  </a:lnTo>
                  <a:lnTo>
                    <a:pt x="182" y="1157"/>
                  </a:lnTo>
                  <a:lnTo>
                    <a:pt x="176" y="1171"/>
                  </a:lnTo>
                  <a:lnTo>
                    <a:pt x="187" y="1196"/>
                  </a:lnTo>
                  <a:lnTo>
                    <a:pt x="202" y="1185"/>
                  </a:lnTo>
                  <a:lnTo>
                    <a:pt x="205" y="1195"/>
                  </a:lnTo>
                  <a:lnTo>
                    <a:pt x="219" y="1193"/>
                  </a:lnTo>
                  <a:lnTo>
                    <a:pt x="210" y="1205"/>
                  </a:lnTo>
                  <a:lnTo>
                    <a:pt x="221" y="1210"/>
                  </a:lnTo>
                  <a:lnTo>
                    <a:pt x="256" y="1208"/>
                  </a:lnTo>
                  <a:lnTo>
                    <a:pt x="259" y="1218"/>
                  </a:lnTo>
                  <a:lnTo>
                    <a:pt x="241" y="1229"/>
                  </a:lnTo>
                  <a:lnTo>
                    <a:pt x="219" y="1264"/>
                  </a:lnTo>
                  <a:lnTo>
                    <a:pt x="227" y="1288"/>
                  </a:lnTo>
                  <a:lnTo>
                    <a:pt x="244" y="1283"/>
                  </a:lnTo>
                  <a:lnTo>
                    <a:pt x="242" y="1292"/>
                  </a:lnTo>
                  <a:lnTo>
                    <a:pt x="236" y="1298"/>
                  </a:lnTo>
                  <a:lnTo>
                    <a:pt x="250" y="1314"/>
                  </a:lnTo>
                  <a:lnTo>
                    <a:pt x="289" y="1320"/>
                  </a:lnTo>
                  <a:lnTo>
                    <a:pt x="318" y="1275"/>
                  </a:lnTo>
                  <a:lnTo>
                    <a:pt x="309" y="1258"/>
                  </a:lnTo>
                  <a:lnTo>
                    <a:pt x="322" y="1233"/>
                  </a:lnTo>
                  <a:lnTo>
                    <a:pt x="360" y="1210"/>
                  </a:lnTo>
                  <a:lnTo>
                    <a:pt x="317" y="1261"/>
                  </a:lnTo>
                  <a:lnTo>
                    <a:pt x="349" y="1331"/>
                  </a:lnTo>
                  <a:lnTo>
                    <a:pt x="334" y="1359"/>
                  </a:lnTo>
                  <a:lnTo>
                    <a:pt x="338" y="1371"/>
                  </a:lnTo>
                  <a:lnTo>
                    <a:pt x="354" y="1371"/>
                  </a:lnTo>
                  <a:lnTo>
                    <a:pt x="346" y="1379"/>
                  </a:lnTo>
                  <a:lnTo>
                    <a:pt x="347" y="1393"/>
                  </a:lnTo>
                  <a:lnTo>
                    <a:pt x="354" y="1396"/>
                  </a:lnTo>
                  <a:lnTo>
                    <a:pt x="329" y="1411"/>
                  </a:lnTo>
                  <a:lnTo>
                    <a:pt x="346" y="1413"/>
                  </a:lnTo>
                  <a:lnTo>
                    <a:pt x="391" y="1386"/>
                  </a:lnTo>
                  <a:lnTo>
                    <a:pt x="414" y="1354"/>
                  </a:lnTo>
                  <a:lnTo>
                    <a:pt x="414" y="1385"/>
                  </a:lnTo>
                  <a:lnTo>
                    <a:pt x="430" y="1396"/>
                  </a:lnTo>
                  <a:lnTo>
                    <a:pt x="447" y="1388"/>
                  </a:lnTo>
                  <a:lnTo>
                    <a:pt x="474" y="1431"/>
                  </a:lnTo>
                  <a:lnTo>
                    <a:pt x="482" y="1423"/>
                  </a:lnTo>
                  <a:lnTo>
                    <a:pt x="479" y="1402"/>
                  </a:lnTo>
                  <a:lnTo>
                    <a:pt x="495" y="1379"/>
                  </a:lnTo>
                  <a:lnTo>
                    <a:pt x="498" y="1383"/>
                  </a:lnTo>
                  <a:lnTo>
                    <a:pt x="495" y="1394"/>
                  </a:lnTo>
                  <a:lnTo>
                    <a:pt x="516" y="1410"/>
                  </a:lnTo>
                  <a:lnTo>
                    <a:pt x="578" y="1371"/>
                  </a:lnTo>
                  <a:lnTo>
                    <a:pt x="559" y="1398"/>
                  </a:lnTo>
                  <a:lnTo>
                    <a:pt x="563" y="1402"/>
                  </a:lnTo>
                  <a:lnTo>
                    <a:pt x="547" y="1416"/>
                  </a:lnTo>
                  <a:lnTo>
                    <a:pt x="542" y="1439"/>
                  </a:lnTo>
                  <a:lnTo>
                    <a:pt x="550" y="1440"/>
                  </a:lnTo>
                  <a:lnTo>
                    <a:pt x="539" y="1454"/>
                  </a:lnTo>
                  <a:lnTo>
                    <a:pt x="532" y="1498"/>
                  </a:lnTo>
                  <a:lnTo>
                    <a:pt x="516" y="1524"/>
                  </a:lnTo>
                  <a:lnTo>
                    <a:pt x="510" y="1521"/>
                  </a:lnTo>
                  <a:lnTo>
                    <a:pt x="495" y="1544"/>
                  </a:lnTo>
                  <a:lnTo>
                    <a:pt x="487" y="1567"/>
                  </a:lnTo>
                  <a:lnTo>
                    <a:pt x="474" y="1566"/>
                  </a:lnTo>
                  <a:lnTo>
                    <a:pt x="419" y="1605"/>
                  </a:lnTo>
                  <a:lnTo>
                    <a:pt x="402" y="1640"/>
                  </a:lnTo>
                  <a:lnTo>
                    <a:pt x="394" y="1642"/>
                  </a:lnTo>
                  <a:lnTo>
                    <a:pt x="391" y="1648"/>
                  </a:lnTo>
                  <a:lnTo>
                    <a:pt x="383" y="1640"/>
                  </a:lnTo>
                  <a:lnTo>
                    <a:pt x="386" y="1634"/>
                  </a:lnTo>
                  <a:lnTo>
                    <a:pt x="366" y="1634"/>
                  </a:lnTo>
                  <a:lnTo>
                    <a:pt x="329" y="1654"/>
                  </a:lnTo>
                  <a:lnTo>
                    <a:pt x="292" y="1697"/>
                  </a:lnTo>
                  <a:lnTo>
                    <a:pt x="273" y="1702"/>
                  </a:lnTo>
                  <a:lnTo>
                    <a:pt x="267" y="1706"/>
                  </a:lnTo>
                  <a:lnTo>
                    <a:pt x="276" y="1727"/>
                  </a:lnTo>
                  <a:lnTo>
                    <a:pt x="283" y="1718"/>
                  </a:lnTo>
                  <a:lnTo>
                    <a:pt x="281" y="1706"/>
                  </a:lnTo>
                  <a:lnTo>
                    <a:pt x="293" y="1718"/>
                  </a:lnTo>
                  <a:lnTo>
                    <a:pt x="309" y="1713"/>
                  </a:lnTo>
                  <a:lnTo>
                    <a:pt x="307" y="1694"/>
                  </a:lnTo>
                  <a:lnTo>
                    <a:pt x="314" y="1708"/>
                  </a:lnTo>
                  <a:lnTo>
                    <a:pt x="331" y="1706"/>
                  </a:lnTo>
                  <a:lnTo>
                    <a:pt x="354" y="1665"/>
                  </a:lnTo>
                  <a:lnTo>
                    <a:pt x="361" y="1664"/>
                  </a:lnTo>
                  <a:lnTo>
                    <a:pt x="357" y="1685"/>
                  </a:lnTo>
                  <a:lnTo>
                    <a:pt x="393" y="1677"/>
                  </a:lnTo>
                  <a:lnTo>
                    <a:pt x="397" y="1667"/>
                  </a:lnTo>
                  <a:lnTo>
                    <a:pt x="403" y="1673"/>
                  </a:lnTo>
                  <a:lnTo>
                    <a:pt x="434" y="1647"/>
                  </a:lnTo>
                  <a:lnTo>
                    <a:pt x="442" y="1654"/>
                  </a:lnTo>
                  <a:lnTo>
                    <a:pt x="442" y="1671"/>
                  </a:lnTo>
                  <a:lnTo>
                    <a:pt x="451" y="1642"/>
                  </a:lnTo>
                  <a:lnTo>
                    <a:pt x="471" y="1642"/>
                  </a:lnTo>
                  <a:lnTo>
                    <a:pt x="490" y="1630"/>
                  </a:lnTo>
                  <a:lnTo>
                    <a:pt x="488" y="1617"/>
                  </a:lnTo>
                  <a:lnTo>
                    <a:pt x="488" y="1609"/>
                  </a:lnTo>
                  <a:lnTo>
                    <a:pt x="499" y="1598"/>
                  </a:lnTo>
                  <a:lnTo>
                    <a:pt x="524" y="1594"/>
                  </a:lnTo>
                  <a:lnTo>
                    <a:pt x="527" y="1588"/>
                  </a:lnTo>
                  <a:lnTo>
                    <a:pt x="516" y="1589"/>
                  </a:lnTo>
                  <a:lnTo>
                    <a:pt x="530" y="1580"/>
                  </a:lnTo>
                  <a:lnTo>
                    <a:pt x="542" y="1583"/>
                  </a:lnTo>
                  <a:lnTo>
                    <a:pt x="542" y="1567"/>
                  </a:lnTo>
                  <a:lnTo>
                    <a:pt x="555" y="1567"/>
                  </a:lnTo>
                  <a:lnTo>
                    <a:pt x="588" y="1546"/>
                  </a:lnTo>
                  <a:lnTo>
                    <a:pt x="593" y="1527"/>
                  </a:lnTo>
                  <a:lnTo>
                    <a:pt x="606" y="1513"/>
                  </a:lnTo>
                  <a:lnTo>
                    <a:pt x="610" y="1501"/>
                  </a:lnTo>
                  <a:lnTo>
                    <a:pt x="620" y="1503"/>
                  </a:lnTo>
                  <a:lnTo>
                    <a:pt x="625" y="1486"/>
                  </a:lnTo>
                  <a:lnTo>
                    <a:pt x="637" y="1491"/>
                  </a:lnTo>
                  <a:lnTo>
                    <a:pt x="655" y="1467"/>
                  </a:lnTo>
                  <a:lnTo>
                    <a:pt x="697" y="1450"/>
                  </a:lnTo>
                  <a:lnTo>
                    <a:pt x="693" y="1439"/>
                  </a:lnTo>
                  <a:lnTo>
                    <a:pt x="700" y="1433"/>
                  </a:lnTo>
                  <a:lnTo>
                    <a:pt x="700" y="1422"/>
                  </a:lnTo>
                  <a:lnTo>
                    <a:pt x="725" y="1408"/>
                  </a:lnTo>
                  <a:lnTo>
                    <a:pt x="731" y="1394"/>
                  </a:lnTo>
                  <a:lnTo>
                    <a:pt x="714" y="1376"/>
                  </a:lnTo>
                  <a:lnTo>
                    <a:pt x="691" y="1374"/>
                  </a:lnTo>
                  <a:lnTo>
                    <a:pt x="697" y="1346"/>
                  </a:lnTo>
                  <a:lnTo>
                    <a:pt x="714" y="1337"/>
                  </a:lnTo>
                  <a:lnTo>
                    <a:pt x="720" y="1329"/>
                  </a:lnTo>
                  <a:lnTo>
                    <a:pt x="720" y="1317"/>
                  </a:lnTo>
                  <a:lnTo>
                    <a:pt x="742" y="1317"/>
                  </a:lnTo>
                  <a:lnTo>
                    <a:pt x="745" y="1305"/>
                  </a:lnTo>
                  <a:lnTo>
                    <a:pt x="739" y="1301"/>
                  </a:lnTo>
                  <a:lnTo>
                    <a:pt x="764" y="1288"/>
                  </a:lnTo>
                  <a:lnTo>
                    <a:pt x="762" y="1276"/>
                  </a:lnTo>
                  <a:lnTo>
                    <a:pt x="745" y="1263"/>
                  </a:lnTo>
                  <a:lnTo>
                    <a:pt x="767" y="1267"/>
                  </a:lnTo>
                  <a:lnTo>
                    <a:pt x="781" y="1252"/>
                  </a:lnTo>
                  <a:lnTo>
                    <a:pt x="804" y="1204"/>
                  </a:lnTo>
                  <a:lnTo>
                    <a:pt x="854" y="1168"/>
                  </a:lnTo>
                  <a:lnTo>
                    <a:pt x="854" y="1144"/>
                  </a:lnTo>
                  <a:lnTo>
                    <a:pt x="874" y="1097"/>
                  </a:lnTo>
                  <a:lnTo>
                    <a:pt x="877" y="1071"/>
                  </a:lnTo>
                  <a:lnTo>
                    <a:pt x="883" y="1082"/>
                  </a:lnTo>
                  <a:lnTo>
                    <a:pt x="877" y="1117"/>
                  </a:lnTo>
                  <a:lnTo>
                    <a:pt x="864" y="1145"/>
                  </a:lnTo>
                  <a:lnTo>
                    <a:pt x="861" y="1168"/>
                  </a:lnTo>
                  <a:lnTo>
                    <a:pt x="883" y="1171"/>
                  </a:lnTo>
                  <a:lnTo>
                    <a:pt x="918" y="1145"/>
                  </a:lnTo>
                  <a:lnTo>
                    <a:pt x="915" y="1157"/>
                  </a:lnTo>
                  <a:lnTo>
                    <a:pt x="886" y="1178"/>
                  </a:lnTo>
                  <a:lnTo>
                    <a:pt x="886" y="1187"/>
                  </a:lnTo>
                  <a:lnTo>
                    <a:pt x="932" y="1207"/>
                  </a:lnTo>
                  <a:lnTo>
                    <a:pt x="925" y="1216"/>
                  </a:lnTo>
                  <a:lnTo>
                    <a:pt x="881" y="1207"/>
                  </a:lnTo>
                  <a:lnTo>
                    <a:pt x="871" y="1195"/>
                  </a:lnTo>
                  <a:lnTo>
                    <a:pt x="827" y="1218"/>
                  </a:lnTo>
                  <a:lnTo>
                    <a:pt x="823" y="1225"/>
                  </a:lnTo>
                  <a:lnTo>
                    <a:pt x="825" y="1264"/>
                  </a:lnTo>
                  <a:lnTo>
                    <a:pt x="803" y="1312"/>
                  </a:lnTo>
                  <a:lnTo>
                    <a:pt x="816" y="1322"/>
                  </a:lnTo>
                  <a:lnTo>
                    <a:pt x="841" y="1310"/>
                  </a:lnTo>
                  <a:lnTo>
                    <a:pt x="833" y="1326"/>
                  </a:lnTo>
                  <a:lnTo>
                    <a:pt x="823" y="1332"/>
                  </a:lnTo>
                  <a:lnTo>
                    <a:pt x="827" y="1339"/>
                  </a:lnTo>
                  <a:lnTo>
                    <a:pt x="807" y="1337"/>
                  </a:lnTo>
                  <a:lnTo>
                    <a:pt x="798" y="1356"/>
                  </a:lnTo>
                  <a:lnTo>
                    <a:pt x="808" y="1365"/>
                  </a:lnTo>
                  <a:lnTo>
                    <a:pt x="832" y="1359"/>
                  </a:lnTo>
                  <a:lnTo>
                    <a:pt x="833" y="1349"/>
                  </a:lnTo>
                  <a:lnTo>
                    <a:pt x="846" y="1356"/>
                  </a:lnTo>
                  <a:lnTo>
                    <a:pt x="861" y="1331"/>
                  </a:lnTo>
                  <a:lnTo>
                    <a:pt x="872" y="1326"/>
                  </a:lnTo>
                  <a:lnTo>
                    <a:pt x="869" y="1348"/>
                  </a:lnTo>
                  <a:lnTo>
                    <a:pt x="879" y="1320"/>
                  </a:lnTo>
                  <a:lnTo>
                    <a:pt x="894" y="1317"/>
                  </a:lnTo>
                  <a:lnTo>
                    <a:pt x="901" y="1293"/>
                  </a:lnTo>
                  <a:lnTo>
                    <a:pt x="906" y="1317"/>
                  </a:lnTo>
                  <a:lnTo>
                    <a:pt x="912" y="1280"/>
                  </a:lnTo>
                  <a:lnTo>
                    <a:pt x="917" y="1292"/>
                  </a:lnTo>
                  <a:lnTo>
                    <a:pt x="954" y="1288"/>
                  </a:lnTo>
                  <a:lnTo>
                    <a:pt x="957" y="1276"/>
                  </a:lnTo>
                  <a:lnTo>
                    <a:pt x="971" y="1267"/>
                  </a:lnTo>
                  <a:lnTo>
                    <a:pt x="960" y="1266"/>
                  </a:lnTo>
                  <a:lnTo>
                    <a:pt x="977" y="1241"/>
                  </a:lnTo>
                  <a:lnTo>
                    <a:pt x="974" y="1233"/>
                  </a:lnTo>
                  <a:lnTo>
                    <a:pt x="952" y="1246"/>
                  </a:lnTo>
                  <a:lnTo>
                    <a:pt x="951" y="1238"/>
                  </a:lnTo>
                  <a:lnTo>
                    <a:pt x="965" y="1229"/>
                  </a:lnTo>
                  <a:lnTo>
                    <a:pt x="968" y="1221"/>
                  </a:lnTo>
                  <a:lnTo>
                    <a:pt x="948" y="1215"/>
                  </a:lnTo>
                  <a:lnTo>
                    <a:pt x="962" y="1207"/>
                  </a:lnTo>
                  <a:lnTo>
                    <a:pt x="968" y="1196"/>
                  </a:lnTo>
                  <a:lnTo>
                    <a:pt x="957" y="1195"/>
                  </a:lnTo>
                  <a:lnTo>
                    <a:pt x="965" y="1187"/>
                  </a:lnTo>
                  <a:lnTo>
                    <a:pt x="976" y="1190"/>
                  </a:lnTo>
                  <a:lnTo>
                    <a:pt x="988" y="1171"/>
                  </a:lnTo>
                  <a:lnTo>
                    <a:pt x="977" y="1202"/>
                  </a:lnTo>
                  <a:lnTo>
                    <a:pt x="982" y="1207"/>
                  </a:lnTo>
                  <a:lnTo>
                    <a:pt x="993" y="1202"/>
                  </a:lnTo>
                  <a:lnTo>
                    <a:pt x="994" y="1179"/>
                  </a:lnTo>
                  <a:lnTo>
                    <a:pt x="997" y="1198"/>
                  </a:lnTo>
                  <a:lnTo>
                    <a:pt x="1005" y="1198"/>
                  </a:lnTo>
                  <a:lnTo>
                    <a:pt x="1042" y="1188"/>
                  </a:lnTo>
                  <a:lnTo>
                    <a:pt x="1040" y="1208"/>
                  </a:lnTo>
                  <a:lnTo>
                    <a:pt x="1038" y="1222"/>
                  </a:lnTo>
                  <a:lnTo>
                    <a:pt x="1069" y="1213"/>
                  </a:lnTo>
                  <a:lnTo>
                    <a:pt x="1057" y="1229"/>
                  </a:lnTo>
                  <a:lnTo>
                    <a:pt x="1082" y="1227"/>
                  </a:lnTo>
                  <a:lnTo>
                    <a:pt x="1079" y="1239"/>
                  </a:lnTo>
                  <a:lnTo>
                    <a:pt x="1103" y="1259"/>
                  </a:lnTo>
                  <a:lnTo>
                    <a:pt x="1118" y="1244"/>
                  </a:lnTo>
                  <a:lnTo>
                    <a:pt x="1123" y="1259"/>
                  </a:lnTo>
                  <a:lnTo>
                    <a:pt x="1155" y="1275"/>
                  </a:lnTo>
                  <a:lnTo>
                    <a:pt x="1161" y="1288"/>
                  </a:lnTo>
                  <a:lnTo>
                    <a:pt x="1211" y="1280"/>
                  </a:lnTo>
                  <a:lnTo>
                    <a:pt x="1263" y="1292"/>
                  </a:lnTo>
                  <a:lnTo>
                    <a:pt x="1284" y="1286"/>
                  </a:lnTo>
                  <a:lnTo>
                    <a:pt x="1288" y="1293"/>
                  </a:lnTo>
                  <a:lnTo>
                    <a:pt x="1282" y="1298"/>
                  </a:lnTo>
                  <a:lnTo>
                    <a:pt x="1285" y="1300"/>
                  </a:lnTo>
                  <a:lnTo>
                    <a:pt x="1319" y="1312"/>
                  </a:lnTo>
                  <a:lnTo>
                    <a:pt x="1350" y="1306"/>
                  </a:lnTo>
                  <a:lnTo>
                    <a:pt x="1370" y="1281"/>
                  </a:lnTo>
                  <a:lnTo>
                    <a:pt x="1392" y="1301"/>
                  </a:lnTo>
                  <a:lnTo>
                    <a:pt x="1384" y="1308"/>
                  </a:lnTo>
                  <a:lnTo>
                    <a:pt x="1384" y="1329"/>
                  </a:lnTo>
                  <a:lnTo>
                    <a:pt x="1373" y="1292"/>
                  </a:lnTo>
                  <a:lnTo>
                    <a:pt x="1369" y="1300"/>
                  </a:lnTo>
                  <a:lnTo>
                    <a:pt x="1369" y="1323"/>
                  </a:lnTo>
                  <a:lnTo>
                    <a:pt x="1358" y="1334"/>
                  </a:lnTo>
                  <a:lnTo>
                    <a:pt x="1411" y="1368"/>
                  </a:lnTo>
                  <a:lnTo>
                    <a:pt x="1426" y="1360"/>
                  </a:lnTo>
                  <a:lnTo>
                    <a:pt x="1424" y="1343"/>
                  </a:lnTo>
                  <a:lnTo>
                    <a:pt x="1433" y="1340"/>
                  </a:lnTo>
                  <a:close/>
                  <a:moveTo>
                    <a:pt x="391" y="1394"/>
                  </a:moveTo>
                  <a:lnTo>
                    <a:pt x="385" y="1414"/>
                  </a:lnTo>
                  <a:lnTo>
                    <a:pt x="376" y="1414"/>
                  </a:lnTo>
                  <a:lnTo>
                    <a:pt x="378" y="1403"/>
                  </a:lnTo>
                  <a:lnTo>
                    <a:pt x="391" y="1394"/>
                  </a:lnTo>
                  <a:close/>
                  <a:moveTo>
                    <a:pt x="317" y="572"/>
                  </a:moveTo>
                  <a:lnTo>
                    <a:pt x="326" y="568"/>
                  </a:lnTo>
                  <a:lnTo>
                    <a:pt x="337" y="592"/>
                  </a:lnTo>
                  <a:lnTo>
                    <a:pt x="322" y="594"/>
                  </a:lnTo>
                  <a:lnTo>
                    <a:pt x="314" y="579"/>
                  </a:lnTo>
                  <a:lnTo>
                    <a:pt x="317" y="572"/>
                  </a:lnTo>
                  <a:close/>
                  <a:moveTo>
                    <a:pt x="1038" y="1254"/>
                  </a:moveTo>
                  <a:lnTo>
                    <a:pt x="1045" y="1242"/>
                  </a:lnTo>
                  <a:lnTo>
                    <a:pt x="1064" y="1250"/>
                  </a:lnTo>
                  <a:lnTo>
                    <a:pt x="1045" y="1261"/>
                  </a:lnTo>
                  <a:lnTo>
                    <a:pt x="1038" y="1254"/>
                  </a:lnTo>
                  <a:close/>
                  <a:moveTo>
                    <a:pt x="993" y="1288"/>
                  </a:moveTo>
                  <a:lnTo>
                    <a:pt x="1018" y="1254"/>
                  </a:lnTo>
                  <a:lnTo>
                    <a:pt x="1027" y="1263"/>
                  </a:lnTo>
                  <a:lnTo>
                    <a:pt x="1002" y="1300"/>
                  </a:lnTo>
                  <a:lnTo>
                    <a:pt x="984" y="1306"/>
                  </a:lnTo>
                  <a:lnTo>
                    <a:pt x="993" y="1288"/>
                  </a:lnTo>
                  <a:close/>
                  <a:moveTo>
                    <a:pt x="767" y="1411"/>
                  </a:moveTo>
                  <a:lnTo>
                    <a:pt x="778" y="1420"/>
                  </a:lnTo>
                  <a:lnTo>
                    <a:pt x="769" y="1420"/>
                  </a:lnTo>
                  <a:lnTo>
                    <a:pt x="767" y="1411"/>
                  </a:lnTo>
                  <a:close/>
                  <a:moveTo>
                    <a:pt x="762" y="1444"/>
                  </a:moveTo>
                  <a:lnTo>
                    <a:pt x="754" y="1437"/>
                  </a:lnTo>
                  <a:lnTo>
                    <a:pt x="761" y="1430"/>
                  </a:lnTo>
                  <a:lnTo>
                    <a:pt x="781" y="1427"/>
                  </a:lnTo>
                  <a:lnTo>
                    <a:pt x="778" y="1437"/>
                  </a:lnTo>
                  <a:lnTo>
                    <a:pt x="787" y="1431"/>
                  </a:lnTo>
                  <a:lnTo>
                    <a:pt x="793" y="1448"/>
                  </a:lnTo>
                  <a:lnTo>
                    <a:pt x="756" y="1462"/>
                  </a:lnTo>
                  <a:lnTo>
                    <a:pt x="744" y="1450"/>
                  </a:lnTo>
                  <a:lnTo>
                    <a:pt x="762" y="1444"/>
                  </a:lnTo>
                  <a:close/>
                  <a:moveTo>
                    <a:pt x="669" y="1521"/>
                  </a:moveTo>
                  <a:lnTo>
                    <a:pt x="683" y="1501"/>
                  </a:lnTo>
                  <a:lnTo>
                    <a:pt x="700" y="1496"/>
                  </a:lnTo>
                  <a:lnTo>
                    <a:pt x="703" y="1498"/>
                  </a:lnTo>
                  <a:lnTo>
                    <a:pt x="700" y="1504"/>
                  </a:lnTo>
                  <a:lnTo>
                    <a:pt x="706" y="1516"/>
                  </a:lnTo>
                  <a:lnTo>
                    <a:pt x="713" y="1518"/>
                  </a:lnTo>
                  <a:lnTo>
                    <a:pt x="714" y="1501"/>
                  </a:lnTo>
                  <a:lnTo>
                    <a:pt x="719" y="1499"/>
                  </a:lnTo>
                  <a:lnTo>
                    <a:pt x="708" y="1486"/>
                  </a:lnTo>
                  <a:lnTo>
                    <a:pt x="710" y="1478"/>
                  </a:lnTo>
                  <a:lnTo>
                    <a:pt x="716" y="1476"/>
                  </a:lnTo>
                  <a:lnTo>
                    <a:pt x="725" y="1495"/>
                  </a:lnTo>
                  <a:lnTo>
                    <a:pt x="745" y="1481"/>
                  </a:lnTo>
                  <a:lnTo>
                    <a:pt x="742" y="1473"/>
                  </a:lnTo>
                  <a:lnTo>
                    <a:pt x="754" y="1474"/>
                  </a:lnTo>
                  <a:lnTo>
                    <a:pt x="757" y="1487"/>
                  </a:lnTo>
                  <a:lnTo>
                    <a:pt x="773" y="1476"/>
                  </a:lnTo>
                  <a:lnTo>
                    <a:pt x="773" y="1501"/>
                  </a:lnTo>
                  <a:lnTo>
                    <a:pt x="787" y="1501"/>
                  </a:lnTo>
                  <a:lnTo>
                    <a:pt x="781" y="1513"/>
                  </a:lnTo>
                  <a:lnTo>
                    <a:pt x="754" y="1506"/>
                  </a:lnTo>
                  <a:lnTo>
                    <a:pt x="750" y="1513"/>
                  </a:lnTo>
                  <a:lnTo>
                    <a:pt x="765" y="1516"/>
                  </a:lnTo>
                  <a:lnTo>
                    <a:pt x="767" y="1527"/>
                  </a:lnTo>
                  <a:lnTo>
                    <a:pt x="761" y="1520"/>
                  </a:lnTo>
                  <a:lnTo>
                    <a:pt x="745" y="1527"/>
                  </a:lnTo>
                  <a:lnTo>
                    <a:pt x="750" y="1530"/>
                  </a:lnTo>
                  <a:lnTo>
                    <a:pt x="722" y="1546"/>
                  </a:lnTo>
                  <a:lnTo>
                    <a:pt x="719" y="1564"/>
                  </a:lnTo>
                  <a:lnTo>
                    <a:pt x="702" y="1572"/>
                  </a:lnTo>
                  <a:lnTo>
                    <a:pt x="710" y="1557"/>
                  </a:lnTo>
                  <a:lnTo>
                    <a:pt x="703" y="1552"/>
                  </a:lnTo>
                  <a:lnTo>
                    <a:pt x="703" y="1541"/>
                  </a:lnTo>
                  <a:lnTo>
                    <a:pt x="696" y="1541"/>
                  </a:lnTo>
                  <a:lnTo>
                    <a:pt x="696" y="1558"/>
                  </a:lnTo>
                  <a:lnTo>
                    <a:pt x="691" y="1563"/>
                  </a:lnTo>
                  <a:lnTo>
                    <a:pt x="669" y="1521"/>
                  </a:lnTo>
                  <a:close/>
                  <a:moveTo>
                    <a:pt x="696" y="1592"/>
                  </a:moveTo>
                  <a:lnTo>
                    <a:pt x="689" y="1591"/>
                  </a:lnTo>
                  <a:lnTo>
                    <a:pt x="696" y="1586"/>
                  </a:lnTo>
                  <a:lnTo>
                    <a:pt x="696" y="1592"/>
                  </a:lnTo>
                  <a:close/>
                  <a:moveTo>
                    <a:pt x="672" y="1591"/>
                  </a:moveTo>
                  <a:lnTo>
                    <a:pt x="677" y="1588"/>
                  </a:lnTo>
                  <a:lnTo>
                    <a:pt x="679" y="1594"/>
                  </a:lnTo>
                  <a:lnTo>
                    <a:pt x="671" y="1603"/>
                  </a:lnTo>
                  <a:lnTo>
                    <a:pt x="672" y="1591"/>
                  </a:lnTo>
                  <a:close/>
                  <a:moveTo>
                    <a:pt x="183" y="1227"/>
                  </a:moveTo>
                  <a:lnTo>
                    <a:pt x="200" y="1210"/>
                  </a:lnTo>
                  <a:lnTo>
                    <a:pt x="227" y="1218"/>
                  </a:lnTo>
                  <a:lnTo>
                    <a:pt x="230" y="1232"/>
                  </a:lnTo>
                  <a:lnTo>
                    <a:pt x="212" y="1254"/>
                  </a:lnTo>
                  <a:lnTo>
                    <a:pt x="204" y="1233"/>
                  </a:lnTo>
                  <a:lnTo>
                    <a:pt x="183" y="1227"/>
                  </a:lnTo>
                  <a:close/>
                  <a:moveTo>
                    <a:pt x="81" y="1266"/>
                  </a:moveTo>
                  <a:lnTo>
                    <a:pt x="140" y="1254"/>
                  </a:lnTo>
                  <a:lnTo>
                    <a:pt x="166" y="1261"/>
                  </a:lnTo>
                  <a:lnTo>
                    <a:pt x="166" y="1281"/>
                  </a:lnTo>
                  <a:lnTo>
                    <a:pt x="170" y="1286"/>
                  </a:lnTo>
                  <a:lnTo>
                    <a:pt x="144" y="1308"/>
                  </a:lnTo>
                  <a:lnTo>
                    <a:pt x="98" y="1289"/>
                  </a:lnTo>
                  <a:lnTo>
                    <a:pt x="81" y="1266"/>
                  </a:lnTo>
                  <a:close/>
                  <a:moveTo>
                    <a:pt x="397" y="1689"/>
                  </a:moveTo>
                  <a:lnTo>
                    <a:pt x="393" y="1684"/>
                  </a:lnTo>
                  <a:lnTo>
                    <a:pt x="402" y="1685"/>
                  </a:lnTo>
                  <a:lnTo>
                    <a:pt x="402" y="1702"/>
                  </a:lnTo>
                  <a:lnTo>
                    <a:pt x="391" y="1701"/>
                  </a:lnTo>
                  <a:lnTo>
                    <a:pt x="388" y="1685"/>
                  </a:lnTo>
                  <a:lnTo>
                    <a:pt x="397" y="1689"/>
                  </a:lnTo>
                  <a:close/>
                  <a:moveTo>
                    <a:pt x="297" y="1758"/>
                  </a:moveTo>
                  <a:lnTo>
                    <a:pt x="307" y="1762"/>
                  </a:lnTo>
                  <a:lnTo>
                    <a:pt x="297" y="1758"/>
                  </a:lnTo>
                  <a:close/>
                  <a:moveTo>
                    <a:pt x="148" y="1775"/>
                  </a:moveTo>
                  <a:lnTo>
                    <a:pt x="157" y="1787"/>
                  </a:lnTo>
                  <a:lnTo>
                    <a:pt x="144" y="1790"/>
                  </a:lnTo>
                  <a:lnTo>
                    <a:pt x="144" y="1779"/>
                  </a:lnTo>
                  <a:lnTo>
                    <a:pt x="148" y="1775"/>
                  </a:lnTo>
                  <a:close/>
                  <a:moveTo>
                    <a:pt x="69" y="1850"/>
                  </a:moveTo>
                  <a:lnTo>
                    <a:pt x="66" y="1845"/>
                  </a:lnTo>
                  <a:lnTo>
                    <a:pt x="85" y="1840"/>
                  </a:lnTo>
                  <a:lnTo>
                    <a:pt x="98" y="1818"/>
                  </a:lnTo>
                  <a:lnTo>
                    <a:pt x="106" y="1818"/>
                  </a:lnTo>
                  <a:lnTo>
                    <a:pt x="100" y="1815"/>
                  </a:lnTo>
                  <a:lnTo>
                    <a:pt x="95" y="1801"/>
                  </a:lnTo>
                  <a:lnTo>
                    <a:pt x="108" y="1798"/>
                  </a:lnTo>
                  <a:lnTo>
                    <a:pt x="117" y="1806"/>
                  </a:lnTo>
                  <a:lnTo>
                    <a:pt x="125" y="1796"/>
                  </a:lnTo>
                  <a:lnTo>
                    <a:pt x="132" y="1801"/>
                  </a:lnTo>
                  <a:lnTo>
                    <a:pt x="120" y="1818"/>
                  </a:lnTo>
                  <a:lnTo>
                    <a:pt x="128" y="1821"/>
                  </a:lnTo>
                  <a:lnTo>
                    <a:pt x="108" y="1838"/>
                  </a:lnTo>
                  <a:lnTo>
                    <a:pt x="69" y="1850"/>
                  </a:lnTo>
                  <a:close/>
                  <a:moveTo>
                    <a:pt x="0" y="1891"/>
                  </a:moveTo>
                  <a:lnTo>
                    <a:pt x="18" y="1854"/>
                  </a:lnTo>
                  <a:lnTo>
                    <a:pt x="34" y="1848"/>
                  </a:lnTo>
                  <a:lnTo>
                    <a:pt x="35" y="1838"/>
                  </a:lnTo>
                  <a:lnTo>
                    <a:pt x="57" y="1835"/>
                  </a:lnTo>
                  <a:lnTo>
                    <a:pt x="57" y="1846"/>
                  </a:lnTo>
                  <a:lnTo>
                    <a:pt x="0" y="1891"/>
                  </a:lnTo>
                  <a:close/>
                </a:path>
              </a:pathLst>
            </a:custGeom>
            <a:solidFill>
              <a:srgbClr val="EAEAEA"/>
            </a:solidFill>
            <a:ln w="6350" cap="flat" cmpd="sng">
              <a:solidFill>
                <a:srgbClr val="B2B2B2"/>
              </a:solidFill>
              <a:prstDash val="solid"/>
              <a:bevel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</p:grpSp>
      <p:grpSp>
        <p:nvGrpSpPr>
          <p:cNvPr id="7" name="Group 273"/>
          <p:cNvGrpSpPr>
            <a:grpSpLocks/>
          </p:cNvGrpSpPr>
          <p:nvPr/>
        </p:nvGrpSpPr>
        <p:grpSpPr bwMode="auto">
          <a:xfrm>
            <a:off x="4229100" y="2116138"/>
            <a:ext cx="220663" cy="425450"/>
            <a:chOff x="2297" y="263"/>
            <a:chExt cx="1873" cy="3596"/>
          </a:xfrm>
        </p:grpSpPr>
        <p:sp>
          <p:nvSpPr>
            <p:cNvPr id="58604" name="Freeform 274"/>
            <p:cNvSpPr>
              <a:spLocks noChangeAspect="1"/>
            </p:cNvSpPr>
            <p:nvPr/>
          </p:nvSpPr>
          <p:spPr bwMode="auto">
            <a:xfrm>
              <a:off x="2297" y="2222"/>
              <a:ext cx="486" cy="402"/>
            </a:xfrm>
            <a:custGeom>
              <a:avLst/>
              <a:gdLst>
                <a:gd name="T0" fmla="*/ 0 w 1213"/>
                <a:gd name="T1" fmla="*/ 0 h 1004"/>
                <a:gd name="T2" fmla="*/ 0 w 1213"/>
                <a:gd name="T3" fmla="*/ 0 h 1004"/>
                <a:gd name="T4" fmla="*/ 0 w 1213"/>
                <a:gd name="T5" fmla="*/ 0 h 1004"/>
                <a:gd name="T6" fmla="*/ 0 w 1213"/>
                <a:gd name="T7" fmla="*/ 0 h 1004"/>
                <a:gd name="T8" fmla="*/ 0 w 1213"/>
                <a:gd name="T9" fmla="*/ 0 h 1004"/>
                <a:gd name="T10" fmla="*/ 0 w 1213"/>
                <a:gd name="T11" fmla="*/ 0 h 1004"/>
                <a:gd name="T12" fmla="*/ 0 w 1213"/>
                <a:gd name="T13" fmla="*/ 0 h 1004"/>
                <a:gd name="T14" fmla="*/ 0 w 1213"/>
                <a:gd name="T15" fmla="*/ 0 h 1004"/>
                <a:gd name="T16" fmla="*/ 0 w 1213"/>
                <a:gd name="T17" fmla="*/ 0 h 1004"/>
                <a:gd name="T18" fmla="*/ 0 w 1213"/>
                <a:gd name="T19" fmla="*/ 0 h 1004"/>
                <a:gd name="T20" fmla="*/ 0 w 1213"/>
                <a:gd name="T21" fmla="*/ 0 h 1004"/>
                <a:gd name="T22" fmla="*/ 0 w 1213"/>
                <a:gd name="T23" fmla="*/ 0 h 1004"/>
                <a:gd name="T24" fmla="*/ 0 w 1213"/>
                <a:gd name="T25" fmla="*/ 0 h 1004"/>
                <a:gd name="T26" fmla="*/ 0 w 1213"/>
                <a:gd name="T27" fmla="*/ 0 h 1004"/>
                <a:gd name="T28" fmla="*/ 0 w 1213"/>
                <a:gd name="T29" fmla="*/ 0 h 1004"/>
                <a:gd name="T30" fmla="*/ 0 w 1213"/>
                <a:gd name="T31" fmla="*/ 0 h 1004"/>
                <a:gd name="T32" fmla="*/ 0 w 1213"/>
                <a:gd name="T33" fmla="*/ 0 h 1004"/>
                <a:gd name="T34" fmla="*/ 0 w 1213"/>
                <a:gd name="T35" fmla="*/ 0 h 1004"/>
                <a:gd name="T36" fmla="*/ 0 w 1213"/>
                <a:gd name="T37" fmla="*/ 0 h 1004"/>
                <a:gd name="T38" fmla="*/ 0 w 1213"/>
                <a:gd name="T39" fmla="*/ 0 h 1004"/>
                <a:gd name="T40" fmla="*/ 0 w 1213"/>
                <a:gd name="T41" fmla="*/ 0 h 1004"/>
                <a:gd name="T42" fmla="*/ 0 w 1213"/>
                <a:gd name="T43" fmla="*/ 0 h 1004"/>
                <a:gd name="T44" fmla="*/ 0 w 1213"/>
                <a:gd name="T45" fmla="*/ 0 h 1004"/>
                <a:gd name="T46" fmla="*/ 0 w 1213"/>
                <a:gd name="T47" fmla="*/ 0 h 1004"/>
                <a:gd name="T48" fmla="*/ 0 w 1213"/>
                <a:gd name="T49" fmla="*/ 0 h 1004"/>
                <a:gd name="T50" fmla="*/ 0 w 1213"/>
                <a:gd name="T51" fmla="*/ 0 h 1004"/>
                <a:gd name="T52" fmla="*/ 0 w 1213"/>
                <a:gd name="T53" fmla="*/ 0 h 1004"/>
                <a:gd name="T54" fmla="*/ 0 w 1213"/>
                <a:gd name="T55" fmla="*/ 0 h 1004"/>
                <a:gd name="T56" fmla="*/ 0 w 1213"/>
                <a:gd name="T57" fmla="*/ 0 h 1004"/>
                <a:gd name="T58" fmla="*/ 0 w 1213"/>
                <a:gd name="T59" fmla="*/ 0 h 1004"/>
                <a:gd name="T60" fmla="*/ 0 w 1213"/>
                <a:gd name="T61" fmla="*/ 0 h 1004"/>
                <a:gd name="T62" fmla="*/ 0 w 1213"/>
                <a:gd name="T63" fmla="*/ 0 h 1004"/>
                <a:gd name="T64" fmla="*/ 0 w 1213"/>
                <a:gd name="T65" fmla="*/ 0 h 10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213"/>
                <a:gd name="T100" fmla="*/ 0 h 1004"/>
                <a:gd name="T101" fmla="*/ 1213 w 1213"/>
                <a:gd name="T102" fmla="*/ 1004 h 100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213" h="1004">
                  <a:moveTo>
                    <a:pt x="160" y="545"/>
                  </a:moveTo>
                  <a:lnTo>
                    <a:pt x="77" y="557"/>
                  </a:lnTo>
                  <a:lnTo>
                    <a:pt x="0" y="618"/>
                  </a:lnTo>
                  <a:lnTo>
                    <a:pt x="125" y="799"/>
                  </a:lnTo>
                  <a:lnTo>
                    <a:pt x="278" y="891"/>
                  </a:lnTo>
                  <a:lnTo>
                    <a:pt x="414" y="896"/>
                  </a:lnTo>
                  <a:lnTo>
                    <a:pt x="458" y="759"/>
                  </a:lnTo>
                  <a:lnTo>
                    <a:pt x="528" y="657"/>
                  </a:lnTo>
                  <a:lnTo>
                    <a:pt x="600" y="741"/>
                  </a:lnTo>
                  <a:lnTo>
                    <a:pt x="652" y="842"/>
                  </a:lnTo>
                  <a:lnTo>
                    <a:pt x="708" y="858"/>
                  </a:lnTo>
                  <a:lnTo>
                    <a:pt x="717" y="939"/>
                  </a:lnTo>
                  <a:lnTo>
                    <a:pt x="867" y="916"/>
                  </a:lnTo>
                  <a:lnTo>
                    <a:pt x="906" y="1004"/>
                  </a:lnTo>
                  <a:lnTo>
                    <a:pt x="1019" y="930"/>
                  </a:lnTo>
                  <a:lnTo>
                    <a:pt x="1038" y="847"/>
                  </a:lnTo>
                  <a:lnTo>
                    <a:pt x="1141" y="817"/>
                  </a:lnTo>
                  <a:lnTo>
                    <a:pt x="1192" y="755"/>
                  </a:lnTo>
                  <a:lnTo>
                    <a:pt x="1130" y="579"/>
                  </a:lnTo>
                  <a:lnTo>
                    <a:pt x="1192" y="692"/>
                  </a:lnTo>
                  <a:lnTo>
                    <a:pt x="1213" y="609"/>
                  </a:lnTo>
                  <a:lnTo>
                    <a:pt x="1130" y="475"/>
                  </a:lnTo>
                  <a:lnTo>
                    <a:pt x="998" y="496"/>
                  </a:lnTo>
                  <a:lnTo>
                    <a:pt x="1049" y="413"/>
                  </a:lnTo>
                  <a:lnTo>
                    <a:pt x="1049" y="259"/>
                  </a:lnTo>
                  <a:lnTo>
                    <a:pt x="915" y="62"/>
                  </a:lnTo>
                  <a:lnTo>
                    <a:pt x="760" y="0"/>
                  </a:lnTo>
                  <a:lnTo>
                    <a:pt x="434" y="144"/>
                  </a:lnTo>
                  <a:lnTo>
                    <a:pt x="359" y="158"/>
                  </a:lnTo>
                  <a:lnTo>
                    <a:pt x="284" y="380"/>
                  </a:lnTo>
                  <a:lnTo>
                    <a:pt x="140" y="402"/>
                  </a:lnTo>
                  <a:lnTo>
                    <a:pt x="114" y="462"/>
                  </a:lnTo>
                  <a:lnTo>
                    <a:pt x="197" y="504"/>
                  </a:lnTo>
                </a:path>
              </a:pathLst>
            </a:custGeom>
            <a:solidFill>
              <a:srgbClr val="EAEAEA"/>
            </a:solidFill>
            <a:ln w="6350" cap="flat" cmpd="sng">
              <a:solidFill>
                <a:srgbClr val="B2B2B2"/>
              </a:solidFill>
              <a:prstDash val="solid"/>
              <a:bevel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05" name="Freeform 275"/>
            <p:cNvSpPr>
              <a:spLocks noChangeAspect="1"/>
            </p:cNvSpPr>
            <p:nvPr/>
          </p:nvSpPr>
          <p:spPr bwMode="auto">
            <a:xfrm>
              <a:off x="2675" y="1018"/>
              <a:ext cx="1495" cy="2841"/>
            </a:xfrm>
            <a:custGeom>
              <a:avLst/>
              <a:gdLst>
                <a:gd name="T0" fmla="*/ 2147483647 w 111"/>
                <a:gd name="T1" fmla="*/ 2147483647 h 211"/>
                <a:gd name="T2" fmla="*/ 2147483647 w 111"/>
                <a:gd name="T3" fmla="*/ 2147483647 h 211"/>
                <a:gd name="T4" fmla="*/ 2147483647 w 111"/>
                <a:gd name="T5" fmla="*/ 2147483647 h 211"/>
                <a:gd name="T6" fmla="*/ 2147483647 w 111"/>
                <a:gd name="T7" fmla="*/ 2147483647 h 211"/>
                <a:gd name="T8" fmla="*/ 2147483647 w 111"/>
                <a:gd name="T9" fmla="*/ 2147483647 h 211"/>
                <a:gd name="T10" fmla="*/ 2147483647 w 111"/>
                <a:gd name="T11" fmla="*/ 2147483647 h 211"/>
                <a:gd name="T12" fmla="*/ 2147483647 w 111"/>
                <a:gd name="T13" fmla="*/ 2147483647 h 211"/>
                <a:gd name="T14" fmla="*/ 2147483647 w 111"/>
                <a:gd name="T15" fmla="*/ 2147483647 h 211"/>
                <a:gd name="T16" fmla="*/ 2147483647 w 111"/>
                <a:gd name="T17" fmla="*/ 2147483647 h 211"/>
                <a:gd name="T18" fmla="*/ 2147483647 w 111"/>
                <a:gd name="T19" fmla="*/ 2147483647 h 211"/>
                <a:gd name="T20" fmla="*/ 2147483647 w 111"/>
                <a:gd name="T21" fmla="*/ 2147483647 h 211"/>
                <a:gd name="T22" fmla="*/ 2147483647 w 111"/>
                <a:gd name="T23" fmla="*/ 2147483647 h 211"/>
                <a:gd name="T24" fmla="*/ 2147483647 w 111"/>
                <a:gd name="T25" fmla="*/ 2147483647 h 211"/>
                <a:gd name="T26" fmla="*/ 2147483647 w 111"/>
                <a:gd name="T27" fmla="*/ 2147483647 h 211"/>
                <a:gd name="T28" fmla="*/ 2147483647 w 111"/>
                <a:gd name="T29" fmla="*/ 2147483647 h 211"/>
                <a:gd name="T30" fmla="*/ 2147483647 w 111"/>
                <a:gd name="T31" fmla="*/ 2147483647 h 211"/>
                <a:gd name="T32" fmla="*/ 2147483647 w 111"/>
                <a:gd name="T33" fmla="*/ 2147483647 h 211"/>
                <a:gd name="T34" fmla="*/ 2147483647 w 111"/>
                <a:gd name="T35" fmla="*/ 2147483647 h 211"/>
                <a:gd name="T36" fmla="*/ 2147483647 w 111"/>
                <a:gd name="T37" fmla="*/ 2147483647 h 211"/>
                <a:gd name="T38" fmla="*/ 2147483647 w 111"/>
                <a:gd name="T39" fmla="*/ 2147483647 h 211"/>
                <a:gd name="T40" fmla="*/ 2147483647 w 111"/>
                <a:gd name="T41" fmla="*/ 2147483647 h 211"/>
                <a:gd name="T42" fmla="*/ 2147483647 w 111"/>
                <a:gd name="T43" fmla="*/ 2147483647 h 211"/>
                <a:gd name="T44" fmla="*/ 2147483647 w 111"/>
                <a:gd name="T45" fmla="*/ 2147483647 h 211"/>
                <a:gd name="T46" fmla="*/ 2147483647 w 111"/>
                <a:gd name="T47" fmla="*/ 2147483647 h 211"/>
                <a:gd name="T48" fmla="*/ 2147483647 w 111"/>
                <a:gd name="T49" fmla="*/ 2147483647 h 211"/>
                <a:gd name="T50" fmla="*/ 2147483647 w 111"/>
                <a:gd name="T51" fmla="*/ 2147483647 h 211"/>
                <a:gd name="T52" fmla="*/ 2147483647 w 111"/>
                <a:gd name="T53" fmla="*/ 2147483647 h 211"/>
                <a:gd name="T54" fmla="*/ 2147483647 w 111"/>
                <a:gd name="T55" fmla="*/ 2147483647 h 211"/>
                <a:gd name="T56" fmla="*/ 2147483647 w 111"/>
                <a:gd name="T57" fmla="*/ 2147483647 h 211"/>
                <a:gd name="T58" fmla="*/ 2147483647 w 111"/>
                <a:gd name="T59" fmla="*/ 2147483647 h 211"/>
                <a:gd name="T60" fmla="*/ 2147483647 w 111"/>
                <a:gd name="T61" fmla="*/ 2147483647 h 211"/>
                <a:gd name="T62" fmla="*/ 2147483647 w 111"/>
                <a:gd name="T63" fmla="*/ 2147483647 h 211"/>
                <a:gd name="T64" fmla="*/ 2147483647 w 111"/>
                <a:gd name="T65" fmla="*/ 2147483647 h 211"/>
                <a:gd name="T66" fmla="*/ 2147483647 w 111"/>
                <a:gd name="T67" fmla="*/ 2147483647 h 211"/>
                <a:gd name="T68" fmla="*/ 2147483647 w 111"/>
                <a:gd name="T69" fmla="*/ 2147483647 h 211"/>
                <a:gd name="T70" fmla="*/ 2147483647 w 111"/>
                <a:gd name="T71" fmla="*/ 2147483647 h 211"/>
                <a:gd name="T72" fmla="*/ 2147483647 w 111"/>
                <a:gd name="T73" fmla="*/ 2147483647 h 211"/>
                <a:gd name="T74" fmla="*/ 2147483647 w 111"/>
                <a:gd name="T75" fmla="*/ 2147483647 h 211"/>
                <a:gd name="T76" fmla="*/ 2147483647 w 111"/>
                <a:gd name="T77" fmla="*/ 2147483647 h 211"/>
                <a:gd name="T78" fmla="*/ 2147483647 w 111"/>
                <a:gd name="T79" fmla="*/ 2147483647 h 211"/>
                <a:gd name="T80" fmla="*/ 2147483647 w 111"/>
                <a:gd name="T81" fmla="*/ 2147483647 h 211"/>
                <a:gd name="T82" fmla="*/ 2147483647 w 111"/>
                <a:gd name="T83" fmla="*/ 2147483647 h 211"/>
                <a:gd name="T84" fmla="*/ 2147483647 w 111"/>
                <a:gd name="T85" fmla="*/ 2147483647 h 211"/>
                <a:gd name="T86" fmla="*/ 2147483647 w 111"/>
                <a:gd name="T87" fmla="*/ 2147483647 h 211"/>
                <a:gd name="T88" fmla="*/ 2147483647 w 111"/>
                <a:gd name="T89" fmla="*/ 2147483647 h 211"/>
                <a:gd name="T90" fmla="*/ 2147483647 w 111"/>
                <a:gd name="T91" fmla="*/ 2147483647 h 211"/>
                <a:gd name="T92" fmla="*/ 2147483647 w 111"/>
                <a:gd name="T93" fmla="*/ 2147483647 h 211"/>
                <a:gd name="T94" fmla="*/ 2147483647 w 111"/>
                <a:gd name="T95" fmla="*/ 2147483647 h 211"/>
                <a:gd name="T96" fmla="*/ 2147483647 w 111"/>
                <a:gd name="T97" fmla="*/ 2147483647 h 211"/>
                <a:gd name="T98" fmla="*/ 2147483647 w 111"/>
                <a:gd name="T99" fmla="*/ 2147483647 h 211"/>
                <a:gd name="T100" fmla="*/ 2147483647 w 111"/>
                <a:gd name="T101" fmla="*/ 2147483647 h 211"/>
                <a:gd name="T102" fmla="*/ 2147483647 w 111"/>
                <a:gd name="T103" fmla="*/ 2147483647 h 211"/>
                <a:gd name="T104" fmla="*/ 2147483647 w 111"/>
                <a:gd name="T105" fmla="*/ 2147483647 h 211"/>
                <a:gd name="T106" fmla="*/ 2147483647 w 111"/>
                <a:gd name="T107" fmla="*/ 2147483647 h 211"/>
                <a:gd name="T108" fmla="*/ 2147483647 w 111"/>
                <a:gd name="T109" fmla="*/ 2147483647 h 211"/>
                <a:gd name="T110" fmla="*/ 2147483647 w 111"/>
                <a:gd name="T111" fmla="*/ 2147483647 h 211"/>
                <a:gd name="T112" fmla="*/ 2147483647 w 111"/>
                <a:gd name="T113" fmla="*/ 2147483647 h 211"/>
                <a:gd name="T114" fmla="*/ 2147483647 w 111"/>
                <a:gd name="T115" fmla="*/ 2147483647 h 211"/>
                <a:gd name="T116" fmla="*/ 2147483647 w 111"/>
                <a:gd name="T117" fmla="*/ 2147483647 h 211"/>
                <a:gd name="T118" fmla="*/ 2147483647 w 111"/>
                <a:gd name="T119" fmla="*/ 2147483647 h 211"/>
                <a:gd name="T120" fmla="*/ 2147483647 w 111"/>
                <a:gd name="T121" fmla="*/ 2147483647 h 211"/>
                <a:gd name="T122" fmla="*/ 2147483647 w 111"/>
                <a:gd name="T123" fmla="*/ 2147483647 h 211"/>
                <a:gd name="T124" fmla="*/ 2147483647 w 111"/>
                <a:gd name="T125" fmla="*/ 2147483647 h 21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1"/>
                <a:gd name="T190" fmla="*/ 0 h 211"/>
                <a:gd name="T191" fmla="*/ 111 w 111"/>
                <a:gd name="T192" fmla="*/ 211 h 211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1" h="211">
                  <a:moveTo>
                    <a:pt x="52" y="199"/>
                  </a:moveTo>
                  <a:lnTo>
                    <a:pt x="59" y="197"/>
                  </a:lnTo>
                  <a:lnTo>
                    <a:pt x="58" y="195"/>
                  </a:lnTo>
                  <a:lnTo>
                    <a:pt x="65" y="195"/>
                  </a:lnTo>
                  <a:lnTo>
                    <a:pt x="68" y="194"/>
                  </a:lnTo>
                  <a:lnTo>
                    <a:pt x="68" y="192"/>
                  </a:lnTo>
                  <a:lnTo>
                    <a:pt x="75" y="194"/>
                  </a:lnTo>
                  <a:lnTo>
                    <a:pt x="100" y="190"/>
                  </a:lnTo>
                  <a:lnTo>
                    <a:pt x="106" y="185"/>
                  </a:lnTo>
                  <a:lnTo>
                    <a:pt x="107" y="182"/>
                  </a:lnTo>
                  <a:lnTo>
                    <a:pt x="96" y="181"/>
                  </a:lnTo>
                  <a:lnTo>
                    <a:pt x="95" y="177"/>
                  </a:lnTo>
                  <a:lnTo>
                    <a:pt x="100" y="173"/>
                  </a:lnTo>
                  <a:lnTo>
                    <a:pt x="97" y="172"/>
                  </a:lnTo>
                  <a:lnTo>
                    <a:pt x="104" y="171"/>
                  </a:lnTo>
                  <a:lnTo>
                    <a:pt x="104" y="166"/>
                  </a:lnTo>
                  <a:lnTo>
                    <a:pt x="109" y="163"/>
                  </a:lnTo>
                  <a:lnTo>
                    <a:pt x="111" y="154"/>
                  </a:lnTo>
                  <a:lnTo>
                    <a:pt x="110" y="150"/>
                  </a:lnTo>
                  <a:lnTo>
                    <a:pt x="103" y="144"/>
                  </a:lnTo>
                  <a:lnTo>
                    <a:pt x="94" y="145"/>
                  </a:lnTo>
                  <a:lnTo>
                    <a:pt x="92" y="148"/>
                  </a:lnTo>
                  <a:lnTo>
                    <a:pt x="88" y="147"/>
                  </a:lnTo>
                  <a:lnTo>
                    <a:pt x="87" y="147"/>
                  </a:lnTo>
                  <a:lnTo>
                    <a:pt x="92" y="136"/>
                  </a:lnTo>
                  <a:lnTo>
                    <a:pt x="82" y="126"/>
                  </a:lnTo>
                  <a:lnTo>
                    <a:pt x="89" y="128"/>
                  </a:lnTo>
                  <a:lnTo>
                    <a:pt x="88" y="124"/>
                  </a:lnTo>
                  <a:lnTo>
                    <a:pt x="78" y="106"/>
                  </a:lnTo>
                  <a:lnTo>
                    <a:pt x="71" y="104"/>
                  </a:lnTo>
                  <a:lnTo>
                    <a:pt x="66" y="91"/>
                  </a:lnTo>
                  <a:lnTo>
                    <a:pt x="64" y="81"/>
                  </a:lnTo>
                  <a:lnTo>
                    <a:pt x="58" y="73"/>
                  </a:lnTo>
                  <a:lnTo>
                    <a:pt x="50" y="69"/>
                  </a:lnTo>
                  <a:lnTo>
                    <a:pt x="41" y="69"/>
                  </a:lnTo>
                  <a:lnTo>
                    <a:pt x="43" y="65"/>
                  </a:lnTo>
                  <a:lnTo>
                    <a:pt x="50" y="64"/>
                  </a:lnTo>
                  <a:lnTo>
                    <a:pt x="45" y="58"/>
                  </a:lnTo>
                  <a:lnTo>
                    <a:pt x="49" y="57"/>
                  </a:lnTo>
                  <a:lnTo>
                    <a:pt x="55" y="47"/>
                  </a:lnTo>
                  <a:lnTo>
                    <a:pt x="57" y="38"/>
                  </a:lnTo>
                  <a:lnTo>
                    <a:pt x="61" y="34"/>
                  </a:lnTo>
                  <a:lnTo>
                    <a:pt x="60" y="26"/>
                  </a:lnTo>
                  <a:lnTo>
                    <a:pt x="40" y="25"/>
                  </a:lnTo>
                  <a:lnTo>
                    <a:pt x="28" y="29"/>
                  </a:lnTo>
                  <a:lnTo>
                    <a:pt x="28" y="26"/>
                  </a:lnTo>
                  <a:lnTo>
                    <a:pt x="26" y="26"/>
                  </a:lnTo>
                  <a:lnTo>
                    <a:pt x="32" y="22"/>
                  </a:lnTo>
                  <a:lnTo>
                    <a:pt x="28" y="22"/>
                  </a:lnTo>
                  <a:lnTo>
                    <a:pt x="28" y="20"/>
                  </a:lnTo>
                  <a:lnTo>
                    <a:pt x="41" y="8"/>
                  </a:lnTo>
                  <a:lnTo>
                    <a:pt x="43" y="2"/>
                  </a:lnTo>
                  <a:lnTo>
                    <a:pt x="40" y="0"/>
                  </a:lnTo>
                  <a:lnTo>
                    <a:pt x="17" y="2"/>
                  </a:lnTo>
                  <a:lnTo>
                    <a:pt x="14" y="10"/>
                  </a:lnTo>
                  <a:lnTo>
                    <a:pt x="11" y="11"/>
                  </a:lnTo>
                  <a:lnTo>
                    <a:pt x="12" y="15"/>
                  </a:lnTo>
                  <a:lnTo>
                    <a:pt x="10" y="15"/>
                  </a:lnTo>
                  <a:lnTo>
                    <a:pt x="12" y="19"/>
                  </a:lnTo>
                  <a:lnTo>
                    <a:pt x="5" y="22"/>
                  </a:lnTo>
                  <a:lnTo>
                    <a:pt x="6" y="28"/>
                  </a:lnTo>
                  <a:lnTo>
                    <a:pt x="7" y="30"/>
                  </a:lnTo>
                  <a:lnTo>
                    <a:pt x="4" y="30"/>
                  </a:lnTo>
                  <a:lnTo>
                    <a:pt x="4" y="34"/>
                  </a:lnTo>
                  <a:lnTo>
                    <a:pt x="9" y="34"/>
                  </a:lnTo>
                  <a:lnTo>
                    <a:pt x="7" y="35"/>
                  </a:lnTo>
                  <a:lnTo>
                    <a:pt x="9" y="36"/>
                  </a:lnTo>
                  <a:lnTo>
                    <a:pt x="4" y="50"/>
                  </a:lnTo>
                  <a:lnTo>
                    <a:pt x="0" y="52"/>
                  </a:lnTo>
                  <a:lnTo>
                    <a:pt x="6" y="58"/>
                  </a:lnTo>
                  <a:lnTo>
                    <a:pt x="12" y="54"/>
                  </a:lnTo>
                  <a:lnTo>
                    <a:pt x="7" y="71"/>
                  </a:lnTo>
                  <a:lnTo>
                    <a:pt x="9" y="76"/>
                  </a:lnTo>
                  <a:lnTo>
                    <a:pt x="5" y="86"/>
                  </a:lnTo>
                  <a:lnTo>
                    <a:pt x="8" y="85"/>
                  </a:lnTo>
                  <a:lnTo>
                    <a:pt x="12" y="76"/>
                  </a:lnTo>
                  <a:lnTo>
                    <a:pt x="10" y="69"/>
                  </a:lnTo>
                  <a:lnTo>
                    <a:pt x="14" y="64"/>
                  </a:lnTo>
                  <a:lnTo>
                    <a:pt x="12" y="73"/>
                  </a:lnTo>
                  <a:lnTo>
                    <a:pt x="17" y="71"/>
                  </a:lnTo>
                  <a:lnTo>
                    <a:pt x="17" y="68"/>
                  </a:lnTo>
                  <a:lnTo>
                    <a:pt x="21" y="71"/>
                  </a:lnTo>
                  <a:lnTo>
                    <a:pt x="19" y="72"/>
                  </a:lnTo>
                  <a:lnTo>
                    <a:pt x="18" y="77"/>
                  </a:lnTo>
                  <a:lnTo>
                    <a:pt x="21" y="83"/>
                  </a:lnTo>
                  <a:lnTo>
                    <a:pt x="15" y="97"/>
                  </a:lnTo>
                  <a:lnTo>
                    <a:pt x="13" y="97"/>
                  </a:lnTo>
                  <a:lnTo>
                    <a:pt x="15" y="103"/>
                  </a:lnTo>
                  <a:lnTo>
                    <a:pt x="17" y="103"/>
                  </a:lnTo>
                  <a:lnTo>
                    <a:pt x="18" y="98"/>
                  </a:lnTo>
                  <a:lnTo>
                    <a:pt x="24" y="102"/>
                  </a:lnTo>
                  <a:lnTo>
                    <a:pt x="25" y="98"/>
                  </a:lnTo>
                  <a:lnTo>
                    <a:pt x="43" y="96"/>
                  </a:lnTo>
                  <a:lnTo>
                    <a:pt x="39" y="98"/>
                  </a:lnTo>
                  <a:lnTo>
                    <a:pt x="35" y="107"/>
                  </a:lnTo>
                  <a:lnTo>
                    <a:pt x="41" y="117"/>
                  </a:lnTo>
                  <a:lnTo>
                    <a:pt x="48" y="114"/>
                  </a:lnTo>
                  <a:lnTo>
                    <a:pt x="44" y="124"/>
                  </a:lnTo>
                  <a:lnTo>
                    <a:pt x="47" y="125"/>
                  </a:lnTo>
                  <a:lnTo>
                    <a:pt x="44" y="131"/>
                  </a:lnTo>
                  <a:lnTo>
                    <a:pt x="46" y="133"/>
                  </a:lnTo>
                  <a:lnTo>
                    <a:pt x="44" y="136"/>
                  </a:lnTo>
                  <a:lnTo>
                    <a:pt x="33" y="136"/>
                  </a:lnTo>
                  <a:lnTo>
                    <a:pt x="21" y="147"/>
                  </a:lnTo>
                  <a:lnTo>
                    <a:pt x="28" y="144"/>
                  </a:lnTo>
                  <a:lnTo>
                    <a:pt x="29" y="152"/>
                  </a:lnTo>
                  <a:lnTo>
                    <a:pt x="31" y="154"/>
                  </a:lnTo>
                  <a:lnTo>
                    <a:pt x="28" y="160"/>
                  </a:lnTo>
                  <a:lnTo>
                    <a:pt x="12" y="169"/>
                  </a:lnTo>
                  <a:lnTo>
                    <a:pt x="15" y="175"/>
                  </a:lnTo>
                  <a:lnTo>
                    <a:pt x="24" y="171"/>
                  </a:lnTo>
                  <a:lnTo>
                    <a:pt x="27" y="176"/>
                  </a:lnTo>
                  <a:lnTo>
                    <a:pt x="32" y="174"/>
                  </a:lnTo>
                  <a:lnTo>
                    <a:pt x="39" y="180"/>
                  </a:lnTo>
                  <a:lnTo>
                    <a:pt x="50" y="172"/>
                  </a:lnTo>
                  <a:lnTo>
                    <a:pt x="50" y="174"/>
                  </a:lnTo>
                  <a:lnTo>
                    <a:pt x="44" y="184"/>
                  </a:lnTo>
                  <a:lnTo>
                    <a:pt x="28" y="185"/>
                  </a:lnTo>
                  <a:lnTo>
                    <a:pt x="8" y="208"/>
                  </a:lnTo>
                  <a:lnTo>
                    <a:pt x="8" y="211"/>
                  </a:lnTo>
                  <a:lnTo>
                    <a:pt x="9" y="209"/>
                  </a:lnTo>
                  <a:lnTo>
                    <a:pt x="14" y="211"/>
                  </a:lnTo>
                  <a:lnTo>
                    <a:pt x="20" y="203"/>
                  </a:lnTo>
                  <a:lnTo>
                    <a:pt x="35" y="205"/>
                  </a:lnTo>
                  <a:lnTo>
                    <a:pt x="39" y="197"/>
                  </a:lnTo>
                  <a:lnTo>
                    <a:pt x="47" y="194"/>
                  </a:lnTo>
                  <a:lnTo>
                    <a:pt x="52" y="199"/>
                  </a:lnTo>
                  <a:close/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06" name="Freeform 276"/>
            <p:cNvSpPr>
              <a:spLocks noChangeAspect="1"/>
            </p:cNvSpPr>
            <p:nvPr/>
          </p:nvSpPr>
          <p:spPr bwMode="auto">
            <a:xfrm>
              <a:off x="3200" y="923"/>
              <a:ext cx="27" cy="14"/>
            </a:xfrm>
            <a:custGeom>
              <a:avLst/>
              <a:gdLst>
                <a:gd name="T0" fmla="*/ 2147483647 w 2"/>
                <a:gd name="T1" fmla="*/ 2147483647 h 1"/>
                <a:gd name="T2" fmla="*/ 0 w 2"/>
                <a:gd name="T3" fmla="*/ 0 h 1"/>
                <a:gd name="T4" fmla="*/ 2147483647 w 2"/>
                <a:gd name="T5" fmla="*/ 2147483647 h 1"/>
                <a:gd name="T6" fmla="*/ 0 60000 65536"/>
                <a:gd name="T7" fmla="*/ 0 60000 65536"/>
                <a:gd name="T8" fmla="*/ 0 60000 65536"/>
                <a:gd name="T9" fmla="*/ 0 w 2"/>
                <a:gd name="T10" fmla="*/ 0 h 1"/>
                <a:gd name="T11" fmla="*/ 2 w 2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" h="1">
                  <a:moveTo>
                    <a:pt x="2" y="1"/>
                  </a:moveTo>
                  <a:lnTo>
                    <a:pt x="0" y="0"/>
                  </a:lnTo>
                  <a:lnTo>
                    <a:pt x="2" y="1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07" name="Freeform 277"/>
            <p:cNvSpPr>
              <a:spLocks noChangeAspect="1"/>
            </p:cNvSpPr>
            <p:nvPr/>
          </p:nvSpPr>
          <p:spPr bwMode="auto">
            <a:xfrm>
              <a:off x="3577" y="3644"/>
              <a:ext cx="67" cy="39"/>
            </a:xfrm>
            <a:custGeom>
              <a:avLst/>
              <a:gdLst>
                <a:gd name="T0" fmla="*/ 2147483647 w 5"/>
                <a:gd name="T1" fmla="*/ 0 h 3"/>
                <a:gd name="T2" fmla="*/ 0 w 5"/>
                <a:gd name="T3" fmla="*/ 2147483647 h 3"/>
                <a:gd name="T4" fmla="*/ 2147483647 w 5"/>
                <a:gd name="T5" fmla="*/ 2147483647 h 3"/>
                <a:gd name="T6" fmla="*/ 2147483647 w 5"/>
                <a:gd name="T7" fmla="*/ 2147483647 h 3"/>
                <a:gd name="T8" fmla="*/ 2147483647 w 5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3" y="0"/>
                  </a:moveTo>
                  <a:lnTo>
                    <a:pt x="0" y="2"/>
                  </a:lnTo>
                  <a:lnTo>
                    <a:pt x="4" y="3"/>
                  </a:lnTo>
                  <a:lnTo>
                    <a:pt x="5" y="1"/>
                  </a:lnTo>
                  <a:lnTo>
                    <a:pt x="3" y="0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08" name="Freeform 278"/>
            <p:cNvSpPr>
              <a:spLocks noChangeAspect="1"/>
            </p:cNvSpPr>
            <p:nvPr/>
          </p:nvSpPr>
          <p:spPr bwMode="auto">
            <a:xfrm>
              <a:off x="3012" y="2809"/>
              <a:ext cx="53" cy="53"/>
            </a:xfrm>
            <a:custGeom>
              <a:avLst/>
              <a:gdLst>
                <a:gd name="T0" fmla="*/ 2147483647 w 4"/>
                <a:gd name="T1" fmla="*/ 2147483647 h 4"/>
                <a:gd name="T2" fmla="*/ 2147483647 w 4"/>
                <a:gd name="T3" fmla="*/ 2147483647 h 4"/>
                <a:gd name="T4" fmla="*/ 0 w 4"/>
                <a:gd name="T5" fmla="*/ 0 h 4"/>
                <a:gd name="T6" fmla="*/ 2147483647 w 4"/>
                <a:gd name="T7" fmla="*/ 2147483647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4"/>
                <a:gd name="T14" fmla="*/ 4 w 4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4">
                  <a:moveTo>
                    <a:pt x="3" y="4"/>
                  </a:moveTo>
                  <a:lnTo>
                    <a:pt x="4" y="3"/>
                  </a:lnTo>
                  <a:lnTo>
                    <a:pt x="0" y="0"/>
                  </a:lnTo>
                  <a:lnTo>
                    <a:pt x="3" y="4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09" name="Freeform 279"/>
            <p:cNvSpPr>
              <a:spLocks noChangeAspect="1"/>
            </p:cNvSpPr>
            <p:nvPr/>
          </p:nvSpPr>
          <p:spPr bwMode="auto">
            <a:xfrm>
              <a:off x="2931" y="2498"/>
              <a:ext cx="81" cy="95"/>
            </a:xfrm>
            <a:custGeom>
              <a:avLst/>
              <a:gdLst>
                <a:gd name="T0" fmla="*/ 2147483647 w 6"/>
                <a:gd name="T1" fmla="*/ 0 h 7"/>
                <a:gd name="T2" fmla="*/ 0 w 6"/>
                <a:gd name="T3" fmla="*/ 2147483647 h 7"/>
                <a:gd name="T4" fmla="*/ 2147483647 w 6"/>
                <a:gd name="T5" fmla="*/ 2147483647 h 7"/>
                <a:gd name="T6" fmla="*/ 2147483647 w 6"/>
                <a:gd name="T7" fmla="*/ 2147483647 h 7"/>
                <a:gd name="T8" fmla="*/ 2147483647 w 6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7"/>
                <a:gd name="T17" fmla="*/ 6 w 6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7">
                  <a:moveTo>
                    <a:pt x="6" y="0"/>
                  </a:moveTo>
                  <a:lnTo>
                    <a:pt x="0" y="7"/>
                  </a:lnTo>
                  <a:lnTo>
                    <a:pt x="6" y="6"/>
                  </a:lnTo>
                  <a:lnTo>
                    <a:pt x="6" y="2"/>
                  </a:lnTo>
                  <a:lnTo>
                    <a:pt x="6" y="0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10" name="Freeform 280"/>
            <p:cNvSpPr>
              <a:spLocks noChangeAspect="1"/>
            </p:cNvSpPr>
            <p:nvPr/>
          </p:nvSpPr>
          <p:spPr bwMode="auto">
            <a:xfrm>
              <a:off x="3523" y="263"/>
              <a:ext cx="108" cy="283"/>
            </a:xfrm>
            <a:custGeom>
              <a:avLst/>
              <a:gdLst>
                <a:gd name="T0" fmla="*/ 2147483647 w 8"/>
                <a:gd name="T1" fmla="*/ 0 h 21"/>
                <a:gd name="T2" fmla="*/ 2147483647 w 8"/>
                <a:gd name="T3" fmla="*/ 2147483647 h 21"/>
                <a:gd name="T4" fmla="*/ 2147483647 w 8"/>
                <a:gd name="T5" fmla="*/ 2147483647 h 21"/>
                <a:gd name="T6" fmla="*/ 0 w 8"/>
                <a:gd name="T7" fmla="*/ 2147483647 h 21"/>
                <a:gd name="T8" fmla="*/ 2147483647 w 8"/>
                <a:gd name="T9" fmla="*/ 2147483647 h 21"/>
                <a:gd name="T10" fmla="*/ 2147483647 w 8"/>
                <a:gd name="T11" fmla="*/ 2147483647 h 21"/>
                <a:gd name="T12" fmla="*/ 2147483647 w 8"/>
                <a:gd name="T13" fmla="*/ 2147483647 h 21"/>
                <a:gd name="T14" fmla="*/ 2147483647 w 8"/>
                <a:gd name="T15" fmla="*/ 2147483647 h 21"/>
                <a:gd name="T16" fmla="*/ 2147483647 w 8"/>
                <a:gd name="T17" fmla="*/ 2147483647 h 21"/>
                <a:gd name="T18" fmla="*/ 2147483647 w 8"/>
                <a:gd name="T19" fmla="*/ 0 h 2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"/>
                <a:gd name="T31" fmla="*/ 0 h 21"/>
                <a:gd name="T32" fmla="*/ 8 w 8"/>
                <a:gd name="T33" fmla="*/ 21 h 2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" h="21">
                  <a:moveTo>
                    <a:pt x="5" y="0"/>
                  </a:moveTo>
                  <a:lnTo>
                    <a:pt x="1" y="3"/>
                  </a:lnTo>
                  <a:lnTo>
                    <a:pt x="4" y="8"/>
                  </a:lnTo>
                  <a:lnTo>
                    <a:pt x="0" y="11"/>
                  </a:lnTo>
                  <a:lnTo>
                    <a:pt x="5" y="13"/>
                  </a:lnTo>
                  <a:lnTo>
                    <a:pt x="4" y="21"/>
                  </a:lnTo>
                  <a:lnTo>
                    <a:pt x="7" y="17"/>
                  </a:lnTo>
                  <a:lnTo>
                    <a:pt x="8" y="6"/>
                  </a:lnTo>
                  <a:lnTo>
                    <a:pt x="5" y="4"/>
                  </a:lnTo>
                  <a:lnTo>
                    <a:pt x="5" y="0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11" name="Freeform 281"/>
            <p:cNvSpPr>
              <a:spLocks noChangeAspect="1"/>
            </p:cNvSpPr>
            <p:nvPr/>
          </p:nvSpPr>
          <p:spPr bwMode="auto">
            <a:xfrm>
              <a:off x="3214" y="828"/>
              <a:ext cx="107" cy="68"/>
            </a:xfrm>
            <a:custGeom>
              <a:avLst/>
              <a:gdLst>
                <a:gd name="T0" fmla="*/ 2147483647 w 8"/>
                <a:gd name="T1" fmla="*/ 2147483647 h 5"/>
                <a:gd name="T2" fmla="*/ 2147483647 w 8"/>
                <a:gd name="T3" fmla="*/ 2147483647 h 5"/>
                <a:gd name="T4" fmla="*/ 2147483647 w 8"/>
                <a:gd name="T5" fmla="*/ 0 h 5"/>
                <a:gd name="T6" fmla="*/ 0 w 8"/>
                <a:gd name="T7" fmla="*/ 2147483647 h 5"/>
                <a:gd name="T8" fmla="*/ 2147483647 w 8"/>
                <a:gd name="T9" fmla="*/ 2147483647 h 5"/>
                <a:gd name="T10" fmla="*/ 2147483647 w 8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8" y="5"/>
                  </a:moveTo>
                  <a:lnTo>
                    <a:pt x="4" y="4"/>
                  </a:lnTo>
                  <a:lnTo>
                    <a:pt x="1" y="0"/>
                  </a:lnTo>
                  <a:lnTo>
                    <a:pt x="0" y="2"/>
                  </a:lnTo>
                  <a:lnTo>
                    <a:pt x="1" y="5"/>
                  </a:lnTo>
                  <a:lnTo>
                    <a:pt x="8" y="5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12" name="Freeform 282"/>
            <p:cNvSpPr>
              <a:spLocks noChangeAspect="1"/>
            </p:cNvSpPr>
            <p:nvPr/>
          </p:nvSpPr>
          <p:spPr bwMode="auto">
            <a:xfrm>
              <a:off x="2567" y="1368"/>
              <a:ext cx="189" cy="215"/>
            </a:xfrm>
            <a:custGeom>
              <a:avLst/>
              <a:gdLst>
                <a:gd name="T0" fmla="*/ 2147483647 w 14"/>
                <a:gd name="T1" fmla="*/ 0 h 16"/>
                <a:gd name="T2" fmla="*/ 2147483647 w 14"/>
                <a:gd name="T3" fmla="*/ 2147483647 h 16"/>
                <a:gd name="T4" fmla="*/ 2147483647 w 14"/>
                <a:gd name="T5" fmla="*/ 2147483647 h 16"/>
                <a:gd name="T6" fmla="*/ 0 w 14"/>
                <a:gd name="T7" fmla="*/ 2147483647 h 16"/>
                <a:gd name="T8" fmla="*/ 2147483647 w 14"/>
                <a:gd name="T9" fmla="*/ 2147483647 h 16"/>
                <a:gd name="T10" fmla="*/ 2147483647 w 14"/>
                <a:gd name="T11" fmla="*/ 2147483647 h 16"/>
                <a:gd name="T12" fmla="*/ 2147483647 w 14"/>
                <a:gd name="T13" fmla="*/ 2147483647 h 16"/>
                <a:gd name="T14" fmla="*/ 2147483647 w 14"/>
                <a:gd name="T15" fmla="*/ 2147483647 h 16"/>
                <a:gd name="T16" fmla="*/ 2147483647 w 14"/>
                <a:gd name="T17" fmla="*/ 2147483647 h 16"/>
                <a:gd name="T18" fmla="*/ 2147483647 w 14"/>
                <a:gd name="T19" fmla="*/ 0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16"/>
                <a:gd name="T32" fmla="*/ 14 w 14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16">
                  <a:moveTo>
                    <a:pt x="5" y="0"/>
                  </a:moveTo>
                  <a:lnTo>
                    <a:pt x="4" y="5"/>
                  </a:lnTo>
                  <a:lnTo>
                    <a:pt x="2" y="3"/>
                  </a:lnTo>
                  <a:lnTo>
                    <a:pt x="0" y="8"/>
                  </a:lnTo>
                  <a:lnTo>
                    <a:pt x="3" y="8"/>
                  </a:lnTo>
                  <a:lnTo>
                    <a:pt x="5" y="14"/>
                  </a:lnTo>
                  <a:lnTo>
                    <a:pt x="12" y="16"/>
                  </a:lnTo>
                  <a:lnTo>
                    <a:pt x="14" y="12"/>
                  </a:lnTo>
                  <a:lnTo>
                    <a:pt x="9" y="10"/>
                  </a:lnTo>
                  <a:lnTo>
                    <a:pt x="5" y="0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13" name="Freeform 283"/>
            <p:cNvSpPr>
              <a:spLocks noChangeAspect="1"/>
            </p:cNvSpPr>
            <p:nvPr/>
          </p:nvSpPr>
          <p:spPr bwMode="auto">
            <a:xfrm>
              <a:off x="2635" y="1744"/>
              <a:ext cx="121" cy="109"/>
            </a:xfrm>
            <a:custGeom>
              <a:avLst/>
              <a:gdLst>
                <a:gd name="T0" fmla="*/ 0 w 9"/>
                <a:gd name="T1" fmla="*/ 2147483647 h 8"/>
                <a:gd name="T2" fmla="*/ 2147483647 w 9"/>
                <a:gd name="T3" fmla="*/ 2147483647 h 8"/>
                <a:gd name="T4" fmla="*/ 2147483647 w 9"/>
                <a:gd name="T5" fmla="*/ 0 h 8"/>
                <a:gd name="T6" fmla="*/ 2147483647 w 9"/>
                <a:gd name="T7" fmla="*/ 2147483647 h 8"/>
                <a:gd name="T8" fmla="*/ 2147483647 w 9"/>
                <a:gd name="T9" fmla="*/ 2147483647 h 8"/>
                <a:gd name="T10" fmla="*/ 0 w 9"/>
                <a:gd name="T11" fmla="*/ 214748364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8"/>
                <a:gd name="T20" fmla="*/ 9 w 9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8">
                  <a:moveTo>
                    <a:pt x="0" y="8"/>
                  </a:moveTo>
                  <a:lnTo>
                    <a:pt x="9" y="6"/>
                  </a:lnTo>
                  <a:lnTo>
                    <a:pt x="4" y="0"/>
                  </a:lnTo>
                  <a:lnTo>
                    <a:pt x="1" y="1"/>
                  </a:lnTo>
                  <a:lnTo>
                    <a:pt x="4" y="6"/>
                  </a:lnTo>
                  <a:lnTo>
                    <a:pt x="0" y="8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14" name="Freeform 284"/>
            <p:cNvSpPr>
              <a:spLocks noChangeAspect="1"/>
            </p:cNvSpPr>
            <p:nvPr/>
          </p:nvSpPr>
          <p:spPr bwMode="auto">
            <a:xfrm>
              <a:off x="2608" y="1987"/>
              <a:ext cx="80" cy="94"/>
            </a:xfrm>
            <a:custGeom>
              <a:avLst/>
              <a:gdLst>
                <a:gd name="T0" fmla="*/ 2147483647 w 6"/>
                <a:gd name="T1" fmla="*/ 0 h 7"/>
                <a:gd name="T2" fmla="*/ 2147483647 w 6"/>
                <a:gd name="T3" fmla="*/ 2147483647 h 7"/>
                <a:gd name="T4" fmla="*/ 0 w 6"/>
                <a:gd name="T5" fmla="*/ 2147483647 h 7"/>
                <a:gd name="T6" fmla="*/ 2147483647 w 6"/>
                <a:gd name="T7" fmla="*/ 2147483647 h 7"/>
                <a:gd name="T8" fmla="*/ 2147483647 w 6"/>
                <a:gd name="T9" fmla="*/ 2147483647 h 7"/>
                <a:gd name="T10" fmla="*/ 2147483647 w 6"/>
                <a:gd name="T11" fmla="*/ 2147483647 h 7"/>
                <a:gd name="T12" fmla="*/ 2147483647 w 6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7"/>
                <a:gd name="T23" fmla="*/ 6 w 6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7">
                  <a:moveTo>
                    <a:pt x="5" y="0"/>
                  </a:moveTo>
                  <a:lnTo>
                    <a:pt x="1" y="2"/>
                  </a:lnTo>
                  <a:lnTo>
                    <a:pt x="0" y="5"/>
                  </a:lnTo>
                  <a:lnTo>
                    <a:pt x="2" y="4"/>
                  </a:lnTo>
                  <a:lnTo>
                    <a:pt x="3" y="7"/>
                  </a:lnTo>
                  <a:lnTo>
                    <a:pt x="6" y="6"/>
                  </a:lnTo>
                  <a:lnTo>
                    <a:pt x="5" y="0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15" name="Freeform 285"/>
            <p:cNvSpPr>
              <a:spLocks noChangeAspect="1"/>
            </p:cNvSpPr>
            <p:nvPr/>
          </p:nvSpPr>
          <p:spPr bwMode="auto">
            <a:xfrm>
              <a:off x="2837" y="2054"/>
              <a:ext cx="27" cy="94"/>
            </a:xfrm>
            <a:custGeom>
              <a:avLst/>
              <a:gdLst>
                <a:gd name="T0" fmla="*/ 0 w 2"/>
                <a:gd name="T1" fmla="*/ 0 h 7"/>
                <a:gd name="T2" fmla="*/ 0 w 2"/>
                <a:gd name="T3" fmla="*/ 2147483647 h 7"/>
                <a:gd name="T4" fmla="*/ 2147483647 w 2"/>
                <a:gd name="T5" fmla="*/ 2147483647 h 7"/>
                <a:gd name="T6" fmla="*/ 2147483647 w 2"/>
                <a:gd name="T7" fmla="*/ 0 h 7"/>
                <a:gd name="T8" fmla="*/ 0 w 2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7"/>
                <a:gd name="T17" fmla="*/ 2 w 2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7">
                  <a:moveTo>
                    <a:pt x="0" y="0"/>
                  </a:moveTo>
                  <a:lnTo>
                    <a:pt x="0" y="5"/>
                  </a:lnTo>
                  <a:lnTo>
                    <a:pt x="1" y="7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16" name="Freeform 286"/>
            <p:cNvSpPr>
              <a:spLocks noChangeAspect="1"/>
            </p:cNvSpPr>
            <p:nvPr/>
          </p:nvSpPr>
          <p:spPr bwMode="auto">
            <a:xfrm>
              <a:off x="2406" y="1381"/>
              <a:ext cx="80" cy="40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3"/>
                <a:gd name="T14" fmla="*/ 6 w 6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3">
                  <a:moveTo>
                    <a:pt x="6" y="0"/>
                  </a:moveTo>
                  <a:lnTo>
                    <a:pt x="0" y="1"/>
                  </a:lnTo>
                  <a:lnTo>
                    <a:pt x="5" y="3"/>
                  </a:lnTo>
                  <a:lnTo>
                    <a:pt x="6" y="0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17" name="Freeform 287"/>
            <p:cNvSpPr>
              <a:spLocks noChangeAspect="1"/>
            </p:cNvSpPr>
            <p:nvPr/>
          </p:nvSpPr>
          <p:spPr bwMode="auto">
            <a:xfrm>
              <a:off x="2500" y="1084"/>
              <a:ext cx="175" cy="256"/>
            </a:xfrm>
            <a:custGeom>
              <a:avLst/>
              <a:gdLst>
                <a:gd name="T0" fmla="*/ 2147483647 w 13"/>
                <a:gd name="T1" fmla="*/ 0 h 19"/>
                <a:gd name="T2" fmla="*/ 2147483647 w 13"/>
                <a:gd name="T3" fmla="*/ 2147483647 h 19"/>
                <a:gd name="T4" fmla="*/ 2147483647 w 13"/>
                <a:gd name="T5" fmla="*/ 2147483647 h 19"/>
                <a:gd name="T6" fmla="*/ 0 w 13"/>
                <a:gd name="T7" fmla="*/ 2147483647 h 19"/>
                <a:gd name="T8" fmla="*/ 0 w 13"/>
                <a:gd name="T9" fmla="*/ 2147483647 h 19"/>
                <a:gd name="T10" fmla="*/ 2147483647 w 13"/>
                <a:gd name="T11" fmla="*/ 2147483647 h 19"/>
                <a:gd name="T12" fmla="*/ 2147483647 w 13"/>
                <a:gd name="T13" fmla="*/ 2147483647 h 19"/>
                <a:gd name="T14" fmla="*/ 2147483647 w 13"/>
                <a:gd name="T15" fmla="*/ 2147483647 h 19"/>
                <a:gd name="T16" fmla="*/ 2147483647 w 13"/>
                <a:gd name="T17" fmla="*/ 2147483647 h 19"/>
                <a:gd name="T18" fmla="*/ 2147483647 w 13"/>
                <a:gd name="T19" fmla="*/ 0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19"/>
                <a:gd name="T32" fmla="*/ 13 w 13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19">
                  <a:moveTo>
                    <a:pt x="11" y="0"/>
                  </a:moveTo>
                  <a:lnTo>
                    <a:pt x="4" y="4"/>
                  </a:lnTo>
                  <a:lnTo>
                    <a:pt x="4" y="7"/>
                  </a:lnTo>
                  <a:lnTo>
                    <a:pt x="0" y="7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8" y="9"/>
                  </a:lnTo>
                  <a:lnTo>
                    <a:pt x="13" y="6"/>
                  </a:lnTo>
                  <a:lnTo>
                    <a:pt x="11" y="5"/>
                  </a:lnTo>
                  <a:lnTo>
                    <a:pt x="11" y="0"/>
                  </a:lnTo>
                </a:path>
              </a:pathLst>
            </a:custGeom>
            <a:solidFill>
              <a:srgbClr val="EAEAEA"/>
            </a:solidFill>
            <a:ln w="6350" cap="rnd">
              <a:solidFill>
                <a:srgbClr val="B2B2B2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</p:grpSp>
      <p:sp>
        <p:nvSpPr>
          <p:cNvPr id="58562" name="Freeform 288"/>
          <p:cNvSpPr>
            <a:spLocks noChangeAspect="1"/>
          </p:cNvSpPr>
          <p:nvPr/>
        </p:nvSpPr>
        <p:spPr bwMode="gray">
          <a:xfrm>
            <a:off x="6203950" y="3122613"/>
            <a:ext cx="180975" cy="98425"/>
          </a:xfrm>
          <a:custGeom>
            <a:avLst/>
            <a:gdLst>
              <a:gd name="T0" fmla="*/ 2147483647 w 369"/>
              <a:gd name="T1" fmla="*/ 2147483647 h 203"/>
              <a:gd name="T2" fmla="*/ 2147483647 w 369"/>
              <a:gd name="T3" fmla="*/ 2147483647 h 203"/>
              <a:gd name="T4" fmla="*/ 2147483647 w 369"/>
              <a:gd name="T5" fmla="*/ 2147483647 h 203"/>
              <a:gd name="T6" fmla="*/ 2147483647 w 369"/>
              <a:gd name="T7" fmla="*/ 2147483647 h 203"/>
              <a:gd name="T8" fmla="*/ 2147483647 w 369"/>
              <a:gd name="T9" fmla="*/ 2147483647 h 203"/>
              <a:gd name="T10" fmla="*/ 2147483647 w 369"/>
              <a:gd name="T11" fmla="*/ 2147483647 h 203"/>
              <a:gd name="T12" fmla="*/ 2147483647 w 369"/>
              <a:gd name="T13" fmla="*/ 2147483647 h 203"/>
              <a:gd name="T14" fmla="*/ 2147483647 w 369"/>
              <a:gd name="T15" fmla="*/ 2147483647 h 203"/>
              <a:gd name="T16" fmla="*/ 2147483647 w 369"/>
              <a:gd name="T17" fmla="*/ 2147483647 h 203"/>
              <a:gd name="T18" fmla="*/ 2147483647 w 369"/>
              <a:gd name="T19" fmla="*/ 2147483647 h 203"/>
              <a:gd name="T20" fmla="*/ 2147483647 w 369"/>
              <a:gd name="T21" fmla="*/ 2147483647 h 203"/>
              <a:gd name="T22" fmla="*/ 2147483647 w 369"/>
              <a:gd name="T23" fmla="*/ 2147483647 h 203"/>
              <a:gd name="T24" fmla="*/ 2147483647 w 369"/>
              <a:gd name="T25" fmla="*/ 2147483647 h 203"/>
              <a:gd name="T26" fmla="*/ 2147483647 w 369"/>
              <a:gd name="T27" fmla="*/ 2147483647 h 203"/>
              <a:gd name="T28" fmla="*/ 2147483647 w 369"/>
              <a:gd name="T29" fmla="*/ 2147483647 h 203"/>
              <a:gd name="T30" fmla="*/ 2147483647 w 369"/>
              <a:gd name="T31" fmla="*/ 2147483647 h 203"/>
              <a:gd name="T32" fmla="*/ 2147483647 w 369"/>
              <a:gd name="T33" fmla="*/ 2147483647 h 203"/>
              <a:gd name="T34" fmla="*/ 2147483647 w 369"/>
              <a:gd name="T35" fmla="*/ 2147483647 h 203"/>
              <a:gd name="T36" fmla="*/ 2147483647 w 369"/>
              <a:gd name="T37" fmla="*/ 2147483647 h 203"/>
              <a:gd name="T38" fmla="*/ 2147483647 w 369"/>
              <a:gd name="T39" fmla="*/ 2147483647 h 203"/>
              <a:gd name="T40" fmla="*/ 2147483647 w 369"/>
              <a:gd name="T41" fmla="*/ 2147483647 h 203"/>
              <a:gd name="T42" fmla="*/ 2147483647 w 369"/>
              <a:gd name="T43" fmla="*/ 2147483647 h 203"/>
              <a:gd name="T44" fmla="*/ 2147483647 w 369"/>
              <a:gd name="T45" fmla="*/ 2147483647 h 203"/>
              <a:gd name="T46" fmla="*/ 2147483647 w 369"/>
              <a:gd name="T47" fmla="*/ 2147483647 h 203"/>
              <a:gd name="T48" fmla="*/ 2147483647 w 369"/>
              <a:gd name="T49" fmla="*/ 0 h 203"/>
              <a:gd name="T50" fmla="*/ 2147483647 w 369"/>
              <a:gd name="T51" fmla="*/ 2147483647 h 203"/>
              <a:gd name="T52" fmla="*/ 2147483647 w 369"/>
              <a:gd name="T53" fmla="*/ 2147483647 h 203"/>
              <a:gd name="T54" fmla="*/ 2147483647 w 369"/>
              <a:gd name="T55" fmla="*/ 2147483647 h 203"/>
              <a:gd name="T56" fmla="*/ 2147483647 w 369"/>
              <a:gd name="T57" fmla="*/ 2147483647 h 203"/>
              <a:gd name="T58" fmla="*/ 2147483647 w 369"/>
              <a:gd name="T59" fmla="*/ 2147483647 h 203"/>
              <a:gd name="T60" fmla="*/ 0 w 369"/>
              <a:gd name="T61" fmla="*/ 2147483647 h 203"/>
              <a:gd name="T62" fmla="*/ 0 w 369"/>
              <a:gd name="T63" fmla="*/ 2147483647 h 203"/>
              <a:gd name="T64" fmla="*/ 2147483647 w 369"/>
              <a:gd name="T65" fmla="*/ 2147483647 h 203"/>
              <a:gd name="T66" fmla="*/ 2147483647 w 369"/>
              <a:gd name="T67" fmla="*/ 2147483647 h 203"/>
              <a:gd name="T68" fmla="*/ 2147483647 w 369"/>
              <a:gd name="T69" fmla="*/ 2147483647 h 203"/>
              <a:gd name="T70" fmla="*/ 2147483647 w 369"/>
              <a:gd name="T71" fmla="*/ 2147483647 h 203"/>
              <a:gd name="T72" fmla="*/ 2147483647 w 369"/>
              <a:gd name="T73" fmla="*/ 2147483647 h 203"/>
              <a:gd name="T74" fmla="*/ 2147483647 w 369"/>
              <a:gd name="T75" fmla="*/ 2147483647 h 203"/>
              <a:gd name="T76" fmla="*/ 2147483647 w 369"/>
              <a:gd name="T77" fmla="*/ 2147483647 h 203"/>
              <a:gd name="T78" fmla="*/ 2147483647 w 369"/>
              <a:gd name="T79" fmla="*/ 2147483647 h 203"/>
              <a:gd name="T80" fmla="*/ 2147483647 w 369"/>
              <a:gd name="T81" fmla="*/ 2147483647 h 203"/>
              <a:gd name="T82" fmla="*/ 2147483647 w 369"/>
              <a:gd name="T83" fmla="*/ 2147483647 h 203"/>
              <a:gd name="T84" fmla="*/ 2147483647 w 369"/>
              <a:gd name="T85" fmla="*/ 2147483647 h 203"/>
              <a:gd name="T86" fmla="*/ 2147483647 w 369"/>
              <a:gd name="T87" fmla="*/ 2147483647 h 203"/>
              <a:gd name="T88" fmla="*/ 2147483647 w 369"/>
              <a:gd name="T89" fmla="*/ 2147483647 h 203"/>
              <a:gd name="T90" fmla="*/ 2147483647 w 369"/>
              <a:gd name="T91" fmla="*/ 2147483647 h 203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369"/>
              <a:gd name="T139" fmla="*/ 0 h 203"/>
              <a:gd name="T140" fmla="*/ 369 w 369"/>
              <a:gd name="T141" fmla="*/ 203 h 203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369" h="203">
                <a:moveTo>
                  <a:pt x="363" y="166"/>
                </a:moveTo>
                <a:lnTo>
                  <a:pt x="363" y="142"/>
                </a:lnTo>
                <a:lnTo>
                  <a:pt x="369" y="127"/>
                </a:lnTo>
                <a:lnTo>
                  <a:pt x="359" y="127"/>
                </a:lnTo>
                <a:lnTo>
                  <a:pt x="355" y="133"/>
                </a:lnTo>
                <a:lnTo>
                  <a:pt x="333" y="132"/>
                </a:lnTo>
                <a:lnTo>
                  <a:pt x="302" y="118"/>
                </a:lnTo>
                <a:lnTo>
                  <a:pt x="295" y="127"/>
                </a:lnTo>
                <a:lnTo>
                  <a:pt x="278" y="121"/>
                </a:lnTo>
                <a:lnTo>
                  <a:pt x="270" y="125"/>
                </a:lnTo>
                <a:lnTo>
                  <a:pt x="258" y="110"/>
                </a:lnTo>
                <a:lnTo>
                  <a:pt x="246" y="112"/>
                </a:lnTo>
                <a:lnTo>
                  <a:pt x="234" y="103"/>
                </a:lnTo>
                <a:lnTo>
                  <a:pt x="234" y="86"/>
                </a:lnTo>
                <a:lnTo>
                  <a:pt x="216" y="90"/>
                </a:lnTo>
                <a:lnTo>
                  <a:pt x="197" y="84"/>
                </a:lnTo>
                <a:lnTo>
                  <a:pt x="194" y="78"/>
                </a:lnTo>
                <a:lnTo>
                  <a:pt x="188" y="79"/>
                </a:lnTo>
                <a:lnTo>
                  <a:pt x="190" y="54"/>
                </a:lnTo>
                <a:lnTo>
                  <a:pt x="177" y="53"/>
                </a:lnTo>
                <a:lnTo>
                  <a:pt x="160" y="66"/>
                </a:lnTo>
                <a:lnTo>
                  <a:pt x="152" y="59"/>
                </a:lnTo>
                <a:lnTo>
                  <a:pt x="146" y="39"/>
                </a:lnTo>
                <a:lnTo>
                  <a:pt x="107" y="10"/>
                </a:lnTo>
                <a:lnTo>
                  <a:pt x="61" y="0"/>
                </a:lnTo>
                <a:lnTo>
                  <a:pt x="56" y="13"/>
                </a:lnTo>
                <a:lnTo>
                  <a:pt x="44" y="3"/>
                </a:lnTo>
                <a:lnTo>
                  <a:pt x="34" y="3"/>
                </a:lnTo>
                <a:lnTo>
                  <a:pt x="12" y="27"/>
                </a:lnTo>
                <a:lnTo>
                  <a:pt x="10" y="56"/>
                </a:lnTo>
                <a:lnTo>
                  <a:pt x="0" y="71"/>
                </a:lnTo>
                <a:lnTo>
                  <a:pt x="0" y="79"/>
                </a:lnTo>
                <a:lnTo>
                  <a:pt x="8" y="81"/>
                </a:lnTo>
                <a:lnTo>
                  <a:pt x="19" y="95"/>
                </a:lnTo>
                <a:lnTo>
                  <a:pt x="25" y="90"/>
                </a:lnTo>
                <a:lnTo>
                  <a:pt x="36" y="96"/>
                </a:lnTo>
                <a:lnTo>
                  <a:pt x="68" y="124"/>
                </a:lnTo>
                <a:lnTo>
                  <a:pt x="112" y="140"/>
                </a:lnTo>
                <a:lnTo>
                  <a:pt x="124" y="152"/>
                </a:lnTo>
                <a:lnTo>
                  <a:pt x="195" y="155"/>
                </a:lnTo>
                <a:lnTo>
                  <a:pt x="224" y="183"/>
                </a:lnTo>
                <a:lnTo>
                  <a:pt x="325" y="203"/>
                </a:lnTo>
                <a:lnTo>
                  <a:pt x="364" y="201"/>
                </a:lnTo>
                <a:lnTo>
                  <a:pt x="369" y="184"/>
                </a:lnTo>
                <a:lnTo>
                  <a:pt x="359" y="172"/>
                </a:lnTo>
                <a:lnTo>
                  <a:pt x="363" y="166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63" name="Freeform 289"/>
          <p:cNvSpPr>
            <a:spLocks noChangeAspect="1"/>
          </p:cNvSpPr>
          <p:nvPr/>
        </p:nvSpPr>
        <p:spPr bwMode="gray">
          <a:xfrm>
            <a:off x="5918200" y="2822575"/>
            <a:ext cx="171450" cy="125413"/>
          </a:xfrm>
          <a:custGeom>
            <a:avLst/>
            <a:gdLst>
              <a:gd name="T0" fmla="*/ 2147483647 w 354"/>
              <a:gd name="T1" fmla="*/ 2147483647 h 263"/>
              <a:gd name="T2" fmla="*/ 2147483647 w 354"/>
              <a:gd name="T3" fmla="*/ 2147483647 h 263"/>
              <a:gd name="T4" fmla="*/ 2147483647 w 354"/>
              <a:gd name="T5" fmla="*/ 2147483647 h 263"/>
              <a:gd name="T6" fmla="*/ 2147483647 w 354"/>
              <a:gd name="T7" fmla="*/ 2147483647 h 263"/>
              <a:gd name="T8" fmla="*/ 2147483647 w 354"/>
              <a:gd name="T9" fmla="*/ 2147483647 h 263"/>
              <a:gd name="T10" fmla="*/ 2147483647 w 354"/>
              <a:gd name="T11" fmla="*/ 2147483647 h 263"/>
              <a:gd name="T12" fmla="*/ 2147483647 w 354"/>
              <a:gd name="T13" fmla="*/ 2147483647 h 263"/>
              <a:gd name="T14" fmla="*/ 2147483647 w 354"/>
              <a:gd name="T15" fmla="*/ 2147483647 h 263"/>
              <a:gd name="T16" fmla="*/ 2147483647 w 354"/>
              <a:gd name="T17" fmla="*/ 2147483647 h 263"/>
              <a:gd name="T18" fmla="*/ 2147483647 w 354"/>
              <a:gd name="T19" fmla="*/ 2147483647 h 263"/>
              <a:gd name="T20" fmla="*/ 2147483647 w 354"/>
              <a:gd name="T21" fmla="*/ 2147483647 h 263"/>
              <a:gd name="T22" fmla="*/ 2147483647 w 354"/>
              <a:gd name="T23" fmla="*/ 2147483647 h 263"/>
              <a:gd name="T24" fmla="*/ 2147483647 w 354"/>
              <a:gd name="T25" fmla="*/ 2147483647 h 263"/>
              <a:gd name="T26" fmla="*/ 2147483647 w 354"/>
              <a:gd name="T27" fmla="*/ 2147483647 h 263"/>
              <a:gd name="T28" fmla="*/ 2147483647 w 354"/>
              <a:gd name="T29" fmla="*/ 2147483647 h 263"/>
              <a:gd name="T30" fmla="*/ 2147483647 w 354"/>
              <a:gd name="T31" fmla="*/ 2147483647 h 263"/>
              <a:gd name="T32" fmla="*/ 2147483647 w 354"/>
              <a:gd name="T33" fmla="*/ 2147483647 h 263"/>
              <a:gd name="T34" fmla="*/ 2147483647 w 354"/>
              <a:gd name="T35" fmla="*/ 2147483647 h 263"/>
              <a:gd name="T36" fmla="*/ 2147483647 w 354"/>
              <a:gd name="T37" fmla="*/ 2147483647 h 263"/>
              <a:gd name="T38" fmla="*/ 2147483647 w 354"/>
              <a:gd name="T39" fmla="*/ 2147483647 h 263"/>
              <a:gd name="T40" fmla="*/ 2147483647 w 354"/>
              <a:gd name="T41" fmla="*/ 2147483647 h 263"/>
              <a:gd name="T42" fmla="*/ 2147483647 w 354"/>
              <a:gd name="T43" fmla="*/ 2147483647 h 263"/>
              <a:gd name="T44" fmla="*/ 2147483647 w 354"/>
              <a:gd name="T45" fmla="*/ 2147483647 h 263"/>
              <a:gd name="T46" fmla="*/ 2147483647 w 354"/>
              <a:gd name="T47" fmla="*/ 2147483647 h 263"/>
              <a:gd name="T48" fmla="*/ 2147483647 w 354"/>
              <a:gd name="T49" fmla="*/ 0 h 263"/>
              <a:gd name="T50" fmla="*/ 2147483647 w 354"/>
              <a:gd name="T51" fmla="*/ 2147483647 h 263"/>
              <a:gd name="T52" fmla="*/ 2147483647 w 354"/>
              <a:gd name="T53" fmla="*/ 2147483647 h 263"/>
              <a:gd name="T54" fmla="*/ 2147483647 w 354"/>
              <a:gd name="T55" fmla="*/ 2147483647 h 263"/>
              <a:gd name="T56" fmla="*/ 2147483647 w 354"/>
              <a:gd name="T57" fmla="*/ 2147483647 h 263"/>
              <a:gd name="T58" fmla="*/ 2147483647 w 354"/>
              <a:gd name="T59" fmla="*/ 2147483647 h 263"/>
              <a:gd name="T60" fmla="*/ 2147483647 w 354"/>
              <a:gd name="T61" fmla="*/ 2147483647 h 263"/>
              <a:gd name="T62" fmla="*/ 2147483647 w 354"/>
              <a:gd name="T63" fmla="*/ 2147483647 h 263"/>
              <a:gd name="T64" fmla="*/ 2147483647 w 354"/>
              <a:gd name="T65" fmla="*/ 2147483647 h 263"/>
              <a:gd name="T66" fmla="*/ 2147483647 w 354"/>
              <a:gd name="T67" fmla="*/ 2147483647 h 263"/>
              <a:gd name="T68" fmla="*/ 2147483647 w 354"/>
              <a:gd name="T69" fmla="*/ 2147483647 h 263"/>
              <a:gd name="T70" fmla="*/ 2147483647 w 354"/>
              <a:gd name="T71" fmla="*/ 2147483647 h 263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354"/>
              <a:gd name="T109" fmla="*/ 0 h 263"/>
              <a:gd name="T110" fmla="*/ 354 w 354"/>
              <a:gd name="T111" fmla="*/ 263 h 263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354" h="263">
                <a:moveTo>
                  <a:pt x="300" y="93"/>
                </a:moveTo>
                <a:lnTo>
                  <a:pt x="293" y="138"/>
                </a:lnTo>
                <a:lnTo>
                  <a:pt x="296" y="153"/>
                </a:lnTo>
                <a:lnTo>
                  <a:pt x="306" y="160"/>
                </a:lnTo>
                <a:lnTo>
                  <a:pt x="339" y="156"/>
                </a:lnTo>
                <a:lnTo>
                  <a:pt x="344" y="165"/>
                </a:lnTo>
                <a:lnTo>
                  <a:pt x="344" y="182"/>
                </a:lnTo>
                <a:lnTo>
                  <a:pt x="354" y="202"/>
                </a:lnTo>
                <a:lnTo>
                  <a:pt x="354" y="231"/>
                </a:lnTo>
                <a:lnTo>
                  <a:pt x="344" y="231"/>
                </a:lnTo>
                <a:lnTo>
                  <a:pt x="345" y="224"/>
                </a:lnTo>
                <a:lnTo>
                  <a:pt x="330" y="223"/>
                </a:lnTo>
                <a:lnTo>
                  <a:pt x="300" y="232"/>
                </a:lnTo>
                <a:lnTo>
                  <a:pt x="296" y="221"/>
                </a:lnTo>
                <a:lnTo>
                  <a:pt x="283" y="219"/>
                </a:lnTo>
                <a:lnTo>
                  <a:pt x="249" y="243"/>
                </a:lnTo>
                <a:lnTo>
                  <a:pt x="201" y="263"/>
                </a:lnTo>
                <a:lnTo>
                  <a:pt x="188" y="236"/>
                </a:lnTo>
                <a:lnTo>
                  <a:pt x="195" y="193"/>
                </a:lnTo>
                <a:lnTo>
                  <a:pt x="183" y="189"/>
                </a:lnTo>
                <a:lnTo>
                  <a:pt x="184" y="172"/>
                </a:lnTo>
                <a:lnTo>
                  <a:pt x="166" y="160"/>
                </a:lnTo>
                <a:lnTo>
                  <a:pt x="156" y="161"/>
                </a:lnTo>
                <a:lnTo>
                  <a:pt x="133" y="193"/>
                </a:lnTo>
                <a:lnTo>
                  <a:pt x="138" y="204"/>
                </a:lnTo>
                <a:lnTo>
                  <a:pt x="130" y="214"/>
                </a:lnTo>
                <a:lnTo>
                  <a:pt x="102" y="209"/>
                </a:lnTo>
                <a:lnTo>
                  <a:pt x="95" y="219"/>
                </a:lnTo>
                <a:lnTo>
                  <a:pt x="96" y="232"/>
                </a:lnTo>
                <a:lnTo>
                  <a:pt x="93" y="236"/>
                </a:lnTo>
                <a:lnTo>
                  <a:pt x="74" y="227"/>
                </a:lnTo>
                <a:lnTo>
                  <a:pt x="34" y="246"/>
                </a:lnTo>
                <a:lnTo>
                  <a:pt x="19" y="229"/>
                </a:lnTo>
                <a:lnTo>
                  <a:pt x="20" y="224"/>
                </a:lnTo>
                <a:lnTo>
                  <a:pt x="19" y="214"/>
                </a:lnTo>
                <a:lnTo>
                  <a:pt x="24" y="202"/>
                </a:lnTo>
                <a:lnTo>
                  <a:pt x="45" y="173"/>
                </a:lnTo>
                <a:lnTo>
                  <a:pt x="33" y="144"/>
                </a:lnTo>
                <a:lnTo>
                  <a:pt x="34" y="124"/>
                </a:lnTo>
                <a:lnTo>
                  <a:pt x="16" y="121"/>
                </a:lnTo>
                <a:lnTo>
                  <a:pt x="0" y="105"/>
                </a:lnTo>
                <a:lnTo>
                  <a:pt x="7" y="102"/>
                </a:lnTo>
                <a:lnTo>
                  <a:pt x="8" y="88"/>
                </a:lnTo>
                <a:lnTo>
                  <a:pt x="54" y="88"/>
                </a:lnTo>
                <a:lnTo>
                  <a:pt x="64" y="63"/>
                </a:lnTo>
                <a:lnTo>
                  <a:pt x="88" y="53"/>
                </a:lnTo>
                <a:lnTo>
                  <a:pt x="87" y="34"/>
                </a:lnTo>
                <a:lnTo>
                  <a:pt x="93" y="23"/>
                </a:lnTo>
                <a:lnTo>
                  <a:pt x="112" y="25"/>
                </a:lnTo>
                <a:lnTo>
                  <a:pt x="144" y="0"/>
                </a:lnTo>
                <a:lnTo>
                  <a:pt x="149" y="0"/>
                </a:lnTo>
                <a:lnTo>
                  <a:pt x="156" y="20"/>
                </a:lnTo>
                <a:lnTo>
                  <a:pt x="142" y="33"/>
                </a:lnTo>
                <a:lnTo>
                  <a:pt x="146" y="46"/>
                </a:lnTo>
                <a:lnTo>
                  <a:pt x="149" y="51"/>
                </a:lnTo>
                <a:lnTo>
                  <a:pt x="166" y="48"/>
                </a:lnTo>
                <a:lnTo>
                  <a:pt x="146" y="65"/>
                </a:lnTo>
                <a:lnTo>
                  <a:pt x="127" y="59"/>
                </a:lnTo>
                <a:lnTo>
                  <a:pt x="107" y="59"/>
                </a:lnTo>
                <a:lnTo>
                  <a:pt x="88" y="67"/>
                </a:lnTo>
                <a:lnTo>
                  <a:pt x="88" y="85"/>
                </a:lnTo>
                <a:lnTo>
                  <a:pt x="91" y="93"/>
                </a:lnTo>
                <a:lnTo>
                  <a:pt x="146" y="88"/>
                </a:lnTo>
                <a:lnTo>
                  <a:pt x="163" y="97"/>
                </a:lnTo>
                <a:lnTo>
                  <a:pt x="188" y="90"/>
                </a:lnTo>
                <a:lnTo>
                  <a:pt x="201" y="94"/>
                </a:lnTo>
                <a:lnTo>
                  <a:pt x="205" y="107"/>
                </a:lnTo>
                <a:lnTo>
                  <a:pt x="225" y="110"/>
                </a:lnTo>
                <a:lnTo>
                  <a:pt x="251" y="101"/>
                </a:lnTo>
                <a:lnTo>
                  <a:pt x="282" y="102"/>
                </a:lnTo>
                <a:lnTo>
                  <a:pt x="283" y="88"/>
                </a:lnTo>
                <a:lnTo>
                  <a:pt x="300" y="93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grpSp>
        <p:nvGrpSpPr>
          <p:cNvPr id="8" name="Group 290"/>
          <p:cNvGrpSpPr>
            <a:grpSpLocks/>
          </p:cNvGrpSpPr>
          <p:nvPr/>
        </p:nvGrpSpPr>
        <p:grpSpPr bwMode="auto">
          <a:xfrm>
            <a:off x="5932488" y="2947988"/>
            <a:ext cx="666750" cy="711200"/>
            <a:chOff x="4123" y="2074"/>
            <a:chExt cx="420" cy="448"/>
          </a:xfrm>
        </p:grpSpPr>
        <p:sp>
          <p:nvSpPr>
            <p:cNvPr id="58602" name="Freeform 291"/>
            <p:cNvSpPr>
              <a:spLocks noChangeAspect="1"/>
            </p:cNvSpPr>
            <p:nvPr/>
          </p:nvSpPr>
          <p:spPr bwMode="gray">
            <a:xfrm>
              <a:off x="4123" y="2074"/>
              <a:ext cx="420" cy="448"/>
            </a:xfrm>
            <a:custGeom>
              <a:avLst/>
              <a:gdLst>
                <a:gd name="T0" fmla="*/ 1711 w 388"/>
                <a:gd name="T1" fmla="*/ 903 h 404"/>
                <a:gd name="T2" fmla="*/ 1548 w 388"/>
                <a:gd name="T3" fmla="*/ 1110 h 404"/>
                <a:gd name="T4" fmla="*/ 1365 w 388"/>
                <a:gd name="T5" fmla="*/ 1181 h 404"/>
                <a:gd name="T6" fmla="*/ 1331 w 388"/>
                <a:gd name="T7" fmla="*/ 1041 h 404"/>
                <a:gd name="T8" fmla="*/ 1285 w 388"/>
                <a:gd name="T9" fmla="*/ 1231 h 404"/>
                <a:gd name="T10" fmla="*/ 1092 w 388"/>
                <a:gd name="T11" fmla="*/ 1177 h 404"/>
                <a:gd name="T12" fmla="*/ 949 w 388"/>
                <a:gd name="T13" fmla="*/ 1114 h 404"/>
                <a:gd name="T14" fmla="*/ 806 w 388"/>
                <a:gd name="T15" fmla="*/ 987 h 404"/>
                <a:gd name="T16" fmla="*/ 785 w 388"/>
                <a:gd name="T17" fmla="*/ 903 h 404"/>
                <a:gd name="T18" fmla="*/ 822 w 388"/>
                <a:gd name="T19" fmla="*/ 783 h 404"/>
                <a:gd name="T20" fmla="*/ 695 w 388"/>
                <a:gd name="T21" fmla="*/ 589 h 404"/>
                <a:gd name="T22" fmla="*/ 706 w 388"/>
                <a:gd name="T23" fmla="*/ 420 h 404"/>
                <a:gd name="T24" fmla="*/ 748 w 388"/>
                <a:gd name="T25" fmla="*/ 135 h 404"/>
                <a:gd name="T26" fmla="*/ 548 w 388"/>
                <a:gd name="T27" fmla="*/ 135 h 404"/>
                <a:gd name="T28" fmla="*/ 397 w 388"/>
                <a:gd name="T29" fmla="*/ 2 h 404"/>
                <a:gd name="T30" fmla="*/ 367 w 388"/>
                <a:gd name="T31" fmla="*/ 184 h 404"/>
                <a:gd name="T32" fmla="*/ 372 w 388"/>
                <a:gd name="T33" fmla="*/ 259 h 404"/>
                <a:gd name="T34" fmla="*/ 402 w 388"/>
                <a:gd name="T35" fmla="*/ 352 h 404"/>
                <a:gd name="T36" fmla="*/ 403 w 388"/>
                <a:gd name="T37" fmla="*/ 479 h 404"/>
                <a:gd name="T38" fmla="*/ 471 w 388"/>
                <a:gd name="T39" fmla="*/ 542 h 404"/>
                <a:gd name="T40" fmla="*/ 417 w 388"/>
                <a:gd name="T41" fmla="*/ 676 h 404"/>
                <a:gd name="T42" fmla="*/ 396 w 388"/>
                <a:gd name="T43" fmla="*/ 739 h 404"/>
                <a:gd name="T44" fmla="*/ 272 w 388"/>
                <a:gd name="T45" fmla="*/ 960 h 404"/>
                <a:gd name="T46" fmla="*/ 97 w 388"/>
                <a:gd name="T47" fmla="*/ 1136 h 404"/>
                <a:gd name="T48" fmla="*/ 132 w 388"/>
                <a:gd name="T49" fmla="*/ 1262 h 404"/>
                <a:gd name="T50" fmla="*/ 197 w 388"/>
                <a:gd name="T51" fmla="*/ 1401 h 404"/>
                <a:gd name="T52" fmla="*/ 168 w 388"/>
                <a:gd name="T53" fmla="*/ 1453 h 404"/>
                <a:gd name="T54" fmla="*/ 96 w 388"/>
                <a:gd name="T55" fmla="*/ 1453 h 404"/>
                <a:gd name="T56" fmla="*/ 0 w 388"/>
                <a:gd name="T57" fmla="*/ 1519 h 404"/>
                <a:gd name="T58" fmla="*/ 104 w 388"/>
                <a:gd name="T59" fmla="*/ 1611 h 404"/>
                <a:gd name="T60" fmla="*/ 55 w 388"/>
                <a:gd name="T61" fmla="*/ 1653 h 404"/>
                <a:gd name="T62" fmla="*/ 227 w 388"/>
                <a:gd name="T63" fmla="*/ 1822 h 404"/>
                <a:gd name="T64" fmla="*/ 289 w 388"/>
                <a:gd name="T65" fmla="*/ 1690 h 404"/>
                <a:gd name="T66" fmla="*/ 304 w 388"/>
                <a:gd name="T67" fmla="*/ 1874 h 404"/>
                <a:gd name="T68" fmla="*/ 304 w 388"/>
                <a:gd name="T69" fmla="*/ 2098 h 404"/>
                <a:gd name="T70" fmla="*/ 356 w 388"/>
                <a:gd name="T71" fmla="*/ 2383 h 404"/>
                <a:gd name="T72" fmla="*/ 402 w 388"/>
                <a:gd name="T73" fmla="*/ 2496 h 404"/>
                <a:gd name="T74" fmla="*/ 510 w 388"/>
                <a:gd name="T75" fmla="*/ 2926 h 404"/>
                <a:gd name="T76" fmla="*/ 647 w 388"/>
                <a:gd name="T77" fmla="*/ 3150 h 404"/>
                <a:gd name="T78" fmla="*/ 748 w 388"/>
                <a:gd name="T79" fmla="*/ 2967 h 404"/>
                <a:gd name="T80" fmla="*/ 776 w 388"/>
                <a:gd name="T81" fmla="*/ 2607 h 404"/>
                <a:gd name="T82" fmla="*/ 805 w 388"/>
                <a:gd name="T83" fmla="*/ 2380 h 404"/>
                <a:gd name="T84" fmla="*/ 914 w 388"/>
                <a:gd name="T85" fmla="*/ 2266 h 404"/>
                <a:gd name="T86" fmla="*/ 1182 w 388"/>
                <a:gd name="T87" fmla="*/ 1935 h 404"/>
                <a:gd name="T88" fmla="*/ 1295 w 388"/>
                <a:gd name="T89" fmla="*/ 1745 h 404"/>
                <a:gd name="T90" fmla="*/ 1350 w 388"/>
                <a:gd name="T91" fmla="*/ 1748 h 404"/>
                <a:gd name="T92" fmla="*/ 1311 w 388"/>
                <a:gd name="T93" fmla="*/ 1524 h 404"/>
                <a:gd name="T94" fmla="*/ 1322 w 388"/>
                <a:gd name="T95" fmla="*/ 1345 h 404"/>
                <a:gd name="T96" fmla="*/ 1311 w 388"/>
                <a:gd name="T97" fmla="*/ 1213 h 404"/>
                <a:gd name="T98" fmla="*/ 1384 w 388"/>
                <a:gd name="T99" fmla="*/ 1239 h 404"/>
                <a:gd name="T100" fmla="*/ 1560 w 388"/>
                <a:gd name="T101" fmla="*/ 1370 h 404"/>
                <a:gd name="T102" fmla="*/ 1481 w 388"/>
                <a:gd name="T103" fmla="*/ 1554 h 404"/>
                <a:gd name="T104" fmla="*/ 1578 w 388"/>
                <a:gd name="T105" fmla="*/ 1605 h 404"/>
                <a:gd name="T106" fmla="*/ 1603 w 388"/>
                <a:gd name="T107" fmla="*/ 1611 h 404"/>
                <a:gd name="T108" fmla="*/ 1689 w 388"/>
                <a:gd name="T109" fmla="*/ 1491 h 404"/>
                <a:gd name="T110" fmla="*/ 1756 w 388"/>
                <a:gd name="T111" fmla="*/ 1239 h 404"/>
                <a:gd name="T112" fmla="*/ 1865 w 388"/>
                <a:gd name="T113" fmla="*/ 1136 h 40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88"/>
                <a:gd name="T172" fmla="*/ 0 h 404"/>
                <a:gd name="T173" fmla="*/ 388 w 388"/>
                <a:gd name="T174" fmla="*/ 404 h 40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88" h="404">
                  <a:moveTo>
                    <a:pt x="385" y="127"/>
                  </a:moveTo>
                  <a:cubicBezTo>
                    <a:pt x="379" y="125"/>
                    <a:pt x="379" y="125"/>
                    <a:pt x="379" y="125"/>
                  </a:cubicBezTo>
                  <a:cubicBezTo>
                    <a:pt x="373" y="118"/>
                    <a:pt x="373" y="118"/>
                    <a:pt x="373" y="118"/>
                  </a:cubicBezTo>
                  <a:cubicBezTo>
                    <a:pt x="372" y="112"/>
                    <a:pt x="372" y="112"/>
                    <a:pt x="372" y="112"/>
                  </a:cubicBezTo>
                  <a:cubicBezTo>
                    <a:pt x="367" y="112"/>
                    <a:pt x="367" y="112"/>
                    <a:pt x="367" y="112"/>
                  </a:cubicBezTo>
                  <a:cubicBezTo>
                    <a:pt x="361" y="115"/>
                    <a:pt x="361" y="115"/>
                    <a:pt x="361" y="115"/>
                  </a:cubicBezTo>
                  <a:cubicBezTo>
                    <a:pt x="356" y="115"/>
                    <a:pt x="356" y="115"/>
                    <a:pt x="356" y="115"/>
                  </a:cubicBezTo>
                  <a:cubicBezTo>
                    <a:pt x="350" y="114"/>
                    <a:pt x="350" y="114"/>
                    <a:pt x="350" y="114"/>
                  </a:cubicBezTo>
                  <a:cubicBezTo>
                    <a:pt x="347" y="116"/>
                    <a:pt x="347" y="116"/>
                    <a:pt x="347" y="116"/>
                  </a:cubicBezTo>
                  <a:cubicBezTo>
                    <a:pt x="342" y="121"/>
                    <a:pt x="342" y="121"/>
                    <a:pt x="342" y="121"/>
                  </a:cubicBezTo>
                  <a:cubicBezTo>
                    <a:pt x="335" y="125"/>
                    <a:pt x="335" y="125"/>
                    <a:pt x="335" y="125"/>
                  </a:cubicBezTo>
                  <a:cubicBezTo>
                    <a:pt x="331" y="129"/>
                    <a:pt x="331" y="129"/>
                    <a:pt x="331" y="129"/>
                  </a:cubicBezTo>
                  <a:cubicBezTo>
                    <a:pt x="323" y="133"/>
                    <a:pt x="323" y="133"/>
                    <a:pt x="323" y="133"/>
                  </a:cubicBezTo>
                  <a:cubicBezTo>
                    <a:pt x="312" y="135"/>
                    <a:pt x="312" y="135"/>
                    <a:pt x="312" y="135"/>
                  </a:cubicBezTo>
                  <a:cubicBezTo>
                    <a:pt x="312" y="138"/>
                    <a:pt x="312" y="138"/>
                    <a:pt x="312" y="138"/>
                  </a:cubicBezTo>
                  <a:cubicBezTo>
                    <a:pt x="317" y="140"/>
                    <a:pt x="317" y="140"/>
                    <a:pt x="317" y="140"/>
                  </a:cubicBezTo>
                  <a:cubicBezTo>
                    <a:pt x="318" y="141"/>
                    <a:pt x="318" y="141"/>
                    <a:pt x="318" y="141"/>
                  </a:cubicBezTo>
                  <a:cubicBezTo>
                    <a:pt x="318" y="146"/>
                    <a:pt x="318" y="146"/>
                    <a:pt x="318" y="146"/>
                  </a:cubicBezTo>
                  <a:cubicBezTo>
                    <a:pt x="316" y="147"/>
                    <a:pt x="316" y="147"/>
                    <a:pt x="316" y="147"/>
                  </a:cubicBezTo>
                  <a:cubicBezTo>
                    <a:pt x="301" y="149"/>
                    <a:pt x="301" y="149"/>
                    <a:pt x="301" y="149"/>
                  </a:cubicBezTo>
                  <a:cubicBezTo>
                    <a:pt x="295" y="149"/>
                    <a:pt x="295" y="149"/>
                    <a:pt x="295" y="149"/>
                  </a:cubicBezTo>
                  <a:cubicBezTo>
                    <a:pt x="290" y="150"/>
                    <a:pt x="290" y="150"/>
                    <a:pt x="290" y="150"/>
                  </a:cubicBezTo>
                  <a:cubicBezTo>
                    <a:pt x="285" y="150"/>
                    <a:pt x="285" y="150"/>
                    <a:pt x="285" y="150"/>
                  </a:cubicBezTo>
                  <a:cubicBezTo>
                    <a:pt x="280" y="150"/>
                    <a:pt x="280" y="150"/>
                    <a:pt x="280" y="150"/>
                  </a:cubicBezTo>
                  <a:cubicBezTo>
                    <a:pt x="275" y="149"/>
                    <a:pt x="275" y="149"/>
                    <a:pt x="275" y="149"/>
                  </a:cubicBezTo>
                  <a:cubicBezTo>
                    <a:pt x="274" y="145"/>
                    <a:pt x="274" y="145"/>
                    <a:pt x="274" y="145"/>
                  </a:cubicBezTo>
                  <a:cubicBezTo>
                    <a:pt x="274" y="145"/>
                    <a:pt x="274" y="145"/>
                    <a:pt x="274" y="145"/>
                  </a:cubicBezTo>
                  <a:cubicBezTo>
                    <a:pt x="274" y="144"/>
                    <a:pt x="274" y="144"/>
                    <a:pt x="274" y="144"/>
                  </a:cubicBezTo>
                  <a:cubicBezTo>
                    <a:pt x="276" y="141"/>
                    <a:pt x="276" y="141"/>
                    <a:pt x="276" y="141"/>
                  </a:cubicBezTo>
                  <a:cubicBezTo>
                    <a:pt x="274" y="139"/>
                    <a:pt x="274" y="139"/>
                    <a:pt x="274" y="139"/>
                  </a:cubicBezTo>
                  <a:cubicBezTo>
                    <a:pt x="275" y="135"/>
                    <a:pt x="275" y="135"/>
                    <a:pt x="275" y="135"/>
                  </a:cubicBezTo>
                  <a:cubicBezTo>
                    <a:pt x="273" y="131"/>
                    <a:pt x="273" y="131"/>
                    <a:pt x="273" y="131"/>
                  </a:cubicBezTo>
                  <a:cubicBezTo>
                    <a:pt x="264" y="134"/>
                    <a:pt x="264" y="134"/>
                    <a:pt x="264" y="134"/>
                  </a:cubicBezTo>
                  <a:cubicBezTo>
                    <a:pt x="263" y="138"/>
                    <a:pt x="263" y="138"/>
                    <a:pt x="263" y="138"/>
                  </a:cubicBezTo>
                  <a:cubicBezTo>
                    <a:pt x="263" y="145"/>
                    <a:pt x="263" y="145"/>
                    <a:pt x="263" y="145"/>
                  </a:cubicBezTo>
                  <a:cubicBezTo>
                    <a:pt x="262" y="146"/>
                    <a:pt x="262" y="146"/>
                    <a:pt x="262" y="146"/>
                  </a:cubicBezTo>
                  <a:cubicBezTo>
                    <a:pt x="263" y="148"/>
                    <a:pt x="263" y="148"/>
                    <a:pt x="263" y="148"/>
                  </a:cubicBezTo>
                  <a:cubicBezTo>
                    <a:pt x="265" y="150"/>
                    <a:pt x="265" y="150"/>
                    <a:pt x="265" y="150"/>
                  </a:cubicBezTo>
                  <a:cubicBezTo>
                    <a:pt x="265" y="152"/>
                    <a:pt x="265" y="152"/>
                    <a:pt x="265" y="152"/>
                  </a:cubicBezTo>
                  <a:cubicBezTo>
                    <a:pt x="263" y="155"/>
                    <a:pt x="263" y="155"/>
                    <a:pt x="263" y="155"/>
                  </a:cubicBezTo>
                  <a:cubicBezTo>
                    <a:pt x="260" y="154"/>
                    <a:pt x="260" y="154"/>
                    <a:pt x="260" y="154"/>
                  </a:cubicBezTo>
                  <a:cubicBezTo>
                    <a:pt x="252" y="155"/>
                    <a:pt x="252" y="155"/>
                    <a:pt x="252" y="155"/>
                  </a:cubicBezTo>
                  <a:cubicBezTo>
                    <a:pt x="250" y="154"/>
                    <a:pt x="250" y="154"/>
                    <a:pt x="250" y="154"/>
                  </a:cubicBezTo>
                  <a:cubicBezTo>
                    <a:pt x="235" y="152"/>
                    <a:pt x="235" y="152"/>
                    <a:pt x="235" y="152"/>
                  </a:cubicBezTo>
                  <a:cubicBezTo>
                    <a:pt x="233" y="150"/>
                    <a:pt x="233" y="150"/>
                    <a:pt x="233" y="150"/>
                  </a:cubicBezTo>
                  <a:cubicBezTo>
                    <a:pt x="231" y="150"/>
                    <a:pt x="231" y="150"/>
                    <a:pt x="231" y="150"/>
                  </a:cubicBezTo>
                  <a:cubicBezTo>
                    <a:pt x="228" y="150"/>
                    <a:pt x="228" y="150"/>
                    <a:pt x="228" y="150"/>
                  </a:cubicBezTo>
                  <a:cubicBezTo>
                    <a:pt x="223" y="149"/>
                    <a:pt x="223" y="149"/>
                    <a:pt x="223" y="149"/>
                  </a:cubicBezTo>
                  <a:cubicBezTo>
                    <a:pt x="220" y="147"/>
                    <a:pt x="220" y="147"/>
                    <a:pt x="220" y="147"/>
                  </a:cubicBezTo>
                  <a:cubicBezTo>
                    <a:pt x="216" y="142"/>
                    <a:pt x="216" y="142"/>
                    <a:pt x="216" y="142"/>
                  </a:cubicBezTo>
                  <a:cubicBezTo>
                    <a:pt x="215" y="142"/>
                    <a:pt x="215" y="142"/>
                    <a:pt x="215" y="142"/>
                  </a:cubicBezTo>
                  <a:cubicBezTo>
                    <a:pt x="210" y="141"/>
                    <a:pt x="210" y="141"/>
                    <a:pt x="210" y="141"/>
                  </a:cubicBezTo>
                  <a:cubicBezTo>
                    <a:pt x="207" y="142"/>
                    <a:pt x="207" y="142"/>
                    <a:pt x="207" y="142"/>
                  </a:cubicBezTo>
                  <a:cubicBezTo>
                    <a:pt x="203" y="141"/>
                    <a:pt x="203" y="141"/>
                    <a:pt x="203" y="141"/>
                  </a:cubicBezTo>
                  <a:cubicBezTo>
                    <a:pt x="199" y="142"/>
                    <a:pt x="199" y="142"/>
                    <a:pt x="199" y="142"/>
                  </a:cubicBezTo>
                  <a:cubicBezTo>
                    <a:pt x="195" y="141"/>
                    <a:pt x="195" y="141"/>
                    <a:pt x="195" y="141"/>
                  </a:cubicBezTo>
                  <a:cubicBezTo>
                    <a:pt x="191" y="138"/>
                    <a:pt x="191" y="138"/>
                    <a:pt x="191" y="138"/>
                  </a:cubicBezTo>
                  <a:cubicBezTo>
                    <a:pt x="188" y="137"/>
                    <a:pt x="188" y="137"/>
                    <a:pt x="188" y="137"/>
                  </a:cubicBezTo>
                  <a:cubicBezTo>
                    <a:pt x="186" y="135"/>
                    <a:pt x="186" y="135"/>
                    <a:pt x="186" y="135"/>
                  </a:cubicBezTo>
                  <a:cubicBezTo>
                    <a:pt x="179" y="133"/>
                    <a:pt x="179" y="133"/>
                    <a:pt x="179" y="133"/>
                  </a:cubicBezTo>
                  <a:cubicBezTo>
                    <a:pt x="174" y="128"/>
                    <a:pt x="174" y="128"/>
                    <a:pt x="174" y="128"/>
                  </a:cubicBezTo>
                  <a:cubicBezTo>
                    <a:pt x="169" y="125"/>
                    <a:pt x="169" y="125"/>
                    <a:pt x="169" y="125"/>
                  </a:cubicBezTo>
                  <a:cubicBezTo>
                    <a:pt x="166" y="124"/>
                    <a:pt x="166" y="124"/>
                    <a:pt x="166" y="124"/>
                  </a:cubicBezTo>
                  <a:cubicBezTo>
                    <a:pt x="165" y="124"/>
                    <a:pt x="165" y="124"/>
                    <a:pt x="165" y="124"/>
                  </a:cubicBezTo>
                  <a:cubicBezTo>
                    <a:pt x="165" y="124"/>
                    <a:pt x="165" y="124"/>
                    <a:pt x="165" y="124"/>
                  </a:cubicBezTo>
                  <a:cubicBezTo>
                    <a:pt x="164" y="125"/>
                    <a:pt x="164" y="125"/>
                    <a:pt x="164" y="125"/>
                  </a:cubicBezTo>
                  <a:cubicBezTo>
                    <a:pt x="161" y="121"/>
                    <a:pt x="161" y="121"/>
                    <a:pt x="161" y="121"/>
                  </a:cubicBezTo>
                  <a:cubicBezTo>
                    <a:pt x="159" y="121"/>
                    <a:pt x="159" y="121"/>
                    <a:pt x="159" y="121"/>
                  </a:cubicBezTo>
                  <a:cubicBezTo>
                    <a:pt x="159" y="119"/>
                    <a:pt x="159" y="119"/>
                    <a:pt x="159" y="119"/>
                  </a:cubicBezTo>
                  <a:cubicBezTo>
                    <a:pt x="160" y="117"/>
                    <a:pt x="160" y="117"/>
                    <a:pt x="160" y="117"/>
                  </a:cubicBezTo>
                  <a:cubicBezTo>
                    <a:pt x="161" y="116"/>
                    <a:pt x="161" y="116"/>
                    <a:pt x="161" y="116"/>
                  </a:cubicBezTo>
                  <a:cubicBezTo>
                    <a:pt x="162" y="114"/>
                    <a:pt x="162" y="114"/>
                    <a:pt x="162" y="114"/>
                  </a:cubicBezTo>
                  <a:cubicBezTo>
                    <a:pt x="161" y="112"/>
                    <a:pt x="161" y="112"/>
                    <a:pt x="161" y="112"/>
                  </a:cubicBezTo>
                  <a:cubicBezTo>
                    <a:pt x="163" y="109"/>
                    <a:pt x="163" y="109"/>
                    <a:pt x="163" y="109"/>
                  </a:cubicBezTo>
                  <a:cubicBezTo>
                    <a:pt x="163" y="107"/>
                    <a:pt x="163" y="107"/>
                    <a:pt x="163" y="107"/>
                  </a:cubicBezTo>
                  <a:cubicBezTo>
                    <a:pt x="164" y="106"/>
                    <a:pt x="164" y="106"/>
                    <a:pt x="164" y="106"/>
                  </a:cubicBezTo>
                  <a:cubicBezTo>
                    <a:pt x="165" y="105"/>
                    <a:pt x="165" y="105"/>
                    <a:pt x="165" y="105"/>
                  </a:cubicBezTo>
                  <a:cubicBezTo>
                    <a:pt x="166" y="103"/>
                    <a:pt x="166" y="103"/>
                    <a:pt x="166" y="103"/>
                  </a:cubicBezTo>
                  <a:cubicBezTo>
                    <a:pt x="168" y="101"/>
                    <a:pt x="168" y="101"/>
                    <a:pt x="168" y="101"/>
                  </a:cubicBezTo>
                  <a:cubicBezTo>
                    <a:pt x="169" y="100"/>
                    <a:pt x="169" y="100"/>
                    <a:pt x="169" y="100"/>
                  </a:cubicBezTo>
                  <a:cubicBezTo>
                    <a:pt x="170" y="99"/>
                    <a:pt x="170" y="99"/>
                    <a:pt x="170" y="99"/>
                  </a:cubicBezTo>
                  <a:cubicBezTo>
                    <a:pt x="167" y="99"/>
                    <a:pt x="167" y="99"/>
                    <a:pt x="167" y="99"/>
                  </a:cubicBezTo>
                  <a:cubicBezTo>
                    <a:pt x="160" y="94"/>
                    <a:pt x="160" y="94"/>
                    <a:pt x="160" y="94"/>
                  </a:cubicBezTo>
                  <a:cubicBezTo>
                    <a:pt x="158" y="91"/>
                    <a:pt x="158" y="91"/>
                    <a:pt x="158" y="91"/>
                  </a:cubicBezTo>
                  <a:cubicBezTo>
                    <a:pt x="151" y="88"/>
                    <a:pt x="151" y="88"/>
                    <a:pt x="151" y="88"/>
                  </a:cubicBezTo>
                  <a:cubicBezTo>
                    <a:pt x="146" y="89"/>
                    <a:pt x="146" y="89"/>
                    <a:pt x="146" y="89"/>
                  </a:cubicBezTo>
                  <a:cubicBezTo>
                    <a:pt x="142" y="83"/>
                    <a:pt x="142" y="83"/>
                    <a:pt x="142" y="83"/>
                  </a:cubicBezTo>
                  <a:cubicBezTo>
                    <a:pt x="142" y="74"/>
                    <a:pt x="142" y="74"/>
                    <a:pt x="142" y="74"/>
                  </a:cubicBezTo>
                  <a:cubicBezTo>
                    <a:pt x="139" y="71"/>
                    <a:pt x="139" y="71"/>
                    <a:pt x="139" y="71"/>
                  </a:cubicBezTo>
                  <a:cubicBezTo>
                    <a:pt x="139" y="66"/>
                    <a:pt x="139" y="66"/>
                    <a:pt x="139" y="66"/>
                  </a:cubicBezTo>
                  <a:cubicBezTo>
                    <a:pt x="144" y="68"/>
                    <a:pt x="144" y="68"/>
                    <a:pt x="144" y="68"/>
                  </a:cubicBezTo>
                  <a:cubicBezTo>
                    <a:pt x="151" y="66"/>
                    <a:pt x="151" y="66"/>
                    <a:pt x="151" y="66"/>
                  </a:cubicBezTo>
                  <a:cubicBezTo>
                    <a:pt x="152" y="62"/>
                    <a:pt x="152" y="62"/>
                    <a:pt x="152" y="62"/>
                  </a:cubicBezTo>
                  <a:cubicBezTo>
                    <a:pt x="151" y="58"/>
                    <a:pt x="151" y="58"/>
                    <a:pt x="151" y="58"/>
                  </a:cubicBezTo>
                  <a:cubicBezTo>
                    <a:pt x="147" y="57"/>
                    <a:pt x="147" y="57"/>
                    <a:pt x="147" y="57"/>
                  </a:cubicBezTo>
                  <a:cubicBezTo>
                    <a:pt x="145" y="53"/>
                    <a:pt x="145" y="53"/>
                    <a:pt x="145" y="53"/>
                  </a:cubicBezTo>
                  <a:cubicBezTo>
                    <a:pt x="147" y="45"/>
                    <a:pt x="147" y="45"/>
                    <a:pt x="147" y="45"/>
                  </a:cubicBezTo>
                  <a:cubicBezTo>
                    <a:pt x="151" y="45"/>
                    <a:pt x="151" y="45"/>
                    <a:pt x="151" y="45"/>
                  </a:cubicBezTo>
                  <a:cubicBezTo>
                    <a:pt x="153" y="41"/>
                    <a:pt x="153" y="41"/>
                    <a:pt x="153" y="41"/>
                  </a:cubicBezTo>
                  <a:cubicBezTo>
                    <a:pt x="159" y="34"/>
                    <a:pt x="159" y="34"/>
                    <a:pt x="159" y="34"/>
                  </a:cubicBezTo>
                  <a:cubicBezTo>
                    <a:pt x="161" y="30"/>
                    <a:pt x="161" y="30"/>
                    <a:pt x="161" y="30"/>
                  </a:cubicBezTo>
                  <a:cubicBezTo>
                    <a:pt x="163" y="22"/>
                    <a:pt x="163" y="22"/>
                    <a:pt x="163" y="22"/>
                  </a:cubicBezTo>
                  <a:cubicBezTo>
                    <a:pt x="159" y="23"/>
                    <a:pt x="159" y="23"/>
                    <a:pt x="159" y="23"/>
                  </a:cubicBezTo>
                  <a:cubicBezTo>
                    <a:pt x="153" y="17"/>
                    <a:pt x="153" y="17"/>
                    <a:pt x="153" y="17"/>
                  </a:cubicBezTo>
                  <a:cubicBezTo>
                    <a:pt x="150" y="15"/>
                    <a:pt x="150" y="15"/>
                    <a:pt x="150" y="15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35" y="21"/>
                    <a:pt x="135" y="21"/>
                    <a:pt x="135" y="21"/>
                  </a:cubicBezTo>
                  <a:cubicBezTo>
                    <a:pt x="132" y="23"/>
                    <a:pt x="132" y="23"/>
                    <a:pt x="132" y="23"/>
                  </a:cubicBezTo>
                  <a:cubicBezTo>
                    <a:pt x="127" y="22"/>
                    <a:pt x="127" y="22"/>
                    <a:pt x="127" y="22"/>
                  </a:cubicBezTo>
                  <a:cubicBezTo>
                    <a:pt x="126" y="23"/>
                    <a:pt x="126" y="23"/>
                    <a:pt x="126" y="23"/>
                  </a:cubicBezTo>
                  <a:cubicBezTo>
                    <a:pt x="116" y="20"/>
                    <a:pt x="116" y="20"/>
                    <a:pt x="116" y="20"/>
                  </a:cubicBezTo>
                  <a:cubicBezTo>
                    <a:pt x="112" y="17"/>
                    <a:pt x="112" y="17"/>
                    <a:pt x="112" y="17"/>
                  </a:cubicBezTo>
                  <a:cubicBezTo>
                    <a:pt x="108" y="17"/>
                    <a:pt x="108" y="17"/>
                    <a:pt x="108" y="17"/>
                  </a:cubicBezTo>
                  <a:cubicBezTo>
                    <a:pt x="106" y="7"/>
                    <a:pt x="106" y="7"/>
                    <a:pt x="106" y="7"/>
                  </a:cubicBezTo>
                  <a:cubicBezTo>
                    <a:pt x="102" y="4"/>
                    <a:pt x="102" y="4"/>
                    <a:pt x="102" y="4"/>
                  </a:cubicBezTo>
                  <a:cubicBezTo>
                    <a:pt x="99" y="5"/>
                    <a:pt x="99" y="5"/>
                    <a:pt x="99" y="5"/>
                  </a:cubicBezTo>
                  <a:cubicBezTo>
                    <a:pt x="96" y="1"/>
                    <a:pt x="96" y="1"/>
                    <a:pt x="96" y="1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1" y="2"/>
                    <a:pt x="81" y="2"/>
                    <a:pt x="81" y="2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65" y="1"/>
                    <a:pt x="65" y="1"/>
                    <a:pt x="65" y="1"/>
                  </a:cubicBezTo>
                  <a:cubicBezTo>
                    <a:pt x="60" y="2"/>
                    <a:pt x="60" y="2"/>
                    <a:pt x="60" y="2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59" y="7"/>
                    <a:pt x="58" y="11"/>
                    <a:pt x="60" y="14"/>
                  </a:cubicBezTo>
                  <a:cubicBezTo>
                    <a:pt x="61" y="16"/>
                    <a:pt x="64" y="20"/>
                    <a:pt x="66" y="21"/>
                  </a:cubicBezTo>
                  <a:cubicBezTo>
                    <a:pt x="69" y="22"/>
                    <a:pt x="72" y="23"/>
                    <a:pt x="75" y="23"/>
                  </a:cubicBezTo>
                  <a:cubicBezTo>
                    <a:pt x="77" y="23"/>
                    <a:pt x="78" y="23"/>
                    <a:pt x="80" y="24"/>
                  </a:cubicBezTo>
                  <a:cubicBezTo>
                    <a:pt x="81" y="24"/>
                    <a:pt x="84" y="24"/>
                    <a:pt x="85" y="25"/>
                  </a:cubicBezTo>
                  <a:cubicBezTo>
                    <a:pt x="86" y="26"/>
                    <a:pt x="86" y="29"/>
                    <a:pt x="86" y="30"/>
                  </a:cubicBezTo>
                  <a:cubicBezTo>
                    <a:pt x="86" y="31"/>
                    <a:pt x="86" y="32"/>
                    <a:pt x="86" y="32"/>
                  </a:cubicBezTo>
                  <a:cubicBezTo>
                    <a:pt x="83" y="31"/>
                    <a:pt x="83" y="31"/>
                    <a:pt x="83" y="31"/>
                  </a:cubicBezTo>
                  <a:cubicBezTo>
                    <a:pt x="80" y="33"/>
                    <a:pt x="80" y="33"/>
                    <a:pt x="80" y="33"/>
                  </a:cubicBezTo>
                  <a:cubicBezTo>
                    <a:pt x="79" y="32"/>
                    <a:pt x="79" y="32"/>
                    <a:pt x="79" y="32"/>
                  </a:cubicBezTo>
                  <a:cubicBezTo>
                    <a:pt x="77" y="33"/>
                    <a:pt x="77" y="33"/>
                    <a:pt x="77" y="33"/>
                  </a:cubicBezTo>
                  <a:cubicBezTo>
                    <a:pt x="77" y="35"/>
                    <a:pt x="77" y="35"/>
                    <a:pt x="77" y="35"/>
                  </a:cubicBezTo>
                  <a:cubicBezTo>
                    <a:pt x="75" y="38"/>
                    <a:pt x="75" y="38"/>
                    <a:pt x="75" y="38"/>
                  </a:cubicBezTo>
                  <a:cubicBezTo>
                    <a:pt x="77" y="39"/>
                    <a:pt x="77" y="39"/>
                    <a:pt x="77" y="39"/>
                  </a:cubicBezTo>
                  <a:cubicBezTo>
                    <a:pt x="78" y="40"/>
                    <a:pt x="78" y="40"/>
                    <a:pt x="78" y="40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82" y="44"/>
                    <a:pt x="82" y="44"/>
                    <a:pt x="82" y="44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81" y="50"/>
                    <a:pt x="81" y="50"/>
                    <a:pt x="81" y="50"/>
                  </a:cubicBezTo>
                  <a:cubicBezTo>
                    <a:pt x="82" y="52"/>
                    <a:pt x="82" y="52"/>
                    <a:pt x="82" y="52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0" y="58"/>
                    <a:pt x="80" y="58"/>
                    <a:pt x="80" y="58"/>
                  </a:cubicBezTo>
                  <a:cubicBezTo>
                    <a:pt x="83" y="60"/>
                    <a:pt x="83" y="60"/>
                    <a:pt x="83" y="60"/>
                  </a:cubicBezTo>
                  <a:cubicBezTo>
                    <a:pt x="83" y="61"/>
                    <a:pt x="83" y="61"/>
                    <a:pt x="83" y="61"/>
                  </a:cubicBezTo>
                  <a:cubicBezTo>
                    <a:pt x="84" y="61"/>
                    <a:pt x="84" y="61"/>
                    <a:pt x="84" y="61"/>
                  </a:cubicBezTo>
                  <a:cubicBezTo>
                    <a:pt x="85" y="62"/>
                    <a:pt x="85" y="62"/>
                    <a:pt x="85" y="62"/>
                  </a:cubicBezTo>
                  <a:cubicBezTo>
                    <a:pt x="88" y="62"/>
                    <a:pt x="88" y="62"/>
                    <a:pt x="88" y="62"/>
                  </a:cubicBezTo>
                  <a:cubicBezTo>
                    <a:pt x="88" y="65"/>
                    <a:pt x="88" y="65"/>
                    <a:pt x="88" y="65"/>
                  </a:cubicBezTo>
                  <a:cubicBezTo>
                    <a:pt x="88" y="67"/>
                    <a:pt x="88" y="67"/>
                    <a:pt x="88" y="67"/>
                  </a:cubicBezTo>
                  <a:cubicBezTo>
                    <a:pt x="95" y="68"/>
                    <a:pt x="95" y="68"/>
                    <a:pt x="95" y="68"/>
                  </a:cubicBezTo>
                  <a:cubicBezTo>
                    <a:pt x="96" y="69"/>
                    <a:pt x="96" y="69"/>
                    <a:pt x="96" y="69"/>
                  </a:cubicBezTo>
                  <a:cubicBezTo>
                    <a:pt x="97" y="71"/>
                    <a:pt x="97" y="71"/>
                    <a:pt x="97" y="71"/>
                  </a:cubicBezTo>
                  <a:cubicBezTo>
                    <a:pt x="95" y="73"/>
                    <a:pt x="95" y="73"/>
                    <a:pt x="95" y="73"/>
                  </a:cubicBezTo>
                  <a:cubicBezTo>
                    <a:pt x="90" y="73"/>
                    <a:pt x="90" y="73"/>
                    <a:pt x="90" y="73"/>
                  </a:cubicBezTo>
                  <a:cubicBezTo>
                    <a:pt x="88" y="75"/>
                    <a:pt x="88" y="75"/>
                    <a:pt x="88" y="75"/>
                  </a:cubicBezTo>
                  <a:cubicBezTo>
                    <a:pt x="86" y="77"/>
                    <a:pt x="86" y="77"/>
                    <a:pt x="86" y="77"/>
                  </a:cubicBezTo>
                  <a:cubicBezTo>
                    <a:pt x="86" y="79"/>
                    <a:pt x="86" y="79"/>
                    <a:pt x="86" y="79"/>
                  </a:cubicBezTo>
                  <a:cubicBezTo>
                    <a:pt x="88" y="83"/>
                    <a:pt x="88" y="83"/>
                    <a:pt x="88" y="83"/>
                  </a:cubicBezTo>
                  <a:cubicBezTo>
                    <a:pt x="86" y="86"/>
                    <a:pt x="86" y="86"/>
                    <a:pt x="86" y="86"/>
                  </a:cubicBezTo>
                  <a:cubicBezTo>
                    <a:pt x="87" y="86"/>
                    <a:pt x="87" y="86"/>
                    <a:pt x="87" y="86"/>
                  </a:cubicBezTo>
                  <a:cubicBezTo>
                    <a:pt x="89" y="86"/>
                    <a:pt x="89" y="86"/>
                    <a:pt x="89" y="86"/>
                  </a:cubicBezTo>
                  <a:cubicBezTo>
                    <a:pt x="90" y="88"/>
                    <a:pt x="90" y="88"/>
                    <a:pt x="90" y="88"/>
                  </a:cubicBezTo>
                  <a:cubicBezTo>
                    <a:pt x="89" y="88"/>
                    <a:pt x="89" y="88"/>
                    <a:pt x="89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86" y="89"/>
                    <a:pt x="86" y="89"/>
                    <a:pt x="86" y="89"/>
                  </a:cubicBezTo>
                  <a:cubicBezTo>
                    <a:pt x="83" y="91"/>
                    <a:pt x="83" y="91"/>
                    <a:pt x="83" y="91"/>
                  </a:cubicBezTo>
                  <a:cubicBezTo>
                    <a:pt x="80" y="94"/>
                    <a:pt x="80" y="94"/>
                    <a:pt x="80" y="94"/>
                  </a:cubicBezTo>
                  <a:cubicBezTo>
                    <a:pt x="77" y="96"/>
                    <a:pt x="77" y="96"/>
                    <a:pt x="77" y="96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76" y="101"/>
                    <a:pt x="76" y="101"/>
                    <a:pt x="76" y="101"/>
                  </a:cubicBezTo>
                  <a:cubicBezTo>
                    <a:pt x="76" y="102"/>
                    <a:pt x="76" y="102"/>
                    <a:pt x="76" y="102"/>
                  </a:cubicBezTo>
                  <a:cubicBezTo>
                    <a:pt x="70" y="105"/>
                    <a:pt x="70" y="105"/>
                    <a:pt x="70" y="105"/>
                  </a:cubicBezTo>
                  <a:cubicBezTo>
                    <a:pt x="67" y="112"/>
                    <a:pt x="67" y="112"/>
                    <a:pt x="67" y="112"/>
                  </a:cubicBezTo>
                  <a:cubicBezTo>
                    <a:pt x="63" y="117"/>
                    <a:pt x="63" y="117"/>
                    <a:pt x="63" y="117"/>
                  </a:cubicBezTo>
                  <a:cubicBezTo>
                    <a:pt x="56" y="122"/>
                    <a:pt x="56" y="122"/>
                    <a:pt x="56" y="122"/>
                  </a:cubicBezTo>
                  <a:cubicBezTo>
                    <a:pt x="49" y="133"/>
                    <a:pt x="49" y="133"/>
                    <a:pt x="49" y="133"/>
                  </a:cubicBezTo>
                  <a:cubicBezTo>
                    <a:pt x="47" y="134"/>
                    <a:pt x="47" y="134"/>
                    <a:pt x="47" y="134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2" y="131"/>
                    <a:pt x="32" y="131"/>
                    <a:pt x="32" y="131"/>
                  </a:cubicBezTo>
                  <a:cubicBezTo>
                    <a:pt x="26" y="137"/>
                    <a:pt x="26" y="137"/>
                    <a:pt x="26" y="137"/>
                  </a:cubicBezTo>
                  <a:cubicBezTo>
                    <a:pt x="20" y="143"/>
                    <a:pt x="20" y="143"/>
                    <a:pt x="20" y="143"/>
                  </a:cubicBezTo>
                  <a:cubicBezTo>
                    <a:pt x="20" y="145"/>
                    <a:pt x="20" y="145"/>
                    <a:pt x="20" y="145"/>
                  </a:cubicBezTo>
                  <a:cubicBezTo>
                    <a:pt x="19" y="149"/>
                    <a:pt x="19" y="149"/>
                    <a:pt x="19" y="149"/>
                  </a:cubicBezTo>
                  <a:cubicBezTo>
                    <a:pt x="20" y="151"/>
                    <a:pt x="20" y="151"/>
                    <a:pt x="20" y="151"/>
                  </a:cubicBezTo>
                  <a:cubicBezTo>
                    <a:pt x="21" y="152"/>
                    <a:pt x="21" y="152"/>
                    <a:pt x="21" y="152"/>
                  </a:cubicBezTo>
                  <a:cubicBezTo>
                    <a:pt x="27" y="152"/>
                    <a:pt x="27" y="152"/>
                    <a:pt x="27" y="152"/>
                  </a:cubicBezTo>
                  <a:cubicBezTo>
                    <a:pt x="28" y="153"/>
                    <a:pt x="28" y="153"/>
                    <a:pt x="28" y="153"/>
                  </a:cubicBezTo>
                  <a:cubicBezTo>
                    <a:pt x="29" y="155"/>
                    <a:pt x="29" y="155"/>
                    <a:pt x="29" y="155"/>
                  </a:cubicBezTo>
                  <a:cubicBezTo>
                    <a:pt x="27" y="160"/>
                    <a:pt x="27" y="160"/>
                    <a:pt x="27" y="160"/>
                  </a:cubicBezTo>
                  <a:cubicBezTo>
                    <a:pt x="27" y="162"/>
                    <a:pt x="27" y="162"/>
                    <a:pt x="27" y="162"/>
                  </a:cubicBezTo>
                  <a:cubicBezTo>
                    <a:pt x="30" y="165"/>
                    <a:pt x="30" y="165"/>
                    <a:pt x="30" y="165"/>
                  </a:cubicBezTo>
                  <a:cubicBezTo>
                    <a:pt x="33" y="164"/>
                    <a:pt x="33" y="164"/>
                    <a:pt x="33" y="164"/>
                  </a:cubicBezTo>
                  <a:cubicBezTo>
                    <a:pt x="34" y="165"/>
                    <a:pt x="34" y="165"/>
                    <a:pt x="34" y="165"/>
                  </a:cubicBezTo>
                  <a:cubicBezTo>
                    <a:pt x="34" y="170"/>
                    <a:pt x="34" y="170"/>
                    <a:pt x="34" y="170"/>
                  </a:cubicBezTo>
                  <a:cubicBezTo>
                    <a:pt x="36" y="173"/>
                    <a:pt x="36" y="173"/>
                    <a:pt x="36" y="173"/>
                  </a:cubicBezTo>
                  <a:cubicBezTo>
                    <a:pt x="40" y="177"/>
                    <a:pt x="40" y="177"/>
                    <a:pt x="40" y="177"/>
                  </a:cubicBezTo>
                  <a:cubicBezTo>
                    <a:pt x="40" y="178"/>
                    <a:pt x="40" y="178"/>
                    <a:pt x="40" y="178"/>
                  </a:cubicBezTo>
                  <a:cubicBezTo>
                    <a:pt x="38" y="179"/>
                    <a:pt x="38" y="179"/>
                    <a:pt x="38" y="179"/>
                  </a:cubicBezTo>
                  <a:cubicBezTo>
                    <a:pt x="38" y="182"/>
                    <a:pt x="38" y="182"/>
                    <a:pt x="38" y="182"/>
                  </a:cubicBezTo>
                  <a:cubicBezTo>
                    <a:pt x="40" y="182"/>
                    <a:pt x="40" y="182"/>
                    <a:pt x="40" y="182"/>
                  </a:cubicBezTo>
                  <a:cubicBezTo>
                    <a:pt x="40" y="183"/>
                    <a:pt x="40" y="183"/>
                    <a:pt x="40" y="183"/>
                  </a:cubicBezTo>
                  <a:cubicBezTo>
                    <a:pt x="38" y="183"/>
                    <a:pt x="38" y="183"/>
                    <a:pt x="38" y="183"/>
                  </a:cubicBezTo>
                  <a:cubicBezTo>
                    <a:pt x="37" y="184"/>
                    <a:pt x="37" y="184"/>
                    <a:pt x="37" y="184"/>
                  </a:cubicBezTo>
                  <a:cubicBezTo>
                    <a:pt x="35" y="185"/>
                    <a:pt x="35" y="185"/>
                    <a:pt x="35" y="185"/>
                  </a:cubicBezTo>
                  <a:cubicBezTo>
                    <a:pt x="34" y="184"/>
                    <a:pt x="34" y="184"/>
                    <a:pt x="34" y="184"/>
                  </a:cubicBezTo>
                  <a:cubicBezTo>
                    <a:pt x="34" y="182"/>
                    <a:pt x="34" y="182"/>
                    <a:pt x="34" y="182"/>
                  </a:cubicBezTo>
                  <a:cubicBezTo>
                    <a:pt x="32" y="182"/>
                    <a:pt x="32" y="182"/>
                    <a:pt x="32" y="182"/>
                  </a:cubicBezTo>
                  <a:cubicBezTo>
                    <a:pt x="28" y="183"/>
                    <a:pt x="28" y="183"/>
                    <a:pt x="28" y="183"/>
                  </a:cubicBezTo>
                  <a:cubicBezTo>
                    <a:pt x="27" y="185"/>
                    <a:pt x="27" y="185"/>
                    <a:pt x="27" y="185"/>
                  </a:cubicBezTo>
                  <a:cubicBezTo>
                    <a:pt x="26" y="186"/>
                    <a:pt x="26" y="186"/>
                    <a:pt x="26" y="186"/>
                  </a:cubicBezTo>
                  <a:cubicBezTo>
                    <a:pt x="22" y="186"/>
                    <a:pt x="22" y="186"/>
                    <a:pt x="22" y="186"/>
                  </a:cubicBezTo>
                  <a:cubicBezTo>
                    <a:pt x="20" y="184"/>
                    <a:pt x="20" y="184"/>
                    <a:pt x="20" y="184"/>
                  </a:cubicBezTo>
                  <a:cubicBezTo>
                    <a:pt x="19" y="184"/>
                    <a:pt x="19" y="184"/>
                    <a:pt x="19" y="184"/>
                  </a:cubicBezTo>
                  <a:cubicBezTo>
                    <a:pt x="18" y="184"/>
                    <a:pt x="18" y="184"/>
                    <a:pt x="18" y="184"/>
                  </a:cubicBezTo>
                  <a:cubicBezTo>
                    <a:pt x="13" y="184"/>
                    <a:pt x="13" y="184"/>
                    <a:pt x="13" y="184"/>
                  </a:cubicBezTo>
                  <a:cubicBezTo>
                    <a:pt x="12" y="184"/>
                    <a:pt x="12" y="184"/>
                    <a:pt x="12" y="184"/>
                  </a:cubicBezTo>
                  <a:cubicBezTo>
                    <a:pt x="11" y="184"/>
                    <a:pt x="11" y="184"/>
                    <a:pt x="11" y="184"/>
                  </a:cubicBezTo>
                  <a:cubicBezTo>
                    <a:pt x="10" y="183"/>
                    <a:pt x="10" y="183"/>
                    <a:pt x="10" y="183"/>
                  </a:cubicBezTo>
                  <a:cubicBezTo>
                    <a:pt x="9" y="188"/>
                    <a:pt x="9" y="188"/>
                    <a:pt x="9" y="188"/>
                  </a:cubicBezTo>
                  <a:cubicBezTo>
                    <a:pt x="2" y="188"/>
                    <a:pt x="2" y="188"/>
                    <a:pt x="2" y="188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1" y="194"/>
                    <a:pt x="1" y="194"/>
                    <a:pt x="1" y="194"/>
                  </a:cubicBezTo>
                  <a:cubicBezTo>
                    <a:pt x="2" y="194"/>
                    <a:pt x="2" y="194"/>
                    <a:pt x="2" y="194"/>
                  </a:cubicBezTo>
                  <a:cubicBezTo>
                    <a:pt x="3" y="196"/>
                    <a:pt x="3" y="196"/>
                    <a:pt x="3" y="196"/>
                  </a:cubicBezTo>
                  <a:cubicBezTo>
                    <a:pt x="7" y="201"/>
                    <a:pt x="7" y="201"/>
                    <a:pt x="7" y="201"/>
                  </a:cubicBezTo>
                  <a:cubicBezTo>
                    <a:pt x="9" y="203"/>
                    <a:pt x="9" y="203"/>
                    <a:pt x="9" y="203"/>
                  </a:cubicBezTo>
                  <a:cubicBezTo>
                    <a:pt x="11" y="204"/>
                    <a:pt x="11" y="204"/>
                    <a:pt x="11" y="204"/>
                  </a:cubicBezTo>
                  <a:cubicBezTo>
                    <a:pt x="16" y="205"/>
                    <a:pt x="16" y="205"/>
                    <a:pt x="16" y="205"/>
                  </a:cubicBezTo>
                  <a:cubicBezTo>
                    <a:pt x="21" y="204"/>
                    <a:pt x="21" y="204"/>
                    <a:pt x="21" y="204"/>
                  </a:cubicBezTo>
                  <a:cubicBezTo>
                    <a:pt x="27" y="202"/>
                    <a:pt x="27" y="202"/>
                    <a:pt x="27" y="202"/>
                  </a:cubicBezTo>
                  <a:cubicBezTo>
                    <a:pt x="28" y="201"/>
                    <a:pt x="28" y="201"/>
                    <a:pt x="28" y="201"/>
                  </a:cubicBezTo>
                  <a:cubicBezTo>
                    <a:pt x="29" y="200"/>
                    <a:pt x="29" y="200"/>
                    <a:pt x="29" y="200"/>
                  </a:cubicBezTo>
                  <a:cubicBezTo>
                    <a:pt x="30" y="202"/>
                    <a:pt x="30" y="202"/>
                    <a:pt x="30" y="202"/>
                  </a:cubicBezTo>
                  <a:cubicBezTo>
                    <a:pt x="28" y="206"/>
                    <a:pt x="28" y="206"/>
                    <a:pt x="28" y="206"/>
                  </a:cubicBezTo>
                  <a:cubicBezTo>
                    <a:pt x="23" y="210"/>
                    <a:pt x="23" y="210"/>
                    <a:pt x="23" y="210"/>
                  </a:cubicBezTo>
                  <a:cubicBezTo>
                    <a:pt x="14" y="211"/>
                    <a:pt x="14" y="211"/>
                    <a:pt x="14" y="211"/>
                  </a:cubicBezTo>
                  <a:cubicBezTo>
                    <a:pt x="12" y="210"/>
                    <a:pt x="12" y="210"/>
                    <a:pt x="12" y="210"/>
                  </a:cubicBezTo>
                  <a:cubicBezTo>
                    <a:pt x="11" y="211"/>
                    <a:pt x="11" y="211"/>
                    <a:pt x="11" y="211"/>
                  </a:cubicBezTo>
                  <a:cubicBezTo>
                    <a:pt x="12" y="215"/>
                    <a:pt x="12" y="215"/>
                    <a:pt x="12" y="215"/>
                  </a:cubicBezTo>
                  <a:cubicBezTo>
                    <a:pt x="25" y="228"/>
                    <a:pt x="25" y="228"/>
                    <a:pt x="25" y="228"/>
                  </a:cubicBezTo>
                  <a:cubicBezTo>
                    <a:pt x="30" y="232"/>
                    <a:pt x="30" y="232"/>
                    <a:pt x="30" y="232"/>
                  </a:cubicBezTo>
                  <a:cubicBezTo>
                    <a:pt x="37" y="233"/>
                    <a:pt x="37" y="233"/>
                    <a:pt x="37" y="233"/>
                  </a:cubicBezTo>
                  <a:cubicBezTo>
                    <a:pt x="41" y="232"/>
                    <a:pt x="41" y="232"/>
                    <a:pt x="41" y="232"/>
                  </a:cubicBezTo>
                  <a:cubicBezTo>
                    <a:pt x="44" y="230"/>
                    <a:pt x="44" y="230"/>
                    <a:pt x="44" y="230"/>
                  </a:cubicBezTo>
                  <a:cubicBezTo>
                    <a:pt x="46" y="230"/>
                    <a:pt x="46" y="230"/>
                    <a:pt x="46" y="230"/>
                  </a:cubicBezTo>
                  <a:cubicBezTo>
                    <a:pt x="50" y="228"/>
                    <a:pt x="50" y="228"/>
                    <a:pt x="50" y="228"/>
                  </a:cubicBezTo>
                  <a:cubicBezTo>
                    <a:pt x="52" y="223"/>
                    <a:pt x="52" y="223"/>
                    <a:pt x="52" y="223"/>
                  </a:cubicBezTo>
                  <a:cubicBezTo>
                    <a:pt x="52" y="217"/>
                    <a:pt x="52" y="217"/>
                    <a:pt x="52" y="217"/>
                  </a:cubicBezTo>
                  <a:cubicBezTo>
                    <a:pt x="54" y="210"/>
                    <a:pt x="54" y="210"/>
                    <a:pt x="54" y="210"/>
                  </a:cubicBezTo>
                  <a:cubicBezTo>
                    <a:pt x="55" y="211"/>
                    <a:pt x="55" y="211"/>
                    <a:pt x="55" y="211"/>
                  </a:cubicBezTo>
                  <a:cubicBezTo>
                    <a:pt x="62" y="212"/>
                    <a:pt x="62" y="212"/>
                    <a:pt x="62" y="212"/>
                  </a:cubicBezTo>
                  <a:cubicBezTo>
                    <a:pt x="61" y="214"/>
                    <a:pt x="61" y="214"/>
                    <a:pt x="61" y="214"/>
                  </a:cubicBezTo>
                  <a:cubicBezTo>
                    <a:pt x="59" y="214"/>
                    <a:pt x="59" y="214"/>
                    <a:pt x="59" y="214"/>
                  </a:cubicBezTo>
                  <a:cubicBezTo>
                    <a:pt x="58" y="217"/>
                    <a:pt x="58" y="217"/>
                    <a:pt x="58" y="217"/>
                  </a:cubicBezTo>
                  <a:cubicBezTo>
                    <a:pt x="58" y="217"/>
                    <a:pt x="58" y="217"/>
                    <a:pt x="58" y="217"/>
                  </a:cubicBezTo>
                  <a:cubicBezTo>
                    <a:pt x="58" y="220"/>
                    <a:pt x="58" y="220"/>
                    <a:pt x="58" y="220"/>
                  </a:cubicBezTo>
                  <a:cubicBezTo>
                    <a:pt x="60" y="221"/>
                    <a:pt x="60" y="221"/>
                    <a:pt x="60" y="221"/>
                  </a:cubicBezTo>
                  <a:cubicBezTo>
                    <a:pt x="59" y="224"/>
                    <a:pt x="59" y="224"/>
                    <a:pt x="59" y="224"/>
                  </a:cubicBezTo>
                  <a:cubicBezTo>
                    <a:pt x="59" y="228"/>
                    <a:pt x="59" y="228"/>
                    <a:pt x="59" y="228"/>
                  </a:cubicBezTo>
                  <a:cubicBezTo>
                    <a:pt x="59" y="228"/>
                    <a:pt x="59" y="228"/>
                    <a:pt x="59" y="228"/>
                  </a:cubicBezTo>
                  <a:cubicBezTo>
                    <a:pt x="62" y="237"/>
                    <a:pt x="62" y="237"/>
                    <a:pt x="62" y="237"/>
                  </a:cubicBezTo>
                  <a:cubicBezTo>
                    <a:pt x="62" y="239"/>
                    <a:pt x="62" y="239"/>
                    <a:pt x="62" y="239"/>
                  </a:cubicBezTo>
                  <a:cubicBezTo>
                    <a:pt x="60" y="245"/>
                    <a:pt x="60" y="245"/>
                    <a:pt x="60" y="245"/>
                  </a:cubicBezTo>
                  <a:cubicBezTo>
                    <a:pt x="60" y="248"/>
                    <a:pt x="60" y="248"/>
                    <a:pt x="60" y="248"/>
                  </a:cubicBezTo>
                  <a:cubicBezTo>
                    <a:pt x="61" y="253"/>
                    <a:pt x="61" y="253"/>
                    <a:pt x="61" y="253"/>
                  </a:cubicBezTo>
                  <a:cubicBezTo>
                    <a:pt x="61" y="257"/>
                    <a:pt x="61" y="257"/>
                    <a:pt x="61" y="257"/>
                  </a:cubicBezTo>
                  <a:cubicBezTo>
                    <a:pt x="63" y="255"/>
                    <a:pt x="63" y="255"/>
                    <a:pt x="63" y="255"/>
                  </a:cubicBezTo>
                  <a:cubicBezTo>
                    <a:pt x="63" y="256"/>
                    <a:pt x="63" y="256"/>
                    <a:pt x="63" y="256"/>
                  </a:cubicBezTo>
                  <a:cubicBezTo>
                    <a:pt x="62" y="265"/>
                    <a:pt x="62" y="265"/>
                    <a:pt x="62" y="265"/>
                  </a:cubicBezTo>
                  <a:cubicBezTo>
                    <a:pt x="63" y="268"/>
                    <a:pt x="63" y="268"/>
                    <a:pt x="63" y="268"/>
                  </a:cubicBezTo>
                  <a:cubicBezTo>
                    <a:pt x="64" y="273"/>
                    <a:pt x="64" y="273"/>
                    <a:pt x="64" y="273"/>
                  </a:cubicBezTo>
                  <a:cubicBezTo>
                    <a:pt x="66" y="280"/>
                    <a:pt x="66" y="280"/>
                    <a:pt x="66" y="280"/>
                  </a:cubicBezTo>
                  <a:cubicBezTo>
                    <a:pt x="68" y="291"/>
                    <a:pt x="68" y="291"/>
                    <a:pt x="68" y="291"/>
                  </a:cubicBezTo>
                  <a:cubicBezTo>
                    <a:pt x="69" y="293"/>
                    <a:pt x="69" y="293"/>
                    <a:pt x="69" y="293"/>
                  </a:cubicBezTo>
                  <a:cubicBezTo>
                    <a:pt x="71" y="296"/>
                    <a:pt x="71" y="296"/>
                    <a:pt x="71" y="296"/>
                  </a:cubicBezTo>
                  <a:cubicBezTo>
                    <a:pt x="71" y="299"/>
                    <a:pt x="71" y="299"/>
                    <a:pt x="71" y="299"/>
                  </a:cubicBezTo>
                  <a:cubicBezTo>
                    <a:pt x="73" y="302"/>
                    <a:pt x="73" y="302"/>
                    <a:pt x="73" y="302"/>
                  </a:cubicBezTo>
                  <a:cubicBezTo>
                    <a:pt x="75" y="305"/>
                    <a:pt x="75" y="305"/>
                    <a:pt x="75" y="305"/>
                  </a:cubicBezTo>
                  <a:cubicBezTo>
                    <a:pt x="75" y="306"/>
                    <a:pt x="75" y="306"/>
                    <a:pt x="75" y="306"/>
                  </a:cubicBezTo>
                  <a:cubicBezTo>
                    <a:pt x="76" y="305"/>
                    <a:pt x="76" y="305"/>
                    <a:pt x="76" y="305"/>
                  </a:cubicBezTo>
                  <a:cubicBezTo>
                    <a:pt x="77" y="305"/>
                    <a:pt x="77" y="305"/>
                    <a:pt x="77" y="305"/>
                  </a:cubicBezTo>
                  <a:cubicBezTo>
                    <a:pt x="76" y="307"/>
                    <a:pt x="76" y="307"/>
                    <a:pt x="76" y="307"/>
                  </a:cubicBezTo>
                  <a:cubicBezTo>
                    <a:pt x="78" y="312"/>
                    <a:pt x="78" y="312"/>
                    <a:pt x="78" y="312"/>
                  </a:cubicBezTo>
                  <a:cubicBezTo>
                    <a:pt x="80" y="316"/>
                    <a:pt x="80" y="316"/>
                    <a:pt x="80" y="316"/>
                  </a:cubicBezTo>
                  <a:cubicBezTo>
                    <a:pt x="82" y="316"/>
                    <a:pt x="82" y="316"/>
                    <a:pt x="82" y="316"/>
                  </a:cubicBezTo>
                  <a:cubicBezTo>
                    <a:pt x="84" y="321"/>
                    <a:pt x="84" y="321"/>
                    <a:pt x="84" y="321"/>
                  </a:cubicBezTo>
                  <a:cubicBezTo>
                    <a:pt x="84" y="325"/>
                    <a:pt x="84" y="325"/>
                    <a:pt x="84" y="325"/>
                  </a:cubicBezTo>
                  <a:cubicBezTo>
                    <a:pt x="86" y="327"/>
                    <a:pt x="86" y="327"/>
                    <a:pt x="86" y="327"/>
                  </a:cubicBezTo>
                  <a:cubicBezTo>
                    <a:pt x="88" y="331"/>
                    <a:pt x="88" y="331"/>
                    <a:pt x="88" y="331"/>
                  </a:cubicBezTo>
                  <a:cubicBezTo>
                    <a:pt x="92" y="348"/>
                    <a:pt x="92" y="348"/>
                    <a:pt x="92" y="348"/>
                  </a:cubicBezTo>
                  <a:cubicBezTo>
                    <a:pt x="95" y="352"/>
                    <a:pt x="95" y="352"/>
                    <a:pt x="95" y="352"/>
                  </a:cubicBezTo>
                  <a:cubicBezTo>
                    <a:pt x="101" y="359"/>
                    <a:pt x="101" y="359"/>
                    <a:pt x="101" y="359"/>
                  </a:cubicBezTo>
                  <a:cubicBezTo>
                    <a:pt x="104" y="370"/>
                    <a:pt x="104" y="370"/>
                    <a:pt x="104" y="370"/>
                  </a:cubicBezTo>
                  <a:cubicBezTo>
                    <a:pt x="109" y="382"/>
                    <a:pt x="109" y="382"/>
                    <a:pt x="109" y="382"/>
                  </a:cubicBezTo>
                  <a:cubicBezTo>
                    <a:pt x="111" y="389"/>
                    <a:pt x="111" y="389"/>
                    <a:pt x="111" y="389"/>
                  </a:cubicBezTo>
                  <a:cubicBezTo>
                    <a:pt x="113" y="393"/>
                    <a:pt x="113" y="393"/>
                    <a:pt x="113" y="393"/>
                  </a:cubicBezTo>
                  <a:cubicBezTo>
                    <a:pt x="119" y="401"/>
                    <a:pt x="119" y="401"/>
                    <a:pt x="119" y="401"/>
                  </a:cubicBezTo>
                  <a:cubicBezTo>
                    <a:pt x="123" y="404"/>
                    <a:pt x="123" y="404"/>
                    <a:pt x="123" y="404"/>
                  </a:cubicBezTo>
                  <a:cubicBezTo>
                    <a:pt x="127" y="404"/>
                    <a:pt x="127" y="404"/>
                    <a:pt x="127" y="404"/>
                  </a:cubicBezTo>
                  <a:cubicBezTo>
                    <a:pt x="129" y="401"/>
                    <a:pt x="129" y="401"/>
                    <a:pt x="129" y="401"/>
                  </a:cubicBezTo>
                  <a:cubicBezTo>
                    <a:pt x="132" y="399"/>
                    <a:pt x="132" y="399"/>
                    <a:pt x="132" y="399"/>
                  </a:cubicBezTo>
                  <a:cubicBezTo>
                    <a:pt x="134" y="392"/>
                    <a:pt x="134" y="392"/>
                    <a:pt x="134" y="392"/>
                  </a:cubicBezTo>
                  <a:cubicBezTo>
                    <a:pt x="139" y="389"/>
                    <a:pt x="139" y="389"/>
                    <a:pt x="139" y="389"/>
                  </a:cubicBezTo>
                  <a:cubicBezTo>
                    <a:pt x="143" y="388"/>
                    <a:pt x="143" y="388"/>
                    <a:pt x="143" y="388"/>
                  </a:cubicBezTo>
                  <a:cubicBezTo>
                    <a:pt x="143" y="384"/>
                    <a:pt x="143" y="384"/>
                    <a:pt x="143" y="384"/>
                  </a:cubicBezTo>
                  <a:cubicBezTo>
                    <a:pt x="146" y="379"/>
                    <a:pt x="146" y="379"/>
                    <a:pt x="146" y="379"/>
                  </a:cubicBezTo>
                  <a:cubicBezTo>
                    <a:pt x="148" y="375"/>
                    <a:pt x="148" y="375"/>
                    <a:pt x="148" y="375"/>
                  </a:cubicBezTo>
                  <a:cubicBezTo>
                    <a:pt x="151" y="374"/>
                    <a:pt x="151" y="374"/>
                    <a:pt x="151" y="374"/>
                  </a:cubicBezTo>
                  <a:cubicBezTo>
                    <a:pt x="153" y="375"/>
                    <a:pt x="153" y="375"/>
                    <a:pt x="153" y="375"/>
                  </a:cubicBezTo>
                  <a:cubicBezTo>
                    <a:pt x="155" y="375"/>
                    <a:pt x="155" y="375"/>
                    <a:pt x="155" y="375"/>
                  </a:cubicBezTo>
                  <a:cubicBezTo>
                    <a:pt x="154" y="357"/>
                    <a:pt x="154" y="357"/>
                    <a:pt x="154" y="357"/>
                  </a:cubicBezTo>
                  <a:cubicBezTo>
                    <a:pt x="155" y="354"/>
                    <a:pt x="155" y="354"/>
                    <a:pt x="155" y="354"/>
                  </a:cubicBezTo>
                  <a:cubicBezTo>
                    <a:pt x="159" y="345"/>
                    <a:pt x="159" y="345"/>
                    <a:pt x="159" y="345"/>
                  </a:cubicBezTo>
                  <a:cubicBezTo>
                    <a:pt x="161" y="337"/>
                    <a:pt x="161" y="337"/>
                    <a:pt x="161" y="337"/>
                  </a:cubicBezTo>
                  <a:cubicBezTo>
                    <a:pt x="161" y="333"/>
                    <a:pt x="161" y="333"/>
                    <a:pt x="161" y="333"/>
                  </a:cubicBezTo>
                  <a:cubicBezTo>
                    <a:pt x="158" y="330"/>
                    <a:pt x="158" y="330"/>
                    <a:pt x="158" y="330"/>
                  </a:cubicBezTo>
                  <a:cubicBezTo>
                    <a:pt x="159" y="330"/>
                    <a:pt x="159" y="330"/>
                    <a:pt x="159" y="330"/>
                  </a:cubicBezTo>
                  <a:cubicBezTo>
                    <a:pt x="160" y="330"/>
                    <a:pt x="160" y="330"/>
                    <a:pt x="160" y="330"/>
                  </a:cubicBezTo>
                  <a:cubicBezTo>
                    <a:pt x="158" y="323"/>
                    <a:pt x="158" y="323"/>
                    <a:pt x="158" y="323"/>
                  </a:cubicBezTo>
                  <a:cubicBezTo>
                    <a:pt x="159" y="318"/>
                    <a:pt x="159" y="318"/>
                    <a:pt x="159" y="318"/>
                  </a:cubicBezTo>
                  <a:cubicBezTo>
                    <a:pt x="158" y="316"/>
                    <a:pt x="158" y="316"/>
                    <a:pt x="158" y="316"/>
                  </a:cubicBezTo>
                  <a:cubicBezTo>
                    <a:pt x="157" y="313"/>
                    <a:pt x="157" y="313"/>
                    <a:pt x="157" y="313"/>
                  </a:cubicBezTo>
                  <a:cubicBezTo>
                    <a:pt x="157" y="308"/>
                    <a:pt x="157" y="308"/>
                    <a:pt x="157" y="308"/>
                  </a:cubicBezTo>
                  <a:cubicBezTo>
                    <a:pt x="161" y="302"/>
                    <a:pt x="161" y="302"/>
                    <a:pt x="161" y="302"/>
                  </a:cubicBezTo>
                  <a:cubicBezTo>
                    <a:pt x="164" y="301"/>
                    <a:pt x="164" y="301"/>
                    <a:pt x="164" y="301"/>
                  </a:cubicBezTo>
                  <a:cubicBezTo>
                    <a:pt x="166" y="301"/>
                    <a:pt x="166" y="301"/>
                    <a:pt x="166" y="301"/>
                  </a:cubicBezTo>
                  <a:cubicBezTo>
                    <a:pt x="168" y="302"/>
                    <a:pt x="168" y="302"/>
                    <a:pt x="168" y="302"/>
                  </a:cubicBezTo>
                  <a:cubicBezTo>
                    <a:pt x="170" y="301"/>
                    <a:pt x="170" y="301"/>
                    <a:pt x="170" y="301"/>
                  </a:cubicBezTo>
                  <a:cubicBezTo>
                    <a:pt x="174" y="295"/>
                    <a:pt x="174" y="295"/>
                    <a:pt x="174" y="295"/>
                  </a:cubicBezTo>
                  <a:cubicBezTo>
                    <a:pt x="180" y="294"/>
                    <a:pt x="180" y="294"/>
                    <a:pt x="180" y="294"/>
                  </a:cubicBezTo>
                  <a:cubicBezTo>
                    <a:pt x="185" y="292"/>
                    <a:pt x="185" y="292"/>
                    <a:pt x="185" y="292"/>
                  </a:cubicBezTo>
                  <a:cubicBezTo>
                    <a:pt x="187" y="290"/>
                    <a:pt x="187" y="290"/>
                    <a:pt x="187" y="290"/>
                  </a:cubicBezTo>
                  <a:cubicBezTo>
                    <a:pt x="187" y="287"/>
                    <a:pt x="187" y="287"/>
                    <a:pt x="187" y="287"/>
                  </a:cubicBezTo>
                  <a:cubicBezTo>
                    <a:pt x="188" y="285"/>
                    <a:pt x="188" y="285"/>
                    <a:pt x="188" y="285"/>
                  </a:cubicBezTo>
                  <a:cubicBezTo>
                    <a:pt x="202" y="275"/>
                    <a:pt x="202" y="275"/>
                    <a:pt x="202" y="275"/>
                  </a:cubicBezTo>
                  <a:cubicBezTo>
                    <a:pt x="205" y="271"/>
                    <a:pt x="205" y="271"/>
                    <a:pt x="205" y="271"/>
                  </a:cubicBezTo>
                  <a:cubicBezTo>
                    <a:pt x="212" y="266"/>
                    <a:pt x="212" y="266"/>
                    <a:pt x="212" y="266"/>
                  </a:cubicBezTo>
                  <a:cubicBezTo>
                    <a:pt x="223" y="254"/>
                    <a:pt x="223" y="254"/>
                    <a:pt x="223" y="254"/>
                  </a:cubicBezTo>
                  <a:cubicBezTo>
                    <a:pt x="226" y="251"/>
                    <a:pt x="226" y="251"/>
                    <a:pt x="226" y="251"/>
                  </a:cubicBezTo>
                  <a:cubicBezTo>
                    <a:pt x="234" y="247"/>
                    <a:pt x="234" y="247"/>
                    <a:pt x="234" y="247"/>
                  </a:cubicBezTo>
                  <a:cubicBezTo>
                    <a:pt x="241" y="244"/>
                    <a:pt x="241" y="244"/>
                    <a:pt x="241" y="244"/>
                  </a:cubicBezTo>
                  <a:cubicBezTo>
                    <a:pt x="245" y="241"/>
                    <a:pt x="245" y="241"/>
                    <a:pt x="245" y="241"/>
                  </a:cubicBezTo>
                  <a:cubicBezTo>
                    <a:pt x="250" y="234"/>
                    <a:pt x="250" y="234"/>
                    <a:pt x="250" y="234"/>
                  </a:cubicBezTo>
                  <a:cubicBezTo>
                    <a:pt x="248" y="229"/>
                    <a:pt x="248" y="229"/>
                    <a:pt x="248" y="229"/>
                  </a:cubicBezTo>
                  <a:cubicBezTo>
                    <a:pt x="250" y="225"/>
                    <a:pt x="250" y="225"/>
                    <a:pt x="250" y="225"/>
                  </a:cubicBezTo>
                  <a:cubicBezTo>
                    <a:pt x="261" y="219"/>
                    <a:pt x="261" y="219"/>
                    <a:pt x="261" y="219"/>
                  </a:cubicBezTo>
                  <a:cubicBezTo>
                    <a:pt x="264" y="214"/>
                    <a:pt x="264" y="214"/>
                    <a:pt x="264" y="214"/>
                  </a:cubicBezTo>
                  <a:cubicBezTo>
                    <a:pt x="265" y="214"/>
                    <a:pt x="265" y="214"/>
                    <a:pt x="265" y="214"/>
                  </a:cubicBezTo>
                  <a:cubicBezTo>
                    <a:pt x="265" y="220"/>
                    <a:pt x="265" y="220"/>
                    <a:pt x="265" y="220"/>
                  </a:cubicBezTo>
                  <a:cubicBezTo>
                    <a:pt x="266" y="221"/>
                    <a:pt x="266" y="221"/>
                    <a:pt x="266" y="221"/>
                  </a:cubicBezTo>
                  <a:cubicBezTo>
                    <a:pt x="267" y="223"/>
                    <a:pt x="267" y="223"/>
                    <a:pt x="267" y="223"/>
                  </a:cubicBezTo>
                  <a:cubicBezTo>
                    <a:pt x="269" y="222"/>
                    <a:pt x="269" y="222"/>
                    <a:pt x="269" y="222"/>
                  </a:cubicBezTo>
                  <a:cubicBezTo>
                    <a:pt x="270" y="221"/>
                    <a:pt x="270" y="221"/>
                    <a:pt x="270" y="221"/>
                  </a:cubicBezTo>
                  <a:cubicBezTo>
                    <a:pt x="271" y="221"/>
                    <a:pt x="271" y="221"/>
                    <a:pt x="271" y="221"/>
                  </a:cubicBezTo>
                  <a:cubicBezTo>
                    <a:pt x="272" y="218"/>
                    <a:pt x="272" y="218"/>
                    <a:pt x="272" y="218"/>
                  </a:cubicBezTo>
                  <a:cubicBezTo>
                    <a:pt x="274" y="222"/>
                    <a:pt x="274" y="222"/>
                    <a:pt x="274" y="222"/>
                  </a:cubicBezTo>
                  <a:cubicBezTo>
                    <a:pt x="275" y="221"/>
                    <a:pt x="275" y="221"/>
                    <a:pt x="275" y="221"/>
                  </a:cubicBezTo>
                  <a:cubicBezTo>
                    <a:pt x="274" y="218"/>
                    <a:pt x="274" y="218"/>
                    <a:pt x="274" y="218"/>
                  </a:cubicBezTo>
                  <a:cubicBezTo>
                    <a:pt x="274" y="216"/>
                    <a:pt x="274" y="216"/>
                    <a:pt x="274" y="216"/>
                  </a:cubicBezTo>
                  <a:cubicBezTo>
                    <a:pt x="273" y="209"/>
                    <a:pt x="273" y="209"/>
                    <a:pt x="273" y="209"/>
                  </a:cubicBezTo>
                  <a:cubicBezTo>
                    <a:pt x="271" y="206"/>
                    <a:pt x="271" y="206"/>
                    <a:pt x="271" y="206"/>
                  </a:cubicBezTo>
                  <a:cubicBezTo>
                    <a:pt x="272" y="199"/>
                    <a:pt x="272" y="199"/>
                    <a:pt x="272" y="199"/>
                  </a:cubicBezTo>
                  <a:cubicBezTo>
                    <a:pt x="270" y="198"/>
                    <a:pt x="270" y="198"/>
                    <a:pt x="270" y="198"/>
                  </a:cubicBezTo>
                  <a:cubicBezTo>
                    <a:pt x="270" y="195"/>
                    <a:pt x="270" y="195"/>
                    <a:pt x="270" y="195"/>
                  </a:cubicBezTo>
                  <a:cubicBezTo>
                    <a:pt x="269" y="193"/>
                    <a:pt x="269" y="193"/>
                    <a:pt x="269" y="193"/>
                  </a:cubicBezTo>
                  <a:cubicBezTo>
                    <a:pt x="270" y="183"/>
                    <a:pt x="270" y="183"/>
                    <a:pt x="270" y="183"/>
                  </a:cubicBezTo>
                  <a:cubicBezTo>
                    <a:pt x="267" y="181"/>
                    <a:pt x="267" y="181"/>
                    <a:pt x="267" y="181"/>
                  </a:cubicBezTo>
                  <a:cubicBezTo>
                    <a:pt x="262" y="178"/>
                    <a:pt x="262" y="178"/>
                    <a:pt x="262" y="178"/>
                  </a:cubicBezTo>
                  <a:cubicBezTo>
                    <a:pt x="261" y="177"/>
                    <a:pt x="261" y="177"/>
                    <a:pt x="261" y="177"/>
                  </a:cubicBezTo>
                  <a:cubicBezTo>
                    <a:pt x="263" y="174"/>
                    <a:pt x="263" y="174"/>
                    <a:pt x="263" y="174"/>
                  </a:cubicBezTo>
                  <a:cubicBezTo>
                    <a:pt x="266" y="173"/>
                    <a:pt x="266" y="173"/>
                    <a:pt x="266" y="173"/>
                  </a:cubicBezTo>
                  <a:cubicBezTo>
                    <a:pt x="267" y="171"/>
                    <a:pt x="267" y="171"/>
                    <a:pt x="267" y="171"/>
                  </a:cubicBezTo>
                  <a:cubicBezTo>
                    <a:pt x="272" y="170"/>
                    <a:pt x="272" y="170"/>
                    <a:pt x="272" y="170"/>
                  </a:cubicBezTo>
                  <a:cubicBezTo>
                    <a:pt x="271" y="167"/>
                    <a:pt x="271" y="167"/>
                    <a:pt x="271" y="167"/>
                  </a:cubicBezTo>
                  <a:cubicBezTo>
                    <a:pt x="267" y="167"/>
                    <a:pt x="267" y="167"/>
                    <a:pt x="267" y="167"/>
                  </a:cubicBezTo>
                  <a:cubicBezTo>
                    <a:pt x="266" y="166"/>
                    <a:pt x="266" y="166"/>
                    <a:pt x="266" y="166"/>
                  </a:cubicBezTo>
                  <a:cubicBezTo>
                    <a:pt x="265" y="163"/>
                    <a:pt x="265" y="163"/>
                    <a:pt x="265" y="163"/>
                  </a:cubicBezTo>
                  <a:cubicBezTo>
                    <a:pt x="264" y="162"/>
                    <a:pt x="264" y="162"/>
                    <a:pt x="264" y="162"/>
                  </a:cubicBezTo>
                  <a:cubicBezTo>
                    <a:pt x="267" y="156"/>
                    <a:pt x="267" y="156"/>
                    <a:pt x="267" y="156"/>
                  </a:cubicBezTo>
                  <a:cubicBezTo>
                    <a:pt x="268" y="153"/>
                    <a:pt x="268" y="153"/>
                    <a:pt x="268" y="153"/>
                  </a:cubicBezTo>
                  <a:cubicBezTo>
                    <a:pt x="269" y="153"/>
                    <a:pt x="269" y="153"/>
                    <a:pt x="269" y="153"/>
                  </a:cubicBezTo>
                  <a:cubicBezTo>
                    <a:pt x="273" y="159"/>
                    <a:pt x="273" y="159"/>
                    <a:pt x="273" y="159"/>
                  </a:cubicBezTo>
                  <a:cubicBezTo>
                    <a:pt x="274" y="154"/>
                    <a:pt x="274" y="154"/>
                    <a:pt x="274" y="154"/>
                  </a:cubicBezTo>
                  <a:cubicBezTo>
                    <a:pt x="275" y="155"/>
                    <a:pt x="275" y="155"/>
                    <a:pt x="275" y="155"/>
                  </a:cubicBezTo>
                  <a:cubicBezTo>
                    <a:pt x="276" y="158"/>
                    <a:pt x="276" y="158"/>
                    <a:pt x="276" y="158"/>
                  </a:cubicBezTo>
                  <a:cubicBezTo>
                    <a:pt x="278" y="160"/>
                    <a:pt x="278" y="160"/>
                    <a:pt x="278" y="160"/>
                  </a:cubicBezTo>
                  <a:cubicBezTo>
                    <a:pt x="279" y="159"/>
                    <a:pt x="279" y="159"/>
                    <a:pt x="279" y="159"/>
                  </a:cubicBezTo>
                  <a:cubicBezTo>
                    <a:pt x="281" y="160"/>
                    <a:pt x="281" y="160"/>
                    <a:pt x="281" y="160"/>
                  </a:cubicBezTo>
                  <a:cubicBezTo>
                    <a:pt x="283" y="157"/>
                    <a:pt x="283" y="157"/>
                    <a:pt x="283" y="157"/>
                  </a:cubicBezTo>
                  <a:cubicBezTo>
                    <a:pt x="286" y="167"/>
                    <a:pt x="286" y="167"/>
                    <a:pt x="286" y="167"/>
                  </a:cubicBezTo>
                  <a:cubicBezTo>
                    <a:pt x="287" y="169"/>
                    <a:pt x="287" y="169"/>
                    <a:pt x="287" y="169"/>
                  </a:cubicBezTo>
                  <a:cubicBezTo>
                    <a:pt x="290" y="170"/>
                    <a:pt x="290" y="170"/>
                    <a:pt x="290" y="170"/>
                  </a:cubicBezTo>
                  <a:cubicBezTo>
                    <a:pt x="300" y="171"/>
                    <a:pt x="300" y="171"/>
                    <a:pt x="300" y="171"/>
                  </a:cubicBezTo>
                  <a:cubicBezTo>
                    <a:pt x="305" y="170"/>
                    <a:pt x="305" y="170"/>
                    <a:pt x="305" y="170"/>
                  </a:cubicBezTo>
                  <a:cubicBezTo>
                    <a:pt x="310" y="170"/>
                    <a:pt x="310" y="170"/>
                    <a:pt x="310" y="170"/>
                  </a:cubicBezTo>
                  <a:cubicBezTo>
                    <a:pt x="316" y="171"/>
                    <a:pt x="316" y="171"/>
                    <a:pt x="316" y="171"/>
                  </a:cubicBezTo>
                  <a:cubicBezTo>
                    <a:pt x="320" y="173"/>
                    <a:pt x="320" y="173"/>
                    <a:pt x="320" y="173"/>
                  </a:cubicBezTo>
                  <a:cubicBezTo>
                    <a:pt x="319" y="174"/>
                    <a:pt x="319" y="174"/>
                    <a:pt x="319" y="174"/>
                  </a:cubicBezTo>
                  <a:cubicBezTo>
                    <a:pt x="317" y="175"/>
                    <a:pt x="317" y="175"/>
                    <a:pt x="317" y="175"/>
                  </a:cubicBezTo>
                  <a:cubicBezTo>
                    <a:pt x="316" y="178"/>
                    <a:pt x="316" y="178"/>
                    <a:pt x="316" y="178"/>
                  </a:cubicBezTo>
                  <a:cubicBezTo>
                    <a:pt x="313" y="182"/>
                    <a:pt x="313" y="182"/>
                    <a:pt x="313" y="182"/>
                  </a:cubicBezTo>
                  <a:cubicBezTo>
                    <a:pt x="304" y="188"/>
                    <a:pt x="304" y="188"/>
                    <a:pt x="304" y="188"/>
                  </a:cubicBezTo>
                  <a:cubicBezTo>
                    <a:pt x="304" y="189"/>
                    <a:pt x="304" y="189"/>
                    <a:pt x="304" y="189"/>
                  </a:cubicBezTo>
                  <a:cubicBezTo>
                    <a:pt x="304" y="194"/>
                    <a:pt x="304" y="194"/>
                    <a:pt x="304" y="194"/>
                  </a:cubicBezTo>
                  <a:cubicBezTo>
                    <a:pt x="305" y="197"/>
                    <a:pt x="305" y="197"/>
                    <a:pt x="305" y="197"/>
                  </a:cubicBezTo>
                  <a:cubicBezTo>
                    <a:pt x="308" y="198"/>
                    <a:pt x="308" y="198"/>
                    <a:pt x="308" y="198"/>
                  </a:cubicBezTo>
                  <a:cubicBezTo>
                    <a:pt x="309" y="200"/>
                    <a:pt x="309" y="200"/>
                    <a:pt x="309" y="200"/>
                  </a:cubicBezTo>
                  <a:cubicBezTo>
                    <a:pt x="311" y="202"/>
                    <a:pt x="311" y="202"/>
                    <a:pt x="311" y="202"/>
                  </a:cubicBezTo>
                  <a:cubicBezTo>
                    <a:pt x="314" y="195"/>
                    <a:pt x="314" y="195"/>
                    <a:pt x="314" y="195"/>
                  </a:cubicBezTo>
                  <a:cubicBezTo>
                    <a:pt x="316" y="191"/>
                    <a:pt x="316" y="191"/>
                    <a:pt x="316" y="191"/>
                  </a:cubicBezTo>
                  <a:cubicBezTo>
                    <a:pt x="318" y="192"/>
                    <a:pt x="318" y="192"/>
                    <a:pt x="318" y="192"/>
                  </a:cubicBezTo>
                  <a:cubicBezTo>
                    <a:pt x="319" y="195"/>
                    <a:pt x="319" y="195"/>
                    <a:pt x="319" y="195"/>
                  </a:cubicBezTo>
                  <a:cubicBezTo>
                    <a:pt x="322" y="203"/>
                    <a:pt x="322" y="203"/>
                    <a:pt x="322" y="203"/>
                  </a:cubicBezTo>
                  <a:cubicBezTo>
                    <a:pt x="324" y="217"/>
                    <a:pt x="324" y="217"/>
                    <a:pt x="324" y="217"/>
                  </a:cubicBezTo>
                  <a:cubicBezTo>
                    <a:pt x="326" y="215"/>
                    <a:pt x="326" y="215"/>
                    <a:pt x="326" y="215"/>
                  </a:cubicBezTo>
                  <a:cubicBezTo>
                    <a:pt x="329" y="216"/>
                    <a:pt x="329" y="216"/>
                    <a:pt x="329" y="216"/>
                  </a:cubicBezTo>
                  <a:cubicBezTo>
                    <a:pt x="331" y="214"/>
                    <a:pt x="331" y="214"/>
                    <a:pt x="331" y="214"/>
                  </a:cubicBezTo>
                  <a:cubicBezTo>
                    <a:pt x="331" y="213"/>
                    <a:pt x="331" y="213"/>
                    <a:pt x="331" y="213"/>
                  </a:cubicBezTo>
                  <a:cubicBezTo>
                    <a:pt x="330" y="210"/>
                    <a:pt x="330" y="210"/>
                    <a:pt x="330" y="210"/>
                  </a:cubicBezTo>
                  <a:cubicBezTo>
                    <a:pt x="330" y="207"/>
                    <a:pt x="330" y="207"/>
                    <a:pt x="330" y="207"/>
                  </a:cubicBezTo>
                  <a:cubicBezTo>
                    <a:pt x="330" y="204"/>
                    <a:pt x="330" y="204"/>
                    <a:pt x="330" y="204"/>
                  </a:cubicBezTo>
                  <a:cubicBezTo>
                    <a:pt x="333" y="204"/>
                    <a:pt x="333" y="204"/>
                    <a:pt x="333" y="204"/>
                  </a:cubicBezTo>
                  <a:cubicBezTo>
                    <a:pt x="333" y="203"/>
                    <a:pt x="333" y="203"/>
                    <a:pt x="333" y="203"/>
                  </a:cubicBezTo>
                  <a:cubicBezTo>
                    <a:pt x="334" y="198"/>
                    <a:pt x="334" y="198"/>
                    <a:pt x="334" y="198"/>
                  </a:cubicBezTo>
                  <a:cubicBezTo>
                    <a:pt x="334" y="192"/>
                    <a:pt x="334" y="192"/>
                    <a:pt x="334" y="192"/>
                  </a:cubicBezTo>
                  <a:cubicBezTo>
                    <a:pt x="336" y="190"/>
                    <a:pt x="336" y="190"/>
                    <a:pt x="336" y="190"/>
                  </a:cubicBezTo>
                  <a:cubicBezTo>
                    <a:pt x="339" y="190"/>
                    <a:pt x="339" y="190"/>
                    <a:pt x="339" y="190"/>
                  </a:cubicBezTo>
                  <a:cubicBezTo>
                    <a:pt x="344" y="190"/>
                    <a:pt x="344" y="190"/>
                    <a:pt x="344" y="190"/>
                  </a:cubicBezTo>
                  <a:cubicBezTo>
                    <a:pt x="346" y="189"/>
                    <a:pt x="346" y="189"/>
                    <a:pt x="346" y="189"/>
                  </a:cubicBezTo>
                  <a:cubicBezTo>
                    <a:pt x="347" y="184"/>
                    <a:pt x="347" y="184"/>
                    <a:pt x="347" y="184"/>
                  </a:cubicBezTo>
                  <a:cubicBezTo>
                    <a:pt x="351" y="176"/>
                    <a:pt x="351" y="176"/>
                    <a:pt x="351" y="176"/>
                  </a:cubicBezTo>
                  <a:cubicBezTo>
                    <a:pt x="352" y="173"/>
                    <a:pt x="352" y="173"/>
                    <a:pt x="352" y="173"/>
                  </a:cubicBezTo>
                  <a:cubicBezTo>
                    <a:pt x="352" y="171"/>
                    <a:pt x="352" y="171"/>
                    <a:pt x="352" y="171"/>
                  </a:cubicBezTo>
                  <a:cubicBezTo>
                    <a:pt x="353" y="169"/>
                    <a:pt x="353" y="169"/>
                    <a:pt x="353" y="169"/>
                  </a:cubicBezTo>
                  <a:cubicBezTo>
                    <a:pt x="357" y="167"/>
                    <a:pt x="357" y="167"/>
                    <a:pt x="357" y="167"/>
                  </a:cubicBezTo>
                  <a:cubicBezTo>
                    <a:pt x="358" y="163"/>
                    <a:pt x="358" y="163"/>
                    <a:pt x="358" y="163"/>
                  </a:cubicBezTo>
                  <a:cubicBezTo>
                    <a:pt x="358" y="157"/>
                    <a:pt x="358" y="157"/>
                    <a:pt x="358" y="157"/>
                  </a:cubicBezTo>
                  <a:cubicBezTo>
                    <a:pt x="360" y="153"/>
                    <a:pt x="360" y="153"/>
                    <a:pt x="360" y="153"/>
                  </a:cubicBezTo>
                  <a:cubicBezTo>
                    <a:pt x="363" y="151"/>
                    <a:pt x="363" y="151"/>
                    <a:pt x="363" y="151"/>
                  </a:cubicBezTo>
                  <a:cubicBezTo>
                    <a:pt x="367" y="149"/>
                    <a:pt x="367" y="149"/>
                    <a:pt x="367" y="149"/>
                  </a:cubicBezTo>
                  <a:cubicBezTo>
                    <a:pt x="369" y="147"/>
                    <a:pt x="369" y="147"/>
                    <a:pt x="369" y="147"/>
                  </a:cubicBezTo>
                  <a:cubicBezTo>
                    <a:pt x="371" y="144"/>
                    <a:pt x="371" y="144"/>
                    <a:pt x="371" y="144"/>
                  </a:cubicBezTo>
                  <a:cubicBezTo>
                    <a:pt x="376" y="143"/>
                    <a:pt x="376" y="143"/>
                    <a:pt x="376" y="143"/>
                  </a:cubicBezTo>
                  <a:cubicBezTo>
                    <a:pt x="378" y="142"/>
                    <a:pt x="378" y="142"/>
                    <a:pt x="378" y="142"/>
                  </a:cubicBezTo>
                  <a:cubicBezTo>
                    <a:pt x="382" y="143"/>
                    <a:pt x="382" y="143"/>
                    <a:pt x="382" y="143"/>
                  </a:cubicBezTo>
                  <a:cubicBezTo>
                    <a:pt x="384" y="142"/>
                    <a:pt x="384" y="142"/>
                    <a:pt x="384" y="142"/>
                  </a:cubicBezTo>
                  <a:cubicBezTo>
                    <a:pt x="383" y="138"/>
                    <a:pt x="383" y="138"/>
                    <a:pt x="383" y="138"/>
                  </a:cubicBezTo>
                  <a:cubicBezTo>
                    <a:pt x="384" y="135"/>
                    <a:pt x="384" y="135"/>
                    <a:pt x="384" y="135"/>
                  </a:cubicBezTo>
                  <a:cubicBezTo>
                    <a:pt x="388" y="133"/>
                    <a:pt x="388" y="133"/>
                    <a:pt x="388" y="133"/>
                  </a:cubicBezTo>
                  <a:cubicBezTo>
                    <a:pt x="388" y="129"/>
                    <a:pt x="388" y="129"/>
                    <a:pt x="388" y="129"/>
                  </a:cubicBezTo>
                  <a:lnTo>
                    <a:pt x="385" y="127"/>
                  </a:lnTo>
                  <a:close/>
                </a:path>
              </a:pathLst>
            </a:custGeom>
            <a:solidFill>
              <a:srgbClr val="92ADCE"/>
            </a:solidFill>
            <a:ln w="6350" cap="flat" cmpd="sng">
              <a:solidFill>
                <a:srgbClr val="82673C"/>
              </a:solidFill>
              <a:prstDash val="solid"/>
              <a:bevel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  <p:sp>
          <p:nvSpPr>
            <p:cNvPr id="58603" name="Freeform 292"/>
            <p:cNvSpPr>
              <a:spLocks noChangeAspect="1"/>
            </p:cNvSpPr>
            <p:nvPr/>
          </p:nvSpPr>
          <p:spPr bwMode="gray">
            <a:xfrm>
              <a:off x="4469" y="2439"/>
              <a:ext cx="6" cy="28"/>
            </a:xfrm>
            <a:custGeom>
              <a:avLst/>
              <a:gdLst>
                <a:gd name="T0" fmla="*/ 0 w 120"/>
                <a:gd name="T1" fmla="*/ 0 h 516"/>
                <a:gd name="T2" fmla="*/ 0 w 120"/>
                <a:gd name="T3" fmla="*/ 0 h 516"/>
                <a:gd name="T4" fmla="*/ 0 w 120"/>
                <a:gd name="T5" fmla="*/ 0 h 516"/>
                <a:gd name="T6" fmla="*/ 0 w 120"/>
                <a:gd name="T7" fmla="*/ 0 h 516"/>
                <a:gd name="T8" fmla="*/ 0 w 120"/>
                <a:gd name="T9" fmla="*/ 0 h 516"/>
                <a:gd name="T10" fmla="*/ 0 w 120"/>
                <a:gd name="T11" fmla="*/ 0 h 516"/>
                <a:gd name="T12" fmla="*/ 0 w 120"/>
                <a:gd name="T13" fmla="*/ 0 h 516"/>
                <a:gd name="T14" fmla="*/ 0 w 120"/>
                <a:gd name="T15" fmla="*/ 0 h 516"/>
                <a:gd name="T16" fmla="*/ 0 w 120"/>
                <a:gd name="T17" fmla="*/ 0 h 51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0"/>
                <a:gd name="T28" fmla="*/ 0 h 516"/>
                <a:gd name="T29" fmla="*/ 120 w 120"/>
                <a:gd name="T30" fmla="*/ 516 h 51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0" h="516">
                  <a:moveTo>
                    <a:pt x="89" y="0"/>
                  </a:moveTo>
                  <a:lnTo>
                    <a:pt x="120" y="0"/>
                  </a:lnTo>
                  <a:lnTo>
                    <a:pt x="114" y="114"/>
                  </a:lnTo>
                  <a:lnTo>
                    <a:pt x="90" y="135"/>
                  </a:lnTo>
                  <a:lnTo>
                    <a:pt x="56" y="510"/>
                  </a:lnTo>
                  <a:lnTo>
                    <a:pt x="27" y="516"/>
                  </a:lnTo>
                  <a:lnTo>
                    <a:pt x="0" y="421"/>
                  </a:lnTo>
                  <a:lnTo>
                    <a:pt x="36" y="337"/>
                  </a:lnTo>
                  <a:lnTo>
                    <a:pt x="89" y="0"/>
                  </a:lnTo>
                  <a:close/>
                </a:path>
              </a:pathLst>
            </a:custGeom>
            <a:solidFill>
              <a:srgbClr val="92ADCE"/>
            </a:solidFill>
            <a:ln w="6350" cap="flat" cmpd="sng">
              <a:solidFill>
                <a:srgbClr val="82673C"/>
              </a:solidFill>
              <a:prstDash val="solid"/>
              <a:bevel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>
                <a:latin typeface="Calibri" pitchFamily="34" charset="0"/>
              </a:endParaRPr>
            </a:p>
          </p:txBody>
        </p:sp>
      </p:grpSp>
      <p:sp>
        <p:nvSpPr>
          <p:cNvPr id="58565" name="Freeform 293"/>
          <p:cNvSpPr>
            <a:spLocks noChangeAspect="1"/>
          </p:cNvSpPr>
          <p:nvPr/>
        </p:nvSpPr>
        <p:spPr bwMode="gray">
          <a:xfrm>
            <a:off x="5764213" y="2900363"/>
            <a:ext cx="320675" cy="244475"/>
          </a:xfrm>
          <a:custGeom>
            <a:avLst/>
            <a:gdLst>
              <a:gd name="T0" fmla="*/ 2147483647 w 660"/>
              <a:gd name="T1" fmla="*/ 2147483647 h 502"/>
              <a:gd name="T2" fmla="*/ 2147483647 w 660"/>
              <a:gd name="T3" fmla="*/ 2147483647 h 502"/>
              <a:gd name="T4" fmla="*/ 0 w 660"/>
              <a:gd name="T5" fmla="*/ 2147483647 h 502"/>
              <a:gd name="T6" fmla="*/ 2147483647 w 660"/>
              <a:gd name="T7" fmla="*/ 2147483647 h 502"/>
              <a:gd name="T8" fmla="*/ 2147483647 w 660"/>
              <a:gd name="T9" fmla="*/ 2147483647 h 502"/>
              <a:gd name="T10" fmla="*/ 2147483647 w 660"/>
              <a:gd name="T11" fmla="*/ 2147483647 h 502"/>
              <a:gd name="T12" fmla="*/ 2147483647 w 660"/>
              <a:gd name="T13" fmla="*/ 2147483647 h 502"/>
              <a:gd name="T14" fmla="*/ 2147483647 w 660"/>
              <a:gd name="T15" fmla="*/ 2147483647 h 502"/>
              <a:gd name="T16" fmla="*/ 2147483647 w 660"/>
              <a:gd name="T17" fmla="*/ 2147483647 h 502"/>
              <a:gd name="T18" fmla="*/ 2147483647 w 660"/>
              <a:gd name="T19" fmla="*/ 2147483647 h 502"/>
              <a:gd name="T20" fmla="*/ 2147483647 w 660"/>
              <a:gd name="T21" fmla="*/ 2147483647 h 502"/>
              <a:gd name="T22" fmla="*/ 2147483647 w 660"/>
              <a:gd name="T23" fmla="*/ 2147483647 h 502"/>
              <a:gd name="T24" fmla="*/ 2147483647 w 660"/>
              <a:gd name="T25" fmla="*/ 2147483647 h 502"/>
              <a:gd name="T26" fmla="*/ 2147483647 w 660"/>
              <a:gd name="T27" fmla="*/ 2147483647 h 502"/>
              <a:gd name="T28" fmla="*/ 2147483647 w 660"/>
              <a:gd name="T29" fmla="*/ 2147483647 h 502"/>
              <a:gd name="T30" fmla="*/ 2147483647 w 660"/>
              <a:gd name="T31" fmla="*/ 2147483647 h 502"/>
              <a:gd name="T32" fmla="*/ 2147483647 w 660"/>
              <a:gd name="T33" fmla="*/ 2147483647 h 502"/>
              <a:gd name="T34" fmla="*/ 2147483647 w 660"/>
              <a:gd name="T35" fmla="*/ 2147483647 h 502"/>
              <a:gd name="T36" fmla="*/ 2147483647 w 660"/>
              <a:gd name="T37" fmla="*/ 2147483647 h 502"/>
              <a:gd name="T38" fmla="*/ 2147483647 w 660"/>
              <a:gd name="T39" fmla="*/ 2147483647 h 502"/>
              <a:gd name="T40" fmla="*/ 2147483647 w 660"/>
              <a:gd name="T41" fmla="*/ 2147483647 h 502"/>
              <a:gd name="T42" fmla="*/ 2147483647 w 660"/>
              <a:gd name="T43" fmla="*/ 2147483647 h 502"/>
              <a:gd name="T44" fmla="*/ 2147483647 w 660"/>
              <a:gd name="T45" fmla="*/ 2147483647 h 502"/>
              <a:gd name="T46" fmla="*/ 2147483647 w 660"/>
              <a:gd name="T47" fmla="*/ 2147483647 h 502"/>
              <a:gd name="T48" fmla="*/ 2147483647 w 660"/>
              <a:gd name="T49" fmla="*/ 2147483647 h 502"/>
              <a:gd name="T50" fmla="*/ 2147483647 w 660"/>
              <a:gd name="T51" fmla="*/ 2147483647 h 502"/>
              <a:gd name="T52" fmla="*/ 2147483647 w 660"/>
              <a:gd name="T53" fmla="*/ 2147483647 h 502"/>
              <a:gd name="T54" fmla="*/ 2147483647 w 660"/>
              <a:gd name="T55" fmla="*/ 2147483647 h 502"/>
              <a:gd name="T56" fmla="*/ 2147483647 w 660"/>
              <a:gd name="T57" fmla="*/ 2147483647 h 502"/>
              <a:gd name="T58" fmla="*/ 2147483647 w 660"/>
              <a:gd name="T59" fmla="*/ 2147483647 h 502"/>
              <a:gd name="T60" fmla="*/ 2147483647 w 660"/>
              <a:gd name="T61" fmla="*/ 2147483647 h 502"/>
              <a:gd name="T62" fmla="*/ 2147483647 w 660"/>
              <a:gd name="T63" fmla="*/ 2147483647 h 502"/>
              <a:gd name="T64" fmla="*/ 2147483647 w 660"/>
              <a:gd name="T65" fmla="*/ 2147483647 h 502"/>
              <a:gd name="T66" fmla="*/ 2147483647 w 660"/>
              <a:gd name="T67" fmla="*/ 2147483647 h 502"/>
              <a:gd name="T68" fmla="*/ 2147483647 w 660"/>
              <a:gd name="T69" fmla="*/ 2147483647 h 502"/>
              <a:gd name="T70" fmla="*/ 2147483647 w 660"/>
              <a:gd name="T71" fmla="*/ 2147483647 h 502"/>
              <a:gd name="T72" fmla="*/ 2147483647 w 660"/>
              <a:gd name="T73" fmla="*/ 2147483647 h 502"/>
              <a:gd name="T74" fmla="*/ 2147483647 w 660"/>
              <a:gd name="T75" fmla="*/ 2147483647 h 502"/>
              <a:gd name="T76" fmla="*/ 2147483647 w 660"/>
              <a:gd name="T77" fmla="*/ 2147483647 h 502"/>
              <a:gd name="T78" fmla="*/ 2147483647 w 660"/>
              <a:gd name="T79" fmla="*/ 2147483647 h 502"/>
              <a:gd name="T80" fmla="*/ 2147483647 w 660"/>
              <a:gd name="T81" fmla="*/ 2147483647 h 502"/>
              <a:gd name="T82" fmla="*/ 2147483647 w 660"/>
              <a:gd name="T83" fmla="*/ 2147483647 h 502"/>
              <a:gd name="T84" fmla="*/ 2147483647 w 660"/>
              <a:gd name="T85" fmla="*/ 2147483647 h 502"/>
              <a:gd name="T86" fmla="*/ 2147483647 w 660"/>
              <a:gd name="T87" fmla="*/ 2147483647 h 502"/>
              <a:gd name="T88" fmla="*/ 2147483647 w 660"/>
              <a:gd name="T89" fmla="*/ 2147483647 h 502"/>
              <a:gd name="T90" fmla="*/ 2147483647 w 660"/>
              <a:gd name="T91" fmla="*/ 2147483647 h 502"/>
              <a:gd name="T92" fmla="*/ 2147483647 w 660"/>
              <a:gd name="T93" fmla="*/ 2147483647 h 502"/>
              <a:gd name="T94" fmla="*/ 2147483647 w 660"/>
              <a:gd name="T95" fmla="*/ 2147483647 h 502"/>
              <a:gd name="T96" fmla="*/ 2147483647 w 660"/>
              <a:gd name="T97" fmla="*/ 2147483647 h 502"/>
              <a:gd name="T98" fmla="*/ 2147483647 w 660"/>
              <a:gd name="T99" fmla="*/ 2147483647 h 502"/>
              <a:gd name="T100" fmla="*/ 2147483647 w 660"/>
              <a:gd name="T101" fmla="*/ 2147483647 h 502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660"/>
              <a:gd name="T154" fmla="*/ 0 h 502"/>
              <a:gd name="T155" fmla="*/ 660 w 660"/>
              <a:gd name="T156" fmla="*/ 502 h 502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660" h="502">
                <a:moveTo>
                  <a:pt x="35" y="162"/>
                </a:moveTo>
                <a:lnTo>
                  <a:pt x="29" y="205"/>
                </a:lnTo>
                <a:lnTo>
                  <a:pt x="18" y="224"/>
                </a:lnTo>
                <a:lnTo>
                  <a:pt x="18" y="235"/>
                </a:lnTo>
                <a:lnTo>
                  <a:pt x="0" y="244"/>
                </a:lnTo>
                <a:lnTo>
                  <a:pt x="0" y="252"/>
                </a:lnTo>
                <a:lnTo>
                  <a:pt x="0" y="267"/>
                </a:lnTo>
                <a:lnTo>
                  <a:pt x="12" y="272"/>
                </a:lnTo>
                <a:lnTo>
                  <a:pt x="12" y="281"/>
                </a:lnTo>
                <a:lnTo>
                  <a:pt x="3" y="312"/>
                </a:lnTo>
                <a:lnTo>
                  <a:pt x="12" y="335"/>
                </a:lnTo>
                <a:lnTo>
                  <a:pt x="12" y="375"/>
                </a:lnTo>
                <a:lnTo>
                  <a:pt x="20" y="384"/>
                </a:lnTo>
                <a:lnTo>
                  <a:pt x="40" y="388"/>
                </a:lnTo>
                <a:lnTo>
                  <a:pt x="54" y="409"/>
                </a:lnTo>
                <a:lnTo>
                  <a:pt x="49" y="437"/>
                </a:lnTo>
                <a:lnTo>
                  <a:pt x="31" y="459"/>
                </a:lnTo>
                <a:lnTo>
                  <a:pt x="20" y="481"/>
                </a:lnTo>
                <a:lnTo>
                  <a:pt x="91" y="502"/>
                </a:lnTo>
                <a:lnTo>
                  <a:pt x="137" y="498"/>
                </a:lnTo>
                <a:lnTo>
                  <a:pt x="165" y="502"/>
                </a:lnTo>
                <a:lnTo>
                  <a:pt x="179" y="493"/>
                </a:lnTo>
                <a:lnTo>
                  <a:pt x="212" y="494"/>
                </a:lnTo>
                <a:lnTo>
                  <a:pt x="264" y="481"/>
                </a:lnTo>
                <a:lnTo>
                  <a:pt x="271" y="476"/>
                </a:lnTo>
                <a:lnTo>
                  <a:pt x="267" y="464"/>
                </a:lnTo>
                <a:lnTo>
                  <a:pt x="272" y="425"/>
                </a:lnTo>
                <a:lnTo>
                  <a:pt x="292" y="405"/>
                </a:lnTo>
                <a:lnTo>
                  <a:pt x="334" y="401"/>
                </a:lnTo>
                <a:lnTo>
                  <a:pt x="337" y="396"/>
                </a:lnTo>
                <a:lnTo>
                  <a:pt x="329" y="392"/>
                </a:lnTo>
                <a:lnTo>
                  <a:pt x="352" y="377"/>
                </a:lnTo>
                <a:lnTo>
                  <a:pt x="371" y="380"/>
                </a:lnTo>
                <a:lnTo>
                  <a:pt x="368" y="377"/>
                </a:lnTo>
                <a:lnTo>
                  <a:pt x="372" y="374"/>
                </a:lnTo>
                <a:lnTo>
                  <a:pt x="388" y="388"/>
                </a:lnTo>
                <a:lnTo>
                  <a:pt x="406" y="369"/>
                </a:lnTo>
                <a:lnTo>
                  <a:pt x="403" y="341"/>
                </a:lnTo>
                <a:lnTo>
                  <a:pt x="411" y="330"/>
                </a:lnTo>
                <a:lnTo>
                  <a:pt x="419" y="304"/>
                </a:lnTo>
                <a:lnTo>
                  <a:pt x="436" y="303"/>
                </a:lnTo>
                <a:lnTo>
                  <a:pt x="454" y="289"/>
                </a:lnTo>
                <a:lnTo>
                  <a:pt x="445" y="269"/>
                </a:lnTo>
                <a:lnTo>
                  <a:pt x="437" y="261"/>
                </a:lnTo>
                <a:lnTo>
                  <a:pt x="437" y="253"/>
                </a:lnTo>
                <a:lnTo>
                  <a:pt x="469" y="258"/>
                </a:lnTo>
                <a:lnTo>
                  <a:pt x="484" y="252"/>
                </a:lnTo>
                <a:lnTo>
                  <a:pt x="493" y="235"/>
                </a:lnTo>
                <a:lnTo>
                  <a:pt x="486" y="225"/>
                </a:lnTo>
                <a:lnTo>
                  <a:pt x="513" y="191"/>
                </a:lnTo>
                <a:lnTo>
                  <a:pt x="515" y="173"/>
                </a:lnTo>
                <a:lnTo>
                  <a:pt x="510" y="154"/>
                </a:lnTo>
                <a:lnTo>
                  <a:pt x="496" y="140"/>
                </a:lnTo>
                <a:lnTo>
                  <a:pt x="499" y="132"/>
                </a:lnTo>
                <a:lnTo>
                  <a:pt x="515" y="117"/>
                </a:lnTo>
                <a:lnTo>
                  <a:pt x="527" y="118"/>
                </a:lnTo>
                <a:lnTo>
                  <a:pt x="537" y="105"/>
                </a:lnTo>
                <a:lnTo>
                  <a:pt x="558" y="97"/>
                </a:lnTo>
                <a:lnTo>
                  <a:pt x="609" y="91"/>
                </a:lnTo>
                <a:lnTo>
                  <a:pt x="632" y="95"/>
                </a:lnTo>
                <a:lnTo>
                  <a:pt x="654" y="84"/>
                </a:lnTo>
                <a:lnTo>
                  <a:pt x="645" y="76"/>
                </a:lnTo>
                <a:lnTo>
                  <a:pt x="659" y="71"/>
                </a:lnTo>
                <a:lnTo>
                  <a:pt x="660" y="64"/>
                </a:lnTo>
                <a:lnTo>
                  <a:pt x="645" y="63"/>
                </a:lnTo>
                <a:lnTo>
                  <a:pt x="615" y="72"/>
                </a:lnTo>
                <a:lnTo>
                  <a:pt x="611" y="61"/>
                </a:lnTo>
                <a:lnTo>
                  <a:pt x="598" y="59"/>
                </a:lnTo>
                <a:lnTo>
                  <a:pt x="564" y="83"/>
                </a:lnTo>
                <a:lnTo>
                  <a:pt x="516" y="103"/>
                </a:lnTo>
                <a:lnTo>
                  <a:pt x="503" y="76"/>
                </a:lnTo>
                <a:lnTo>
                  <a:pt x="510" y="33"/>
                </a:lnTo>
                <a:lnTo>
                  <a:pt x="498" y="29"/>
                </a:lnTo>
                <a:lnTo>
                  <a:pt x="499" y="12"/>
                </a:lnTo>
                <a:lnTo>
                  <a:pt x="481" y="0"/>
                </a:lnTo>
                <a:lnTo>
                  <a:pt x="471" y="1"/>
                </a:lnTo>
                <a:lnTo>
                  <a:pt x="448" y="33"/>
                </a:lnTo>
                <a:lnTo>
                  <a:pt x="453" y="44"/>
                </a:lnTo>
                <a:lnTo>
                  <a:pt x="445" y="54"/>
                </a:lnTo>
                <a:lnTo>
                  <a:pt x="417" y="49"/>
                </a:lnTo>
                <a:lnTo>
                  <a:pt x="410" y="59"/>
                </a:lnTo>
                <a:lnTo>
                  <a:pt x="411" y="72"/>
                </a:lnTo>
                <a:lnTo>
                  <a:pt x="408" y="76"/>
                </a:lnTo>
                <a:lnTo>
                  <a:pt x="389" y="67"/>
                </a:lnTo>
                <a:lnTo>
                  <a:pt x="349" y="86"/>
                </a:lnTo>
                <a:lnTo>
                  <a:pt x="334" y="69"/>
                </a:lnTo>
                <a:lnTo>
                  <a:pt x="276" y="63"/>
                </a:lnTo>
                <a:lnTo>
                  <a:pt x="266" y="64"/>
                </a:lnTo>
                <a:lnTo>
                  <a:pt x="242" y="54"/>
                </a:lnTo>
                <a:lnTo>
                  <a:pt x="235" y="58"/>
                </a:lnTo>
                <a:lnTo>
                  <a:pt x="232" y="69"/>
                </a:lnTo>
                <a:lnTo>
                  <a:pt x="205" y="69"/>
                </a:lnTo>
                <a:lnTo>
                  <a:pt x="196" y="81"/>
                </a:lnTo>
                <a:lnTo>
                  <a:pt x="188" y="123"/>
                </a:lnTo>
                <a:lnTo>
                  <a:pt x="151" y="145"/>
                </a:lnTo>
                <a:lnTo>
                  <a:pt x="123" y="149"/>
                </a:lnTo>
                <a:lnTo>
                  <a:pt x="128" y="159"/>
                </a:lnTo>
                <a:lnTo>
                  <a:pt x="120" y="174"/>
                </a:lnTo>
                <a:lnTo>
                  <a:pt x="105" y="185"/>
                </a:lnTo>
                <a:lnTo>
                  <a:pt x="83" y="186"/>
                </a:lnTo>
                <a:lnTo>
                  <a:pt x="68" y="173"/>
                </a:lnTo>
                <a:lnTo>
                  <a:pt x="48" y="173"/>
                </a:lnTo>
                <a:lnTo>
                  <a:pt x="35" y="162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B2B2B2"/>
            </a:solidFill>
            <a:prstDash val="solid"/>
            <a:bevel/>
            <a:headEnd type="none" w="med" len="med"/>
            <a:tailEnd type="none" w="med" len="med"/>
          </a:ln>
        </p:spPr>
        <p:txBody>
          <a:bodyPr/>
          <a:lstStyle/>
          <a:p>
            <a:endParaRPr lang="en-GB">
              <a:latin typeface="Calibri" pitchFamily="34" charset="0"/>
            </a:endParaRPr>
          </a:p>
        </p:txBody>
      </p:sp>
      <p:sp>
        <p:nvSpPr>
          <p:cNvPr id="58566" name="Rectangular Callout 292"/>
          <p:cNvSpPr>
            <a:spLocks noChangeArrowheads="1"/>
          </p:cNvSpPr>
          <p:nvPr/>
        </p:nvSpPr>
        <p:spPr bwMode="auto">
          <a:xfrm>
            <a:off x="1371600" y="2317750"/>
            <a:ext cx="1981200" cy="654050"/>
          </a:xfrm>
          <a:prstGeom prst="wedgeRectCallout">
            <a:avLst>
              <a:gd name="adj1" fmla="val 153806"/>
              <a:gd name="adj2" fmla="val 223157"/>
            </a:avLst>
          </a:prstGeom>
          <a:solidFill>
            <a:srgbClr val="FDEADA"/>
          </a:solidFill>
          <a:ln w="15875">
            <a:solidFill>
              <a:srgbClr val="F5821E"/>
            </a:solidFill>
            <a:prstDash val="sysDash"/>
            <a:miter lim="800000"/>
            <a:headEnd/>
            <a:tailEnd/>
          </a:ln>
        </p:spPr>
        <p:txBody>
          <a:bodyPr/>
          <a:lstStyle/>
          <a:p>
            <a:pPr marL="127000" lvl="1" indent="-125413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</a:pPr>
            <a:r>
              <a:rPr lang="en-US" altLang="en-US" sz="800">
                <a:solidFill>
                  <a:srgbClr val="0D0D0D"/>
                </a:solidFill>
                <a:latin typeface="Calibri" pitchFamily="34" charset="0"/>
                <a:ea typeface="LF_Kai"/>
                <a:cs typeface="LF_Kai"/>
              </a:rPr>
              <a:t> Plans to establish a cement plant in which will be supplied by its own limestone mines (reserves of over 1 billion tonnes)</a:t>
            </a:r>
          </a:p>
        </p:txBody>
      </p:sp>
      <p:sp>
        <p:nvSpPr>
          <p:cNvPr id="294" name="TextBox 293"/>
          <p:cNvSpPr txBox="1"/>
          <p:nvPr>
            <p:custDataLst>
              <p:tags r:id="rId1"/>
            </p:custDataLst>
          </p:nvPr>
        </p:nvSpPr>
        <p:spPr bwMode="gray">
          <a:xfrm>
            <a:off x="1371600" y="1978025"/>
            <a:ext cx="1981200" cy="260350"/>
          </a:xfrm>
          <a:prstGeom prst="roundRect">
            <a:avLst/>
          </a:prstGeom>
          <a:solidFill>
            <a:srgbClr val="F5821E"/>
          </a:solidFill>
          <a:ln w="9525" cmpd="sng">
            <a:solidFill>
              <a:schemeClr val="bg2"/>
            </a:solidFill>
            <a:prstDash val="solid"/>
          </a:ln>
          <a:effectLst/>
        </p:spPr>
        <p:txBody>
          <a:bodyPr lIns="45720" tIns="36575" bIns="36575" anchor="b">
            <a:spAutoFit/>
          </a:bodyPr>
          <a:lstStyle/>
          <a:p>
            <a:pPr algn="ctr">
              <a:defRPr/>
            </a:pPr>
            <a:r>
              <a:rPr lang="en-US" sz="1050" b="1" dirty="0">
                <a:solidFill>
                  <a:srgbClr val="FFFFFF"/>
                </a:solidFill>
                <a:latin typeface="Calibri" pitchFamily="34" charset="0"/>
                <a:cs typeface="Arial" charset="0"/>
              </a:rPr>
              <a:t>Madagascar, Africa</a:t>
            </a:r>
          </a:p>
        </p:txBody>
      </p:sp>
      <p:sp>
        <p:nvSpPr>
          <p:cNvPr id="58568" name="Rectangular Callout 294"/>
          <p:cNvSpPr>
            <a:spLocks noChangeArrowheads="1"/>
          </p:cNvSpPr>
          <p:nvPr/>
        </p:nvSpPr>
        <p:spPr bwMode="auto">
          <a:xfrm>
            <a:off x="6705600" y="1631950"/>
            <a:ext cx="2209800" cy="1644650"/>
          </a:xfrm>
          <a:prstGeom prst="wedgeRectCallout">
            <a:avLst>
              <a:gd name="adj1" fmla="val -52051"/>
              <a:gd name="adj2" fmla="val 80097"/>
            </a:avLst>
          </a:prstGeom>
          <a:solidFill>
            <a:srgbClr val="FDEADA"/>
          </a:solidFill>
          <a:ln w="15875">
            <a:solidFill>
              <a:srgbClr val="F5821E"/>
            </a:solidFill>
            <a:prstDash val="sysDash"/>
            <a:miter lim="800000"/>
            <a:headEnd/>
            <a:tailEnd/>
          </a:ln>
        </p:spPr>
        <p:txBody>
          <a:bodyPr/>
          <a:lstStyle/>
          <a:p>
            <a:pPr marL="127000" lvl="1" indent="-125413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</a:pPr>
            <a:r>
              <a:rPr lang="en-US" altLang="en-US" sz="800">
                <a:solidFill>
                  <a:srgbClr val="0D0D0D"/>
                </a:solidFill>
                <a:latin typeface="Calibri" pitchFamily="34" charset="0"/>
                <a:ea typeface="LF_Kai"/>
                <a:cs typeface="LF_Kai"/>
              </a:rPr>
              <a:t>Invested for the development of two greenfield exploration assets in Indonesia</a:t>
            </a:r>
          </a:p>
          <a:p>
            <a:pPr marL="127000" lvl="1" indent="-125413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</a:pPr>
            <a:r>
              <a:rPr lang="en-US" altLang="en-US" sz="800">
                <a:solidFill>
                  <a:srgbClr val="0D0D0D"/>
                </a:solidFill>
                <a:latin typeface="Calibri" pitchFamily="34" charset="0"/>
                <a:ea typeface="LF_Kai"/>
                <a:cs typeface="LF_Kai"/>
              </a:rPr>
              <a:t> Exploration License over 100 square kilometre in Central Kalimantan till Mar’18</a:t>
            </a:r>
          </a:p>
          <a:p>
            <a:pPr marL="127000" lvl="1" indent="-125413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</a:pPr>
            <a:r>
              <a:rPr lang="en-US" altLang="en-US" sz="800">
                <a:solidFill>
                  <a:srgbClr val="0D0D0D"/>
                </a:solidFill>
                <a:latin typeface="Calibri" pitchFamily="34" charset="0"/>
                <a:ea typeface="LF_Kai"/>
                <a:cs typeface="LF_Kai"/>
              </a:rPr>
              <a:t>Medium to large size deposits of prime hard coking and low ash – low sulphur thermal coal for open-cast operation</a:t>
            </a:r>
          </a:p>
          <a:p>
            <a:pPr marL="127000" lvl="1" indent="-125413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</a:pPr>
            <a:r>
              <a:rPr lang="en-US" altLang="en-US" sz="800">
                <a:solidFill>
                  <a:srgbClr val="0D0D0D"/>
                </a:solidFill>
                <a:latin typeface="Calibri" pitchFamily="34" charset="0"/>
                <a:ea typeface="LF_Kai"/>
                <a:cs typeface="LF_Kai"/>
              </a:rPr>
              <a:t>Acquired 17.7 hectares for the development of captive coal terminal for coal handling and barge loading at Barito River</a:t>
            </a:r>
          </a:p>
          <a:p>
            <a:pPr marL="127000" lvl="1" indent="-125413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</a:pPr>
            <a:endParaRPr lang="en-US" altLang="en-US" sz="800">
              <a:solidFill>
                <a:srgbClr val="0D0D0D"/>
              </a:solidFill>
              <a:latin typeface="Calibri" pitchFamily="34" charset="0"/>
              <a:ea typeface="LF_Kai"/>
              <a:cs typeface="LF_Kai"/>
            </a:endParaRPr>
          </a:p>
        </p:txBody>
      </p:sp>
      <p:sp>
        <p:nvSpPr>
          <p:cNvPr id="296" name="TextBox 295"/>
          <p:cNvSpPr txBox="1"/>
          <p:nvPr>
            <p:custDataLst>
              <p:tags r:id="rId2"/>
            </p:custDataLst>
          </p:nvPr>
        </p:nvSpPr>
        <p:spPr bwMode="gray">
          <a:xfrm>
            <a:off x="6705600" y="1295400"/>
            <a:ext cx="2209800" cy="260350"/>
          </a:xfrm>
          <a:prstGeom prst="roundRect">
            <a:avLst/>
          </a:prstGeom>
          <a:solidFill>
            <a:srgbClr val="F5821E"/>
          </a:solidFill>
          <a:ln w="9525" cmpd="sng">
            <a:solidFill>
              <a:schemeClr val="bg2"/>
            </a:solidFill>
            <a:prstDash val="solid"/>
          </a:ln>
          <a:effectLst/>
        </p:spPr>
        <p:txBody>
          <a:bodyPr lIns="45720" tIns="36575" bIns="36575" anchor="b">
            <a:spAutoFit/>
          </a:bodyPr>
          <a:lstStyle/>
          <a:p>
            <a:pPr algn="ctr">
              <a:defRPr/>
            </a:pPr>
            <a:r>
              <a:rPr lang="en-US" sz="1050" b="1" dirty="0">
                <a:solidFill>
                  <a:srgbClr val="FFFFFF"/>
                </a:solidFill>
                <a:latin typeface="Calibri" pitchFamily="34" charset="0"/>
                <a:cs typeface="Arial" charset="0"/>
              </a:rPr>
              <a:t>Indonesia, Asia</a:t>
            </a:r>
          </a:p>
        </p:txBody>
      </p:sp>
      <p:sp>
        <p:nvSpPr>
          <p:cNvPr id="58570" name="Rectangular Callout 296"/>
          <p:cNvSpPr>
            <a:spLocks noChangeArrowheads="1"/>
          </p:cNvSpPr>
          <p:nvPr/>
        </p:nvSpPr>
        <p:spPr bwMode="auto">
          <a:xfrm>
            <a:off x="5867400" y="5060950"/>
            <a:ext cx="3048000" cy="1139825"/>
          </a:xfrm>
          <a:prstGeom prst="wedgeRectCallout">
            <a:avLst>
              <a:gd name="adj1" fmla="val 48537"/>
              <a:gd name="adj2" fmla="val -27167"/>
            </a:avLst>
          </a:prstGeom>
          <a:solidFill>
            <a:srgbClr val="FDEADA"/>
          </a:solidFill>
          <a:ln w="15875">
            <a:solidFill>
              <a:srgbClr val="F5821E"/>
            </a:solidFill>
            <a:prstDash val="sysDash"/>
            <a:miter lim="800000"/>
            <a:headEnd/>
            <a:tailEnd/>
          </a:ln>
        </p:spPr>
        <p:txBody>
          <a:bodyPr/>
          <a:lstStyle/>
          <a:p>
            <a:pPr marL="127000" lvl="1" indent="-125413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</a:pPr>
            <a:r>
              <a:rPr lang="en-US" altLang="en-US" sz="800">
                <a:solidFill>
                  <a:srgbClr val="0D0D0D"/>
                </a:solidFill>
                <a:latin typeface="Calibri" pitchFamily="34" charset="0"/>
                <a:ea typeface="LF_Kai"/>
                <a:cs typeface="LF_Kai"/>
              </a:rPr>
              <a:t>Secured six Exploration Permits for Coal (EPC) in Queensland with potential of exploring coking/PCI and thermal coal</a:t>
            </a:r>
          </a:p>
          <a:p>
            <a:pPr marL="127000" lvl="1" indent="-125413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</a:pPr>
            <a:r>
              <a:rPr lang="en-US" altLang="en-US" sz="800">
                <a:solidFill>
                  <a:srgbClr val="0D0D0D"/>
                </a:solidFill>
                <a:latin typeface="Calibri" pitchFamily="34" charset="0"/>
                <a:ea typeface="LF_Kai"/>
                <a:cs typeface="LF_Kai"/>
              </a:rPr>
              <a:t>Signed an option agreement with Fitzroy Port terminal that has a capacity of handling 5 million tonnes of coal</a:t>
            </a:r>
          </a:p>
          <a:p>
            <a:pPr marL="127000" lvl="1" indent="-125413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</a:pPr>
            <a:r>
              <a:rPr lang="en-US" altLang="en-US" sz="800">
                <a:solidFill>
                  <a:srgbClr val="0D0D0D"/>
                </a:solidFill>
                <a:latin typeface="Calibri" pitchFamily="34" charset="0"/>
                <a:ea typeface="LF_Kai"/>
                <a:cs typeface="LF_Kai"/>
              </a:rPr>
              <a:t>~28% stake in  ASX listed coal exploration company, Rockland Richfield Ltd (RCI). RCI has three advanced coal exploration projects with more than 750 MT of coal resources</a:t>
            </a:r>
          </a:p>
          <a:p>
            <a:pPr marL="127000" lvl="1" indent="-125413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</a:pPr>
            <a:endParaRPr lang="en-US" altLang="en-US" sz="800">
              <a:solidFill>
                <a:srgbClr val="0D0D0D"/>
              </a:solidFill>
              <a:latin typeface="Calibri" pitchFamily="34" charset="0"/>
              <a:ea typeface="LF_Kai"/>
              <a:cs typeface="LF_Kai"/>
            </a:endParaRPr>
          </a:p>
        </p:txBody>
      </p:sp>
      <p:sp>
        <p:nvSpPr>
          <p:cNvPr id="298" name="TextBox 297"/>
          <p:cNvSpPr txBox="1"/>
          <p:nvPr>
            <p:custDataLst>
              <p:tags r:id="rId3"/>
            </p:custDataLst>
          </p:nvPr>
        </p:nvSpPr>
        <p:spPr bwMode="gray">
          <a:xfrm>
            <a:off x="5867400" y="4724400"/>
            <a:ext cx="3048000" cy="260350"/>
          </a:xfrm>
          <a:prstGeom prst="roundRect">
            <a:avLst/>
          </a:prstGeom>
          <a:solidFill>
            <a:srgbClr val="F5821E"/>
          </a:solidFill>
          <a:ln w="9525" cmpd="sng">
            <a:solidFill>
              <a:schemeClr val="bg2"/>
            </a:solidFill>
            <a:prstDash val="solid"/>
          </a:ln>
          <a:effectLst/>
        </p:spPr>
        <p:txBody>
          <a:bodyPr lIns="45720" tIns="36575" bIns="36575" anchor="b">
            <a:spAutoFit/>
          </a:bodyPr>
          <a:lstStyle/>
          <a:p>
            <a:pPr algn="ctr">
              <a:defRPr/>
            </a:pPr>
            <a:r>
              <a:rPr lang="en-US" sz="1050" b="1" dirty="0">
                <a:solidFill>
                  <a:srgbClr val="FFFFFF"/>
                </a:solidFill>
                <a:latin typeface="Calibri" pitchFamily="34" charset="0"/>
                <a:cs typeface="Arial" charset="0"/>
              </a:rPr>
              <a:t>Australia</a:t>
            </a:r>
          </a:p>
        </p:txBody>
      </p:sp>
      <p:sp>
        <p:nvSpPr>
          <p:cNvPr id="58572" name="Rectangular Callout 298"/>
          <p:cNvSpPr>
            <a:spLocks noChangeArrowheads="1"/>
          </p:cNvSpPr>
          <p:nvPr/>
        </p:nvSpPr>
        <p:spPr bwMode="auto">
          <a:xfrm>
            <a:off x="533400" y="3657600"/>
            <a:ext cx="2819400" cy="1066800"/>
          </a:xfrm>
          <a:prstGeom prst="wedgeRectCallout">
            <a:avLst>
              <a:gd name="adj1" fmla="val 113046"/>
              <a:gd name="adj2" fmla="val 583"/>
            </a:avLst>
          </a:prstGeom>
          <a:solidFill>
            <a:srgbClr val="FDEADA"/>
          </a:solidFill>
          <a:ln w="15875">
            <a:solidFill>
              <a:srgbClr val="F5821E"/>
            </a:solidFill>
            <a:prstDash val="sysDash"/>
            <a:miter lim="800000"/>
            <a:headEnd/>
            <a:tailEnd/>
          </a:ln>
        </p:spPr>
        <p:txBody>
          <a:bodyPr/>
          <a:lstStyle/>
          <a:p>
            <a:pPr marL="127000" lvl="1" indent="-125413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</a:pPr>
            <a:r>
              <a:rPr lang="en-US" altLang="en-US" sz="800">
                <a:solidFill>
                  <a:srgbClr val="0D0D0D"/>
                </a:solidFill>
                <a:latin typeface="Calibri" pitchFamily="34" charset="0"/>
                <a:ea typeface="LF_Kai"/>
                <a:cs typeface="LF_Kai"/>
              </a:rPr>
              <a:t>Developing a coal mine (10 MTPA) in Mozambique’s coal-rich Moatize region</a:t>
            </a:r>
          </a:p>
          <a:p>
            <a:pPr marL="127000" lvl="1" indent="-125413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</a:pPr>
            <a:r>
              <a:rPr lang="en-US" altLang="en-US" sz="800">
                <a:solidFill>
                  <a:srgbClr val="0D0D0D"/>
                </a:solidFill>
                <a:latin typeface="Calibri" pitchFamily="34" charset="0"/>
                <a:ea typeface="LF_Kai"/>
                <a:cs typeface="LF_Kai"/>
              </a:rPr>
              <a:t>Coal resources estimated at 1.2 billion tonnes including coking coal</a:t>
            </a:r>
          </a:p>
          <a:p>
            <a:pPr marL="127000" lvl="1" indent="-125413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</a:pPr>
            <a:r>
              <a:rPr lang="en-US" altLang="en-US" sz="800">
                <a:solidFill>
                  <a:srgbClr val="0D0D0D"/>
                </a:solidFill>
                <a:latin typeface="Calibri" pitchFamily="34" charset="0"/>
                <a:ea typeface="LF_Kai"/>
                <a:cs typeface="LF_Kai"/>
              </a:rPr>
              <a:t>Looking to set up a 2640 MW thermal power plant in the Tete region. Feasibility studies underway</a:t>
            </a:r>
          </a:p>
        </p:txBody>
      </p:sp>
      <p:sp>
        <p:nvSpPr>
          <p:cNvPr id="300" name="TextBox 299"/>
          <p:cNvSpPr txBox="1"/>
          <p:nvPr>
            <p:custDataLst>
              <p:tags r:id="rId4"/>
            </p:custDataLst>
          </p:nvPr>
        </p:nvSpPr>
        <p:spPr bwMode="gray">
          <a:xfrm>
            <a:off x="533400" y="3321050"/>
            <a:ext cx="2819400" cy="260350"/>
          </a:xfrm>
          <a:prstGeom prst="roundRect">
            <a:avLst/>
          </a:prstGeom>
          <a:solidFill>
            <a:srgbClr val="F5821E"/>
          </a:solidFill>
          <a:ln w="9525" cmpd="sng">
            <a:solidFill>
              <a:schemeClr val="bg2"/>
            </a:solidFill>
            <a:prstDash val="solid"/>
          </a:ln>
          <a:effectLst/>
        </p:spPr>
        <p:txBody>
          <a:bodyPr lIns="45720" tIns="36575" bIns="36575" anchor="b">
            <a:spAutoFit/>
          </a:bodyPr>
          <a:lstStyle/>
          <a:p>
            <a:pPr algn="ctr">
              <a:defRPr/>
            </a:pPr>
            <a:r>
              <a:rPr lang="en-US" sz="1050" b="1" dirty="0">
                <a:solidFill>
                  <a:srgbClr val="FFFFFF"/>
                </a:solidFill>
                <a:latin typeface="Calibri" pitchFamily="34" charset="0"/>
                <a:cs typeface="Arial" charset="0"/>
              </a:rPr>
              <a:t>Mozambique, Africa</a:t>
            </a:r>
          </a:p>
        </p:txBody>
      </p:sp>
      <p:sp>
        <p:nvSpPr>
          <p:cNvPr id="58574" name="Rectangular Callout 300"/>
          <p:cNvSpPr>
            <a:spLocks noChangeArrowheads="1"/>
          </p:cNvSpPr>
          <p:nvPr/>
        </p:nvSpPr>
        <p:spPr bwMode="auto">
          <a:xfrm>
            <a:off x="533400" y="5213350"/>
            <a:ext cx="2819400" cy="1066800"/>
          </a:xfrm>
          <a:prstGeom prst="wedgeRectCallout">
            <a:avLst>
              <a:gd name="adj1" fmla="val 102236"/>
              <a:gd name="adj2" fmla="val -101199"/>
            </a:avLst>
          </a:prstGeom>
          <a:solidFill>
            <a:srgbClr val="FDEADA"/>
          </a:solidFill>
          <a:ln w="15875">
            <a:solidFill>
              <a:srgbClr val="F5821E"/>
            </a:solidFill>
            <a:prstDash val="sysDash"/>
            <a:miter lim="800000"/>
            <a:headEnd/>
            <a:tailEnd/>
          </a:ln>
        </p:spPr>
        <p:txBody>
          <a:bodyPr/>
          <a:lstStyle/>
          <a:p>
            <a:pPr marL="127000" lvl="1" indent="-125413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</a:pPr>
            <a:r>
              <a:rPr lang="en-US" altLang="en-US" sz="800">
                <a:solidFill>
                  <a:srgbClr val="0D0D0D"/>
                </a:solidFill>
                <a:latin typeface="Calibri" pitchFamily="34" charset="0"/>
                <a:ea typeface="LF_Kai"/>
                <a:cs typeface="LF_Kai"/>
              </a:rPr>
              <a:t> Headquarters for African operations</a:t>
            </a:r>
          </a:p>
          <a:p>
            <a:pPr marL="127000" lvl="1" indent="-125413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</a:pPr>
            <a:r>
              <a:rPr lang="en-US" altLang="en-US" sz="800">
                <a:solidFill>
                  <a:srgbClr val="0D0D0D"/>
                </a:solidFill>
                <a:latin typeface="Calibri" pitchFamily="34" charset="0"/>
                <a:ea typeface="LF_Kai"/>
                <a:cs typeface="LF_Kai"/>
              </a:rPr>
              <a:t> JSPL’s Kiepersol Colliery produces about 1.2 MTPA of Anthracite coal, sold domestically and internationally Plans to ramp up capacity to 2 MTPA</a:t>
            </a:r>
          </a:p>
          <a:p>
            <a:pPr marL="127000" lvl="1" indent="-125413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</a:pPr>
            <a:r>
              <a:rPr lang="en-US" altLang="en-US" sz="800">
                <a:solidFill>
                  <a:srgbClr val="0D0D0D"/>
                </a:solidFill>
                <a:latin typeface="Calibri" pitchFamily="34" charset="0"/>
                <a:ea typeface="LF_Kai"/>
                <a:cs typeface="LF_Kai"/>
              </a:rPr>
              <a:t> Acquired coal &amp; iron ore concessions in which exploration and development is in progress </a:t>
            </a:r>
          </a:p>
        </p:txBody>
      </p:sp>
      <p:sp>
        <p:nvSpPr>
          <p:cNvPr id="302" name="TextBox 301"/>
          <p:cNvSpPr txBox="1"/>
          <p:nvPr>
            <p:custDataLst>
              <p:tags r:id="rId5"/>
            </p:custDataLst>
          </p:nvPr>
        </p:nvSpPr>
        <p:spPr bwMode="gray">
          <a:xfrm>
            <a:off x="533400" y="4876800"/>
            <a:ext cx="2819400" cy="260350"/>
          </a:xfrm>
          <a:prstGeom prst="roundRect">
            <a:avLst/>
          </a:prstGeom>
          <a:solidFill>
            <a:srgbClr val="F5821E"/>
          </a:solidFill>
          <a:ln w="9525" cmpd="sng">
            <a:solidFill>
              <a:schemeClr val="bg2"/>
            </a:solidFill>
            <a:prstDash val="solid"/>
          </a:ln>
          <a:effectLst/>
        </p:spPr>
        <p:txBody>
          <a:bodyPr lIns="45720" tIns="36575" bIns="36575" anchor="b">
            <a:spAutoFit/>
          </a:bodyPr>
          <a:lstStyle/>
          <a:p>
            <a:pPr algn="ctr">
              <a:defRPr/>
            </a:pPr>
            <a:r>
              <a:rPr lang="en-US" sz="1050" b="1" dirty="0">
                <a:solidFill>
                  <a:srgbClr val="FFFFFF"/>
                </a:solidFill>
                <a:latin typeface="Calibri" pitchFamily="34" charset="0"/>
                <a:cs typeface="Arial" charset="0"/>
              </a:rPr>
              <a:t>South Africa, Africa</a:t>
            </a:r>
          </a:p>
        </p:txBody>
      </p:sp>
      <p:sp>
        <p:nvSpPr>
          <p:cNvPr id="58576" name="Rectangular Callout 302"/>
          <p:cNvSpPr>
            <a:spLocks noChangeArrowheads="1"/>
          </p:cNvSpPr>
          <p:nvPr/>
        </p:nvSpPr>
        <p:spPr bwMode="auto">
          <a:xfrm>
            <a:off x="3581400" y="1631950"/>
            <a:ext cx="2819400" cy="1295400"/>
          </a:xfrm>
          <a:prstGeom prst="wedgeRectCallout">
            <a:avLst>
              <a:gd name="adj1" fmla="val 24532"/>
              <a:gd name="adj2" fmla="val 79157"/>
            </a:avLst>
          </a:prstGeom>
          <a:solidFill>
            <a:srgbClr val="FDEADA"/>
          </a:solidFill>
          <a:ln w="15875">
            <a:solidFill>
              <a:srgbClr val="F5821E"/>
            </a:solidFill>
            <a:prstDash val="sysDash"/>
            <a:miter lim="800000"/>
            <a:headEnd/>
            <a:tailEnd/>
          </a:ln>
        </p:spPr>
        <p:txBody>
          <a:bodyPr/>
          <a:lstStyle/>
          <a:p>
            <a:pPr marL="127000" lvl="1" indent="-125413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</a:pPr>
            <a:r>
              <a:rPr lang="en-US" altLang="en-US" sz="800">
                <a:solidFill>
                  <a:srgbClr val="0D0D0D"/>
                </a:solidFill>
                <a:latin typeface="Calibri" pitchFamily="34" charset="0"/>
                <a:ea typeface="LF_Kai"/>
                <a:cs typeface="LF_Kai"/>
              </a:rPr>
              <a:t> In 2010, JSPL acquired Shadeed Iron &amp; Steel Co. LLC (Shadeed), which has installed a 1.5 MTPA steel plant with an investment of US$ 525 million and commenced production in January 2011</a:t>
            </a:r>
          </a:p>
          <a:p>
            <a:pPr marL="127000" lvl="1" indent="-125413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</a:pPr>
            <a:r>
              <a:rPr lang="en-US" altLang="en-US" sz="800">
                <a:solidFill>
                  <a:srgbClr val="0D0D0D"/>
                </a:solidFill>
                <a:latin typeface="Calibri" pitchFamily="34" charset="0"/>
                <a:ea typeface="LF_Kai"/>
                <a:cs typeface="LF_Kai"/>
              </a:rPr>
              <a:t> Adding a steelmaking facility of 2 MTPA and will set up the first integrated steel plant in the Sultanate of Oman</a:t>
            </a:r>
          </a:p>
          <a:p>
            <a:pPr marL="396875" lvl="2" indent="-166688">
              <a:lnSpc>
                <a:spcPct val="110000"/>
              </a:lnSpc>
              <a:spcBef>
                <a:spcPts val="3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</a:pPr>
            <a:r>
              <a:rPr lang="en-US" altLang="en-US" sz="800">
                <a:solidFill>
                  <a:srgbClr val="0D0D0D"/>
                </a:solidFill>
                <a:latin typeface="Calibri" pitchFamily="34" charset="0"/>
                <a:ea typeface="LF_Kai"/>
                <a:cs typeface="LF_Kai"/>
              </a:rPr>
              <a:t>Phase 1: 2 MTPA Steel Making Product (Billet)</a:t>
            </a:r>
          </a:p>
          <a:p>
            <a:pPr marL="396875" lvl="2" indent="-166688">
              <a:lnSpc>
                <a:spcPct val="110000"/>
              </a:lnSpc>
              <a:spcBef>
                <a:spcPts val="3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</a:pPr>
            <a:r>
              <a:rPr lang="en-US" altLang="en-US" sz="800">
                <a:solidFill>
                  <a:srgbClr val="0D0D0D"/>
                </a:solidFill>
                <a:latin typeface="Calibri" pitchFamily="34" charset="0"/>
                <a:ea typeface="LF_Kai"/>
                <a:cs typeface="LF_Kai"/>
              </a:rPr>
              <a:t>Phase 2: 2 MTPA Rebar and Section Mills</a:t>
            </a:r>
          </a:p>
          <a:p>
            <a:pPr marL="127000" lvl="1" indent="-125413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</a:pPr>
            <a:endParaRPr lang="en-US" altLang="en-US" sz="800">
              <a:solidFill>
                <a:srgbClr val="0D0D0D"/>
              </a:solidFill>
              <a:latin typeface="Calibri" pitchFamily="34" charset="0"/>
              <a:ea typeface="LF_Kai"/>
              <a:cs typeface="LF_Kai"/>
            </a:endParaRPr>
          </a:p>
        </p:txBody>
      </p:sp>
      <p:sp>
        <p:nvSpPr>
          <p:cNvPr id="304" name="TextBox 303"/>
          <p:cNvSpPr txBox="1"/>
          <p:nvPr>
            <p:custDataLst>
              <p:tags r:id="rId6"/>
            </p:custDataLst>
          </p:nvPr>
        </p:nvSpPr>
        <p:spPr bwMode="gray">
          <a:xfrm>
            <a:off x="3581400" y="1295400"/>
            <a:ext cx="2819400" cy="260350"/>
          </a:xfrm>
          <a:prstGeom prst="roundRect">
            <a:avLst/>
          </a:prstGeom>
          <a:solidFill>
            <a:srgbClr val="F5821E"/>
          </a:solidFill>
          <a:ln w="9525" cmpd="sng">
            <a:solidFill>
              <a:schemeClr val="bg2"/>
            </a:solidFill>
            <a:prstDash val="solid"/>
          </a:ln>
          <a:effectLst/>
        </p:spPr>
        <p:txBody>
          <a:bodyPr lIns="45720" tIns="36575" bIns="36575" anchor="b">
            <a:spAutoFit/>
          </a:bodyPr>
          <a:lstStyle/>
          <a:p>
            <a:pPr algn="ctr">
              <a:defRPr/>
            </a:pPr>
            <a:r>
              <a:rPr lang="en-US" sz="1050" b="1" dirty="0">
                <a:solidFill>
                  <a:srgbClr val="FFFFFF"/>
                </a:solidFill>
                <a:latin typeface="Calibri" pitchFamily="34" charset="0"/>
                <a:cs typeface="Arial" charset="0"/>
              </a:rPr>
              <a:t>Shadeed, Oman</a:t>
            </a:r>
          </a:p>
        </p:txBody>
      </p:sp>
      <p:sp>
        <p:nvSpPr>
          <p:cNvPr id="305" name="Rectangle 304"/>
          <p:cNvSpPr/>
          <p:nvPr/>
        </p:nvSpPr>
        <p:spPr>
          <a:xfrm>
            <a:off x="533400" y="6400800"/>
            <a:ext cx="76200" cy="76200"/>
          </a:xfrm>
          <a:prstGeom prst="rect">
            <a:avLst/>
          </a:prstGeom>
          <a:solidFill>
            <a:srgbClr val="DFAA75"/>
          </a:solidFill>
          <a:ln w="6350">
            <a:solidFill>
              <a:srgbClr val="82673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Calibri" pitchFamily="34" charset="0"/>
            </a:endParaRPr>
          </a:p>
        </p:txBody>
      </p:sp>
      <p:sp>
        <p:nvSpPr>
          <p:cNvPr id="306" name="Rectangle 305"/>
          <p:cNvSpPr/>
          <p:nvPr/>
        </p:nvSpPr>
        <p:spPr>
          <a:xfrm>
            <a:off x="1371600" y="6400800"/>
            <a:ext cx="76200" cy="76200"/>
          </a:xfrm>
          <a:prstGeom prst="rect">
            <a:avLst/>
          </a:prstGeom>
          <a:solidFill>
            <a:srgbClr val="93C196"/>
          </a:solidFill>
          <a:ln w="6350">
            <a:solidFill>
              <a:srgbClr val="82673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Calibri" pitchFamily="34" charset="0"/>
            </a:endParaRPr>
          </a:p>
        </p:txBody>
      </p:sp>
      <p:sp>
        <p:nvSpPr>
          <p:cNvPr id="58580" name="TextBox 306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660400" y="6362700"/>
            <a:ext cx="51456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90488" indent="-90488">
              <a:tabLst>
                <a:tab pos="90488" algn="l"/>
              </a:tabLst>
            </a:pPr>
            <a:r>
              <a:rPr lang="en-US" altLang="en-US" sz="900">
                <a:solidFill>
                  <a:srgbClr val="000000"/>
                </a:solidFill>
                <a:latin typeface="Calibri" pitchFamily="34" charset="0"/>
              </a:rPr>
              <a:t>Coal assets</a:t>
            </a:r>
          </a:p>
        </p:txBody>
      </p:sp>
      <p:sp>
        <p:nvSpPr>
          <p:cNvPr id="58581" name="TextBox 307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1524000" y="6362700"/>
            <a:ext cx="779059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90488" indent="-90488">
              <a:tabLst>
                <a:tab pos="90488" algn="l"/>
              </a:tabLst>
            </a:pPr>
            <a:r>
              <a:rPr lang="en-US" altLang="en-US" sz="900">
                <a:solidFill>
                  <a:srgbClr val="000000"/>
                </a:solidFill>
                <a:latin typeface="Calibri" pitchFamily="34" charset="0"/>
              </a:rPr>
              <a:t>Steel production</a:t>
            </a:r>
          </a:p>
        </p:txBody>
      </p:sp>
      <p:sp>
        <p:nvSpPr>
          <p:cNvPr id="309" name="Rectangle 308"/>
          <p:cNvSpPr/>
          <p:nvPr/>
        </p:nvSpPr>
        <p:spPr>
          <a:xfrm>
            <a:off x="2462213" y="6407150"/>
            <a:ext cx="76200" cy="76200"/>
          </a:xfrm>
          <a:prstGeom prst="rect">
            <a:avLst/>
          </a:prstGeom>
          <a:solidFill>
            <a:srgbClr val="E7D88B"/>
          </a:solidFill>
          <a:ln w="6350">
            <a:solidFill>
              <a:srgbClr val="82673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Calibri" pitchFamily="34" charset="0"/>
            </a:endParaRPr>
          </a:p>
        </p:txBody>
      </p:sp>
      <p:sp>
        <p:nvSpPr>
          <p:cNvPr id="58583" name="TextBox 309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2614613" y="6369050"/>
            <a:ext cx="913712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90488" indent="-90488">
              <a:tabLst>
                <a:tab pos="90488" algn="l"/>
              </a:tabLst>
            </a:pPr>
            <a:r>
              <a:rPr lang="en-US" altLang="en-US" sz="900">
                <a:solidFill>
                  <a:srgbClr val="000000"/>
                </a:solidFill>
                <a:latin typeface="Calibri" pitchFamily="34" charset="0"/>
              </a:rPr>
              <a:t>Cement production</a:t>
            </a:r>
          </a:p>
        </p:txBody>
      </p:sp>
      <p:grpSp>
        <p:nvGrpSpPr>
          <p:cNvPr id="9" name="Group 24"/>
          <p:cNvGrpSpPr>
            <a:grpSpLocks noChangeAspect="1"/>
          </p:cNvGrpSpPr>
          <p:nvPr/>
        </p:nvGrpSpPr>
        <p:grpSpPr bwMode="auto">
          <a:xfrm>
            <a:off x="4876800" y="4567238"/>
            <a:ext cx="228600" cy="228600"/>
            <a:chOff x="6111875" y="6061075"/>
            <a:chExt cx="630238" cy="630237"/>
          </a:xfrm>
        </p:grpSpPr>
        <p:sp>
          <p:nvSpPr>
            <p:cNvPr id="312" name="Rounded Rectangle 311"/>
            <p:cNvSpPr/>
            <p:nvPr/>
          </p:nvSpPr>
          <p:spPr>
            <a:xfrm>
              <a:off x="6111875" y="6061075"/>
              <a:ext cx="630238" cy="630237"/>
            </a:xfrm>
            <a:prstGeom prst="roundRect">
              <a:avLst/>
            </a:prstGeom>
            <a:solidFill>
              <a:schemeClr val="tx1">
                <a:lumMod val="65000"/>
                <a:lumOff val="35000"/>
                <a:alpha val="9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prstClr val="white"/>
                </a:solidFill>
                <a:latin typeface="Calibri" pitchFamily="34" charset="0"/>
              </a:endParaRPr>
            </a:p>
          </p:txBody>
        </p:sp>
        <p:pic>
          <p:nvPicPr>
            <p:cNvPr id="58601" name="Picture 7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6170613" y="6189662"/>
              <a:ext cx="514350" cy="401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0" name="Group 31"/>
          <p:cNvGrpSpPr>
            <a:grpSpLocks noChangeAspect="1"/>
          </p:cNvGrpSpPr>
          <p:nvPr/>
        </p:nvGrpSpPr>
        <p:grpSpPr bwMode="auto">
          <a:xfrm>
            <a:off x="5410200" y="3429000"/>
            <a:ext cx="228600" cy="228600"/>
            <a:chOff x="2219325" y="6075362"/>
            <a:chExt cx="630238" cy="630238"/>
          </a:xfrm>
        </p:grpSpPr>
        <p:sp>
          <p:nvSpPr>
            <p:cNvPr id="318" name="Rounded Rectangle 317"/>
            <p:cNvSpPr/>
            <p:nvPr/>
          </p:nvSpPr>
          <p:spPr>
            <a:xfrm>
              <a:off x="2219325" y="6075362"/>
              <a:ext cx="630238" cy="630238"/>
            </a:xfrm>
            <a:prstGeom prst="roundRect">
              <a:avLst/>
            </a:prstGeom>
            <a:solidFill>
              <a:srgbClr val="F5821E">
                <a:alpha val="90000"/>
              </a:srgb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prstClr val="white"/>
                </a:solidFill>
                <a:latin typeface="Calibri" pitchFamily="34" charset="0"/>
              </a:endParaRPr>
            </a:p>
          </p:txBody>
        </p:sp>
        <p:pic>
          <p:nvPicPr>
            <p:cNvPr id="58599" name="Picture 3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2270125" y="6108700"/>
              <a:ext cx="530225" cy="534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1" name="Group 24"/>
          <p:cNvGrpSpPr>
            <a:grpSpLocks noChangeAspect="1"/>
          </p:cNvGrpSpPr>
          <p:nvPr/>
        </p:nvGrpSpPr>
        <p:grpSpPr bwMode="auto">
          <a:xfrm>
            <a:off x="5105400" y="4267200"/>
            <a:ext cx="228600" cy="228600"/>
            <a:chOff x="6111875" y="6061075"/>
            <a:chExt cx="630238" cy="630237"/>
          </a:xfrm>
        </p:grpSpPr>
        <p:sp>
          <p:nvSpPr>
            <p:cNvPr id="321" name="Rounded Rectangle 320"/>
            <p:cNvSpPr/>
            <p:nvPr/>
          </p:nvSpPr>
          <p:spPr>
            <a:xfrm>
              <a:off x="6111875" y="6061075"/>
              <a:ext cx="630238" cy="630237"/>
            </a:xfrm>
            <a:prstGeom prst="roundRect">
              <a:avLst/>
            </a:prstGeom>
            <a:solidFill>
              <a:schemeClr val="tx1">
                <a:lumMod val="65000"/>
                <a:lumOff val="35000"/>
                <a:alpha val="9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prstClr val="white"/>
                </a:solidFill>
                <a:latin typeface="Calibri" pitchFamily="34" charset="0"/>
              </a:endParaRPr>
            </a:p>
          </p:txBody>
        </p:sp>
        <p:pic>
          <p:nvPicPr>
            <p:cNvPr id="58597" name="Picture 7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6170613" y="6189662"/>
              <a:ext cx="514350" cy="401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2" name="Group 24"/>
          <p:cNvGrpSpPr>
            <a:grpSpLocks noChangeAspect="1"/>
          </p:cNvGrpSpPr>
          <p:nvPr/>
        </p:nvGrpSpPr>
        <p:grpSpPr bwMode="auto">
          <a:xfrm>
            <a:off x="7467600" y="4343400"/>
            <a:ext cx="228600" cy="228600"/>
            <a:chOff x="6111875" y="6061075"/>
            <a:chExt cx="630238" cy="630237"/>
          </a:xfrm>
        </p:grpSpPr>
        <p:sp>
          <p:nvSpPr>
            <p:cNvPr id="324" name="Rounded Rectangle 323"/>
            <p:cNvSpPr/>
            <p:nvPr/>
          </p:nvSpPr>
          <p:spPr>
            <a:xfrm>
              <a:off x="6111875" y="6061075"/>
              <a:ext cx="630238" cy="630237"/>
            </a:xfrm>
            <a:prstGeom prst="roundRect">
              <a:avLst/>
            </a:prstGeom>
            <a:solidFill>
              <a:schemeClr val="tx1">
                <a:lumMod val="65000"/>
                <a:lumOff val="35000"/>
                <a:alpha val="9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prstClr val="white"/>
                </a:solidFill>
                <a:latin typeface="Calibri" pitchFamily="34" charset="0"/>
              </a:endParaRPr>
            </a:p>
          </p:txBody>
        </p:sp>
        <p:pic>
          <p:nvPicPr>
            <p:cNvPr id="58595" name="Picture 7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6170613" y="6189662"/>
              <a:ext cx="514350" cy="401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3" name="Group 24"/>
          <p:cNvGrpSpPr>
            <a:grpSpLocks noChangeAspect="1"/>
          </p:cNvGrpSpPr>
          <p:nvPr/>
        </p:nvGrpSpPr>
        <p:grpSpPr bwMode="auto">
          <a:xfrm>
            <a:off x="7315200" y="3733800"/>
            <a:ext cx="228600" cy="228600"/>
            <a:chOff x="6111875" y="6061075"/>
            <a:chExt cx="630238" cy="630237"/>
          </a:xfrm>
        </p:grpSpPr>
        <p:sp>
          <p:nvSpPr>
            <p:cNvPr id="327" name="Rounded Rectangle 326"/>
            <p:cNvSpPr/>
            <p:nvPr/>
          </p:nvSpPr>
          <p:spPr>
            <a:xfrm>
              <a:off x="6111875" y="6061075"/>
              <a:ext cx="630238" cy="630237"/>
            </a:xfrm>
            <a:prstGeom prst="roundRect">
              <a:avLst/>
            </a:prstGeom>
            <a:solidFill>
              <a:schemeClr val="tx1">
                <a:lumMod val="65000"/>
                <a:lumOff val="35000"/>
                <a:alpha val="9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prstClr val="white"/>
                </a:solidFill>
                <a:latin typeface="Calibri" pitchFamily="34" charset="0"/>
              </a:endParaRPr>
            </a:p>
          </p:txBody>
        </p:sp>
        <p:pic>
          <p:nvPicPr>
            <p:cNvPr id="58593" name="Picture 7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6170613" y="6189662"/>
              <a:ext cx="514350" cy="401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58589" name="Rectangular Callout 324"/>
          <p:cNvSpPr>
            <a:spLocks noChangeArrowheads="1"/>
          </p:cNvSpPr>
          <p:nvPr/>
        </p:nvSpPr>
        <p:spPr bwMode="auto">
          <a:xfrm>
            <a:off x="3538538" y="5257800"/>
            <a:ext cx="2227262" cy="952500"/>
          </a:xfrm>
          <a:prstGeom prst="wedgeRectCallout">
            <a:avLst>
              <a:gd name="adj1" fmla="val 12273"/>
              <a:gd name="adj2" fmla="val -147940"/>
            </a:avLst>
          </a:prstGeom>
          <a:solidFill>
            <a:srgbClr val="FDEADA"/>
          </a:solidFill>
          <a:ln w="15875">
            <a:solidFill>
              <a:srgbClr val="F5821E"/>
            </a:solidFill>
            <a:prstDash val="sysDash"/>
            <a:miter lim="800000"/>
            <a:headEnd/>
            <a:tailEnd/>
          </a:ln>
        </p:spPr>
        <p:txBody>
          <a:bodyPr/>
          <a:lstStyle/>
          <a:p>
            <a:pPr marL="127000" lvl="1" indent="-125413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</a:pPr>
            <a:r>
              <a:rPr lang="en-US" altLang="en-US" sz="800">
                <a:solidFill>
                  <a:srgbClr val="0D0D0D"/>
                </a:solidFill>
                <a:latin typeface="Calibri" pitchFamily="34" charset="0"/>
                <a:ea typeface="LF_Kai"/>
                <a:cs typeface="LF_Kai"/>
              </a:rPr>
              <a:t> Acquired CIC Energy in 2012 for 120 Mn USD</a:t>
            </a:r>
          </a:p>
          <a:p>
            <a:pPr marL="127000" lvl="1" indent="-125413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</a:pPr>
            <a:r>
              <a:rPr lang="en-US" altLang="en-US" sz="800">
                <a:solidFill>
                  <a:srgbClr val="0D0D0D"/>
                </a:solidFill>
                <a:latin typeface="Calibri" pitchFamily="34" charset="0"/>
                <a:ea typeface="LF_Kai"/>
                <a:cs typeface="LF_Kai"/>
              </a:rPr>
              <a:t>Coal Mine with Resource of over 3 billion MT (high grade thermal coal)</a:t>
            </a:r>
          </a:p>
          <a:p>
            <a:pPr marL="127000" lvl="1" indent="-125413">
              <a:lnSpc>
                <a:spcPct val="110000"/>
              </a:lnSpc>
              <a:spcBef>
                <a:spcPts val="500"/>
              </a:spcBef>
              <a:buClr>
                <a:srgbClr val="F5821E"/>
              </a:buClr>
              <a:buSzPct val="92000"/>
              <a:buFont typeface="Wingdings" pitchFamily="2" charset="2"/>
              <a:buChar char="n"/>
            </a:pPr>
            <a:r>
              <a:rPr lang="en-US" altLang="en-US" sz="800">
                <a:solidFill>
                  <a:srgbClr val="0D0D0D"/>
                </a:solidFill>
                <a:latin typeface="Calibri" pitchFamily="34" charset="0"/>
                <a:ea typeface="LF_Kai"/>
                <a:cs typeface="LF_Kai"/>
              </a:rPr>
              <a:t>300 MW Power plant under planning</a:t>
            </a:r>
          </a:p>
        </p:txBody>
      </p:sp>
      <p:sp>
        <p:nvSpPr>
          <p:cNvPr id="326" name="TextBox 325"/>
          <p:cNvSpPr txBox="1"/>
          <p:nvPr>
            <p:custDataLst>
              <p:tags r:id="rId10"/>
            </p:custDataLst>
          </p:nvPr>
        </p:nvSpPr>
        <p:spPr bwMode="gray">
          <a:xfrm>
            <a:off x="3505200" y="4945063"/>
            <a:ext cx="2268538" cy="260350"/>
          </a:xfrm>
          <a:prstGeom prst="roundRect">
            <a:avLst/>
          </a:prstGeom>
          <a:solidFill>
            <a:srgbClr val="F5821E"/>
          </a:solidFill>
          <a:ln w="9525" cmpd="sng">
            <a:solidFill>
              <a:schemeClr val="bg2"/>
            </a:solidFill>
            <a:prstDash val="solid"/>
          </a:ln>
          <a:effectLst/>
        </p:spPr>
        <p:txBody>
          <a:bodyPr lIns="45720" tIns="36575" bIns="36575" anchor="b">
            <a:spAutoFit/>
          </a:bodyPr>
          <a:lstStyle/>
          <a:p>
            <a:pPr algn="ctr">
              <a:defRPr/>
            </a:pPr>
            <a:r>
              <a:rPr lang="en-US" sz="1050" b="1" dirty="0">
                <a:solidFill>
                  <a:srgbClr val="FFFFFF"/>
                </a:solidFill>
                <a:latin typeface="Calibri" pitchFamily="34" charset="0"/>
                <a:cs typeface="Arial" charset="0"/>
              </a:rPr>
              <a:t>Botswana, Africa</a:t>
            </a:r>
          </a:p>
        </p:txBody>
      </p:sp>
      <p:sp>
        <p:nvSpPr>
          <p:cNvPr id="329" name="Title 1"/>
          <p:cNvSpPr txBox="1">
            <a:spLocks/>
          </p:cNvSpPr>
          <p:nvPr/>
        </p:nvSpPr>
        <p:spPr bwMode="auto">
          <a:xfrm>
            <a:off x="121489" y="120563"/>
            <a:ext cx="8794113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9298" algn="l"/>
              </a:tabLst>
              <a:defRPr/>
            </a:pPr>
            <a:r>
              <a:rPr lang="en-US" sz="3000" b="1" kern="0" dirty="0" smtClean="0">
                <a:solidFill>
                  <a:schemeClr val="tx2"/>
                </a:solidFill>
                <a:latin typeface="Calibri" pitchFamily="34" charset="0"/>
                <a:ea typeface="+mj-ea"/>
                <a:cs typeface="Calibri" pitchFamily="34" charset="0"/>
              </a:rPr>
              <a:t>Our International Operations</a:t>
            </a:r>
            <a:endParaRPr kumimoji="0" lang="en-US" sz="3000" b="1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alibri" pitchFamily="34" charset="0"/>
              <a:ea typeface="+mj-ea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120563"/>
            <a:ext cx="8794113" cy="461665"/>
          </a:xfrm>
        </p:spPr>
        <p:txBody>
          <a:bodyPr/>
          <a:lstStyle/>
          <a:p>
            <a:r>
              <a:rPr lang="en-US" dirty="0" smtClean="0"/>
              <a:t>Our Power Projects in Africa</a:t>
            </a:r>
            <a:endParaRPr lang="en-US" dirty="0"/>
          </a:p>
        </p:txBody>
      </p:sp>
      <p:pic>
        <p:nvPicPr>
          <p:cNvPr id="13314" name="Picture 2" descr="http://www.worldatlas.com/webimage/countrys/africa/afoutl.gif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097271" y="828524"/>
            <a:ext cx="6115050" cy="5524500"/>
          </a:xfrm>
          <a:prstGeom prst="rect">
            <a:avLst/>
          </a:prstGeom>
          <a:noFill/>
        </p:spPr>
      </p:pic>
      <p:sp>
        <p:nvSpPr>
          <p:cNvPr id="6" name="TextBox 5"/>
          <p:cNvSpPr txBox="1"/>
          <p:nvPr/>
        </p:nvSpPr>
        <p:spPr>
          <a:xfrm>
            <a:off x="5272610" y="5763881"/>
            <a:ext cx="11929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 smtClean="0"/>
              <a:t>2x21 MW CPP</a:t>
            </a:r>
            <a:endParaRPr lang="en-GB" sz="1200" dirty="0"/>
          </a:p>
        </p:txBody>
      </p:sp>
      <p:sp>
        <p:nvSpPr>
          <p:cNvPr id="8" name="TextBox 7"/>
          <p:cNvSpPr txBox="1"/>
          <p:nvPr>
            <p:custDataLst>
              <p:tags r:id="rId1"/>
            </p:custDataLst>
          </p:nvPr>
        </p:nvSpPr>
        <p:spPr bwMode="gray">
          <a:xfrm>
            <a:off x="5335137" y="5473321"/>
            <a:ext cx="1133902" cy="286034"/>
          </a:xfrm>
          <a:prstGeom prst="roundRect">
            <a:avLst/>
          </a:prstGeom>
          <a:solidFill>
            <a:srgbClr val="F5821E"/>
          </a:solidFill>
          <a:ln w="9525" cmpd="sng">
            <a:solidFill>
              <a:schemeClr val="bg2"/>
            </a:solidFill>
            <a:prstDash val="solid"/>
          </a:ln>
          <a:effectLst/>
        </p:spPr>
        <p:txBody>
          <a:bodyPr wrap="square" lIns="45720" tIns="36575" bIns="36575" anchor="b">
            <a:spAutoFit/>
          </a:bodyPr>
          <a:lstStyle/>
          <a:p>
            <a:pPr algn="ctr">
              <a:defRPr/>
            </a:pPr>
            <a:r>
              <a:rPr lang="en-US" sz="1200" b="1" dirty="0" smtClean="0">
                <a:solidFill>
                  <a:srgbClr val="FFFFFF"/>
                </a:solidFill>
                <a:latin typeface="Calibri" pitchFamily="34" charset="0"/>
                <a:cs typeface="Arial" charset="0"/>
              </a:rPr>
              <a:t>Mozambique</a:t>
            </a:r>
            <a:endParaRPr lang="en-US" sz="1200" b="1" dirty="0">
              <a:solidFill>
                <a:srgbClr val="FFFFFF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135900" y="5384018"/>
            <a:ext cx="1259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 smtClean="0"/>
              <a:t>4x171 MW TPP</a:t>
            </a:r>
            <a:endParaRPr lang="en-GB" sz="1200" dirty="0"/>
          </a:p>
        </p:txBody>
      </p:sp>
      <p:sp>
        <p:nvSpPr>
          <p:cNvPr id="10" name="TextBox 9"/>
          <p:cNvSpPr txBox="1"/>
          <p:nvPr>
            <p:custDataLst>
              <p:tags r:id="rId2"/>
            </p:custDataLst>
          </p:nvPr>
        </p:nvSpPr>
        <p:spPr bwMode="gray">
          <a:xfrm>
            <a:off x="2198427" y="5093458"/>
            <a:ext cx="1133902" cy="286034"/>
          </a:xfrm>
          <a:prstGeom prst="roundRect">
            <a:avLst/>
          </a:prstGeom>
          <a:solidFill>
            <a:srgbClr val="F5821E"/>
          </a:solidFill>
          <a:ln w="9525" cmpd="sng">
            <a:solidFill>
              <a:schemeClr val="bg2"/>
            </a:solidFill>
            <a:prstDash val="solid"/>
          </a:ln>
          <a:effectLst/>
        </p:spPr>
        <p:txBody>
          <a:bodyPr wrap="square" lIns="45720" tIns="36575" bIns="36575" anchor="b">
            <a:spAutoFit/>
          </a:bodyPr>
          <a:lstStyle/>
          <a:p>
            <a:pPr algn="ctr">
              <a:defRPr/>
            </a:pPr>
            <a:r>
              <a:rPr lang="en-US" sz="1200" b="1" dirty="0" smtClean="0">
                <a:solidFill>
                  <a:srgbClr val="FFFFFF"/>
                </a:solidFill>
                <a:latin typeface="Calibri" pitchFamily="34" charset="0"/>
                <a:cs typeface="Arial" charset="0"/>
              </a:rPr>
              <a:t>Botswana</a:t>
            </a:r>
            <a:endParaRPr lang="en-US" sz="1200" b="1" dirty="0">
              <a:solidFill>
                <a:srgbClr val="FFFFFF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27488" y="2765910"/>
            <a:ext cx="1259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 smtClean="0"/>
              <a:t>2x175 MW TPP</a:t>
            </a:r>
            <a:endParaRPr lang="en-GB" sz="1200" dirty="0"/>
          </a:p>
        </p:txBody>
      </p:sp>
      <p:sp>
        <p:nvSpPr>
          <p:cNvPr id="15" name="TextBox 14"/>
          <p:cNvSpPr txBox="1"/>
          <p:nvPr>
            <p:custDataLst>
              <p:tags r:id="rId3"/>
            </p:custDataLst>
          </p:nvPr>
        </p:nvSpPr>
        <p:spPr bwMode="gray">
          <a:xfrm>
            <a:off x="290015" y="2475350"/>
            <a:ext cx="1133902" cy="286034"/>
          </a:xfrm>
          <a:prstGeom prst="roundRect">
            <a:avLst/>
          </a:prstGeom>
          <a:solidFill>
            <a:srgbClr val="F5821E"/>
          </a:solidFill>
          <a:ln w="9525" cmpd="sng">
            <a:solidFill>
              <a:schemeClr val="bg2"/>
            </a:solidFill>
            <a:prstDash val="solid"/>
          </a:ln>
          <a:effectLst/>
        </p:spPr>
        <p:txBody>
          <a:bodyPr wrap="square" lIns="45720" tIns="36575" bIns="36575" anchor="b">
            <a:spAutoFit/>
          </a:bodyPr>
          <a:lstStyle/>
          <a:p>
            <a:pPr algn="ctr">
              <a:defRPr/>
            </a:pPr>
            <a:r>
              <a:rPr lang="en-US" sz="1200" b="1" dirty="0" smtClean="0">
                <a:solidFill>
                  <a:srgbClr val="FFFFFF"/>
                </a:solidFill>
                <a:latin typeface="Calibri" pitchFamily="34" charset="0"/>
                <a:cs typeface="Arial" charset="0"/>
              </a:rPr>
              <a:t>Senegal</a:t>
            </a:r>
            <a:endParaRPr lang="en-US" sz="1200" b="1" dirty="0">
              <a:solidFill>
                <a:srgbClr val="FFFFFF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633213" y="3734907"/>
            <a:ext cx="1259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 smtClean="0"/>
              <a:t>1x175 MW TPP</a:t>
            </a:r>
            <a:endParaRPr lang="en-GB" sz="1200" dirty="0"/>
          </a:p>
        </p:txBody>
      </p:sp>
      <p:sp>
        <p:nvSpPr>
          <p:cNvPr id="17" name="TextBox 16"/>
          <p:cNvSpPr txBox="1"/>
          <p:nvPr>
            <p:custDataLst>
              <p:tags r:id="rId4"/>
            </p:custDataLst>
          </p:nvPr>
        </p:nvSpPr>
        <p:spPr bwMode="gray">
          <a:xfrm>
            <a:off x="1723036" y="3444347"/>
            <a:ext cx="1133902" cy="286034"/>
          </a:xfrm>
          <a:prstGeom prst="roundRect">
            <a:avLst/>
          </a:prstGeom>
          <a:solidFill>
            <a:srgbClr val="F5821E"/>
          </a:solidFill>
          <a:ln w="9525" cmpd="sng">
            <a:solidFill>
              <a:schemeClr val="bg2"/>
            </a:solidFill>
            <a:prstDash val="solid"/>
          </a:ln>
          <a:effectLst/>
        </p:spPr>
        <p:txBody>
          <a:bodyPr wrap="square" lIns="45720" tIns="36575" bIns="36575" anchor="b">
            <a:spAutoFit/>
          </a:bodyPr>
          <a:lstStyle/>
          <a:p>
            <a:pPr algn="ctr">
              <a:defRPr/>
            </a:pPr>
            <a:r>
              <a:rPr lang="en-US" sz="1200" b="1" dirty="0" smtClean="0">
                <a:solidFill>
                  <a:srgbClr val="FFFFFF"/>
                </a:solidFill>
                <a:latin typeface="Calibri" pitchFamily="34" charset="0"/>
                <a:cs typeface="Arial" charset="0"/>
              </a:rPr>
              <a:t>Liberia</a:t>
            </a:r>
            <a:endParaRPr lang="en-US" sz="1200" b="1" dirty="0">
              <a:solidFill>
                <a:srgbClr val="FFFFFF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79888" y="3477878"/>
            <a:ext cx="1259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 smtClean="0"/>
              <a:t>2x125 MW TPP</a:t>
            </a:r>
            <a:endParaRPr lang="en-GB" sz="1200" dirty="0"/>
          </a:p>
        </p:txBody>
      </p:sp>
      <p:sp>
        <p:nvSpPr>
          <p:cNvPr id="19" name="TextBox 18"/>
          <p:cNvSpPr txBox="1"/>
          <p:nvPr>
            <p:custDataLst>
              <p:tags r:id="rId5"/>
            </p:custDataLst>
          </p:nvPr>
        </p:nvSpPr>
        <p:spPr bwMode="gray">
          <a:xfrm>
            <a:off x="442415" y="3187318"/>
            <a:ext cx="1133902" cy="286034"/>
          </a:xfrm>
          <a:prstGeom prst="roundRect">
            <a:avLst/>
          </a:prstGeom>
          <a:solidFill>
            <a:srgbClr val="F5821E"/>
          </a:solidFill>
          <a:ln w="9525" cmpd="sng">
            <a:solidFill>
              <a:schemeClr val="bg2"/>
            </a:solidFill>
            <a:prstDash val="solid"/>
          </a:ln>
          <a:effectLst/>
        </p:spPr>
        <p:txBody>
          <a:bodyPr wrap="square" lIns="45720" tIns="36575" bIns="36575" anchor="b">
            <a:spAutoFit/>
          </a:bodyPr>
          <a:lstStyle/>
          <a:p>
            <a:pPr algn="ctr">
              <a:defRPr/>
            </a:pPr>
            <a:r>
              <a:rPr lang="en-US" sz="1200" b="1" dirty="0" smtClean="0">
                <a:solidFill>
                  <a:srgbClr val="FFFFFF"/>
                </a:solidFill>
                <a:latin typeface="Calibri" pitchFamily="34" charset="0"/>
                <a:cs typeface="Arial" charset="0"/>
              </a:rPr>
              <a:t>Sierra Leone</a:t>
            </a:r>
            <a:endParaRPr lang="en-US" sz="1200" b="1" dirty="0">
              <a:solidFill>
                <a:srgbClr val="FFFFFF"/>
              </a:solidFill>
              <a:latin typeface="Calibri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4311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120563"/>
            <a:ext cx="8794113" cy="461665"/>
          </a:xfrm>
        </p:spPr>
        <p:txBody>
          <a:bodyPr/>
          <a:lstStyle/>
          <a:p>
            <a:r>
              <a:rPr lang="en-US" dirty="0" smtClean="0"/>
              <a:t>Hard Facts About Africa</a:t>
            </a:r>
            <a:endParaRPr lang="en-US" dirty="0"/>
          </a:p>
        </p:txBody>
      </p:sp>
      <p:sp>
        <p:nvSpPr>
          <p:cNvPr id="7" name="Rectangle 7"/>
          <p:cNvSpPr txBox="1"/>
          <p:nvPr/>
        </p:nvSpPr>
        <p:spPr>
          <a:xfrm>
            <a:off x="97854" y="703062"/>
            <a:ext cx="8842946" cy="6093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sz="2000">
                <a:latin typeface="Calibri" pitchFamily="34" charset="0"/>
                <a:cs typeface="Calibri" pitchFamily="34" charset="0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2000">
                <a:latin typeface="Calibri" pitchFamily="34" charset="0"/>
                <a:cs typeface="Calibri" pitchFamily="34" charset="0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2000">
                <a:latin typeface="Calibri" pitchFamily="34" charset="0"/>
                <a:cs typeface="Calibri" pitchFamily="34" charset="0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2000">
                <a:latin typeface="Calibri" pitchFamily="34" charset="0"/>
                <a:cs typeface="Calibri" pitchFamily="34" charset="0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sz="2000">
                <a:latin typeface="Calibri" pitchFamily="34" charset="0"/>
                <a:cs typeface="Calibri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algn="just"/>
            <a:r>
              <a:rPr lang="en-US" sz="1800" dirty="0" smtClean="0"/>
              <a:t>Home to 15% of the world’s population that consumes just 3% of world’s electricity</a:t>
            </a:r>
          </a:p>
          <a:p>
            <a:pPr lvl="1" algn="just"/>
            <a:endParaRPr lang="en-US" sz="1800" dirty="0" smtClean="0"/>
          </a:p>
          <a:p>
            <a:pPr lvl="1" algn="just"/>
            <a:r>
              <a:rPr lang="en-US" sz="1800" dirty="0" smtClean="0"/>
              <a:t>Across the continent only 10% of individuals have access to the electrical grid</a:t>
            </a:r>
          </a:p>
          <a:p>
            <a:pPr lvl="1" algn="just"/>
            <a:endParaRPr lang="en-US" sz="1800" dirty="0" smtClean="0"/>
          </a:p>
          <a:p>
            <a:pPr lvl="1" algn="just"/>
            <a:r>
              <a:rPr lang="en-US" sz="1800" dirty="0" smtClean="0"/>
              <a:t>Annual consumption is 518 KWh in Sub-Saharan Africa, the same amount of electricity used by an individual in an OECD country in 25 days</a:t>
            </a:r>
          </a:p>
          <a:p>
            <a:pPr lvl="1" algn="just"/>
            <a:endParaRPr lang="en-US" sz="1800" dirty="0" smtClean="0"/>
          </a:p>
          <a:p>
            <a:pPr lvl="1" algn="just"/>
            <a:r>
              <a:rPr lang="en-US" sz="1800" dirty="0" smtClean="0"/>
              <a:t>An average electrification rate of 24%, while the rate in the rest of the developing world lies closer to 40%</a:t>
            </a:r>
          </a:p>
          <a:p>
            <a:pPr lvl="1" algn="just"/>
            <a:endParaRPr lang="en-US" sz="1800" dirty="0" smtClean="0"/>
          </a:p>
          <a:p>
            <a:pPr lvl="1" algn="just"/>
            <a:r>
              <a:rPr lang="en-US" sz="1800" dirty="0" smtClean="0"/>
              <a:t>Despite its unreliability, electrical service in Sub-Saharan Africa also costs more than in other parts of the world. The protective tariff required in Sub-Saharan Africa is $0.13 USD, compared to $0.04-$0.08 USD in the rest of the developing world</a:t>
            </a:r>
          </a:p>
          <a:p>
            <a:pPr lvl="1" algn="just"/>
            <a:endParaRPr lang="en-US" sz="1800" dirty="0" smtClean="0"/>
          </a:p>
          <a:p>
            <a:pPr lvl="1" algn="just"/>
            <a:r>
              <a:rPr lang="en-US" sz="1800" dirty="0" smtClean="0"/>
              <a:t>Analysts have estimated a 1-5% impact on GDP of select African economies (Malawi, Uganda, South Africa, Senegal, Kenya, Tanzania) due to lack of electricity</a:t>
            </a:r>
          </a:p>
          <a:p>
            <a:pPr lvl="1" algn="just"/>
            <a:endParaRPr lang="en-US" sz="1800" dirty="0" smtClean="0"/>
          </a:p>
          <a:p>
            <a:pPr lvl="1" algn="just"/>
            <a:r>
              <a:rPr lang="en-US" sz="1800" dirty="0" smtClean="0"/>
              <a:t>For the period 2011-2040, PIDA foresee the increase of energy demand from 590 </a:t>
            </a:r>
            <a:r>
              <a:rPr lang="en-US" sz="1800" dirty="0" err="1" smtClean="0"/>
              <a:t>TWh</a:t>
            </a:r>
            <a:r>
              <a:rPr lang="en-US" sz="1800" dirty="0" smtClean="0"/>
              <a:t>  </a:t>
            </a:r>
            <a:br>
              <a:rPr lang="en-US" sz="1800" dirty="0" smtClean="0"/>
            </a:br>
            <a:r>
              <a:rPr lang="en-US" sz="1800" dirty="0" smtClean="0"/>
              <a:t>to 3,100 </a:t>
            </a:r>
            <a:r>
              <a:rPr lang="en-US" sz="1800" dirty="0" err="1" smtClean="0"/>
              <a:t>TWh</a:t>
            </a:r>
            <a:r>
              <a:rPr lang="en-US" sz="1800" dirty="0" smtClean="0"/>
              <a:t> &amp; the installed capacity to grow from 120 GW to 700 GW</a:t>
            </a:r>
          </a:p>
          <a:p>
            <a:pPr lvl="1" algn="just"/>
            <a:endParaRPr lang="en-US" sz="1800" dirty="0" smtClean="0"/>
          </a:p>
          <a:p>
            <a:pPr lvl="1" algn="just"/>
            <a:r>
              <a:rPr lang="en-US" sz="1800" dirty="0" smtClean="0"/>
              <a:t>USD 43 bn per annum required to meet the demand supply gap</a:t>
            </a:r>
          </a:p>
          <a:p>
            <a:pPr lvl="1" algn="just"/>
            <a:endParaRPr lang="en-US" sz="1800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-76200" y="6553200"/>
            <a:ext cx="550343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smtClean="0"/>
              <a:t>Source: IEA, IRENA, Literature search, ADB, Program for Infrastructure Development in Africa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xmlns="" val="124311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120563"/>
            <a:ext cx="8794113" cy="461665"/>
          </a:xfrm>
        </p:spPr>
        <p:txBody>
          <a:bodyPr/>
          <a:lstStyle/>
          <a:p>
            <a:r>
              <a:rPr lang="en-US" dirty="0" smtClean="0"/>
              <a:t>Hard Facts About Africa</a:t>
            </a:r>
            <a:endParaRPr lang="en-US" dirty="0"/>
          </a:p>
        </p:txBody>
      </p:sp>
      <p:sp>
        <p:nvSpPr>
          <p:cNvPr id="7" name="Rectangle 7"/>
          <p:cNvSpPr txBox="1"/>
          <p:nvPr/>
        </p:nvSpPr>
        <p:spPr>
          <a:xfrm>
            <a:off x="97854" y="703062"/>
            <a:ext cx="8842946" cy="6093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sz="2000">
                <a:latin typeface="Calibri" pitchFamily="34" charset="0"/>
                <a:cs typeface="Calibri" pitchFamily="34" charset="0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sz="2000">
                <a:latin typeface="Calibri" pitchFamily="34" charset="0"/>
                <a:cs typeface="Calibri" pitchFamily="34" charset="0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2000">
                <a:latin typeface="Calibri" pitchFamily="34" charset="0"/>
                <a:cs typeface="Calibri" pitchFamily="34" charset="0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2000">
                <a:latin typeface="Calibri" pitchFamily="34" charset="0"/>
                <a:cs typeface="Calibri" pitchFamily="34" charset="0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sz="2000">
                <a:latin typeface="Calibri" pitchFamily="34" charset="0"/>
                <a:cs typeface="Calibri" pitchFamily="34" charset="0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algn="just"/>
            <a:r>
              <a:rPr lang="en-US" sz="1800" dirty="0" smtClean="0"/>
              <a:t>Home to 15% of the world’s population that consumes just 3% of world’s electricity</a:t>
            </a:r>
          </a:p>
          <a:p>
            <a:pPr lvl="1" algn="just"/>
            <a:endParaRPr lang="en-US" sz="1800" dirty="0" smtClean="0"/>
          </a:p>
          <a:p>
            <a:pPr lvl="1" algn="just"/>
            <a:r>
              <a:rPr lang="en-US" sz="1800" dirty="0" smtClean="0"/>
              <a:t>Across the continent only 10% of individuals have access to the electrical grid</a:t>
            </a:r>
          </a:p>
          <a:p>
            <a:pPr lvl="1" algn="just"/>
            <a:endParaRPr lang="en-US" sz="1800" dirty="0" smtClean="0"/>
          </a:p>
          <a:p>
            <a:pPr lvl="1" algn="just"/>
            <a:r>
              <a:rPr lang="en-US" sz="1800" dirty="0" smtClean="0"/>
              <a:t>Annual consumption is 518 KWh in Sub-Saharan Africa, the same amount of electricity used by an individual in an OECD country in 25 days</a:t>
            </a:r>
          </a:p>
          <a:p>
            <a:pPr lvl="1" algn="just"/>
            <a:endParaRPr lang="en-US" sz="1800" dirty="0" smtClean="0"/>
          </a:p>
          <a:p>
            <a:pPr lvl="1" algn="just"/>
            <a:r>
              <a:rPr lang="en-US" sz="1800" dirty="0" smtClean="0"/>
              <a:t>An average electrification rate of 24%, while the rate in the rest of the developing world lies closer to 40%</a:t>
            </a:r>
          </a:p>
          <a:p>
            <a:pPr lvl="1" algn="just"/>
            <a:endParaRPr lang="en-US" sz="1800" dirty="0" smtClean="0"/>
          </a:p>
          <a:p>
            <a:pPr lvl="1" algn="just"/>
            <a:r>
              <a:rPr lang="en-US" sz="1800" dirty="0" smtClean="0"/>
              <a:t>Despite its unreliability, electrical service in Sub-Saharan Africa also costs more than in other parts of the world. The protective tariff required in Sub-Saharan Africa is $0.13 USD, compared to $0.04-$0.08 USD in the rest of the developing world</a:t>
            </a:r>
          </a:p>
          <a:p>
            <a:pPr lvl="1" algn="just"/>
            <a:endParaRPr lang="en-US" sz="1800" dirty="0" smtClean="0"/>
          </a:p>
          <a:p>
            <a:pPr lvl="1" algn="just"/>
            <a:r>
              <a:rPr lang="en-US" sz="1800" dirty="0" smtClean="0"/>
              <a:t>Analysts have estimated a 1-5% impact on GDP of select African economies (Malawi, Uganda, South Africa, Senegal, Kenya, Tanzania) due to lack of electricity</a:t>
            </a:r>
          </a:p>
          <a:p>
            <a:pPr lvl="1" algn="just"/>
            <a:endParaRPr lang="en-US" sz="1800" dirty="0" smtClean="0"/>
          </a:p>
          <a:p>
            <a:pPr lvl="1" algn="just"/>
            <a:r>
              <a:rPr lang="en-US" sz="1800" dirty="0" smtClean="0"/>
              <a:t>For the period 2011-2040, PIDA foresee the increase of energy demand from 590 </a:t>
            </a:r>
            <a:r>
              <a:rPr lang="en-US" sz="1800" dirty="0" err="1" smtClean="0"/>
              <a:t>TWh</a:t>
            </a:r>
            <a:r>
              <a:rPr lang="en-US" sz="1800" dirty="0" smtClean="0"/>
              <a:t>  </a:t>
            </a:r>
            <a:br>
              <a:rPr lang="en-US" sz="1800" dirty="0" smtClean="0"/>
            </a:br>
            <a:r>
              <a:rPr lang="en-US" sz="1800" dirty="0" smtClean="0"/>
              <a:t>to 3,100 </a:t>
            </a:r>
            <a:r>
              <a:rPr lang="en-US" sz="1800" dirty="0" err="1" smtClean="0"/>
              <a:t>TWh</a:t>
            </a:r>
            <a:r>
              <a:rPr lang="en-US" sz="1800" dirty="0" smtClean="0"/>
              <a:t> &amp; the installed capacity to grow from 120 GW to 700 GW</a:t>
            </a:r>
          </a:p>
          <a:p>
            <a:pPr lvl="1" algn="just"/>
            <a:endParaRPr lang="en-US" sz="1800" dirty="0" smtClean="0"/>
          </a:p>
          <a:p>
            <a:pPr lvl="1" algn="just"/>
            <a:r>
              <a:rPr lang="en-US" sz="1800" dirty="0" smtClean="0"/>
              <a:t>USD 43 bn per annum required to meet the demand supply gap</a:t>
            </a:r>
          </a:p>
          <a:p>
            <a:pPr lvl="1" algn="just"/>
            <a:endParaRPr lang="en-US" sz="1800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-76200" y="6553200"/>
            <a:ext cx="550343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smtClean="0"/>
              <a:t>Source: IEA, IRENA, Literature search, ADB, Program for Infrastructure Development in Africa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xmlns="" val="124311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14223"/>
            <a:ext cx="8794113" cy="738664"/>
          </a:xfrm>
        </p:spPr>
        <p:txBody>
          <a:bodyPr/>
          <a:lstStyle/>
          <a:p>
            <a:r>
              <a:rPr lang="en-US" sz="2400" dirty="0" smtClean="0"/>
              <a:t>Africa had a total of 147 GW of Power generating capacity in </a:t>
            </a:r>
            <a:br>
              <a:rPr lang="en-US" sz="2400" dirty="0" smtClean="0"/>
            </a:br>
            <a:r>
              <a:rPr lang="en-US" sz="2400" dirty="0" smtClean="0"/>
              <a:t>2011; 40% of which was from coal based sources</a:t>
            </a:r>
            <a:endParaRPr lang="en-US" sz="2400" dirty="0"/>
          </a:p>
        </p:txBody>
      </p:sp>
      <p:sp>
        <p:nvSpPr>
          <p:cNvPr id="4" name="TextBox 3"/>
          <p:cNvSpPr txBox="1"/>
          <p:nvPr/>
        </p:nvSpPr>
        <p:spPr>
          <a:xfrm>
            <a:off x="-76200" y="6553200"/>
            <a:ext cx="16433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smtClean="0"/>
              <a:t>Source: IEA 2011, Eskom</a:t>
            </a:r>
            <a:endParaRPr lang="en-GB" sz="1000" dirty="0"/>
          </a:p>
        </p:txBody>
      </p:sp>
      <p:graphicFrame>
        <p:nvGraphicFramePr>
          <p:cNvPr id="6" name="Chart 5"/>
          <p:cNvGraphicFramePr/>
          <p:nvPr/>
        </p:nvGraphicFramePr>
        <p:xfrm>
          <a:off x="165858" y="966149"/>
          <a:ext cx="7545127" cy="5626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291622" y="3998778"/>
            <a:ext cx="285238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/>
              <a:t>38 MW out of 59 MW of total coal power in Africa is produced in South Africa</a:t>
            </a:r>
            <a:endParaRPr lang="en-GB" dirty="0"/>
          </a:p>
        </p:txBody>
      </p:sp>
      <p:sp>
        <p:nvSpPr>
          <p:cNvPr id="7" name="Rectangle 6"/>
          <p:cNvSpPr/>
          <p:nvPr/>
        </p:nvSpPr>
        <p:spPr>
          <a:xfrm>
            <a:off x="6291616" y="3971499"/>
            <a:ext cx="2797791" cy="832513"/>
          </a:xfrm>
          <a:prstGeom prst="rect">
            <a:avLst/>
          </a:prstGeom>
          <a:noFill/>
          <a:ln w="222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664447" y="696035"/>
            <a:ext cx="110427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 smtClean="0">
                <a:latin typeface="Calibri" pitchFamily="34" charset="0"/>
              </a:rPr>
              <a:t>Other </a:t>
            </a:r>
          </a:p>
          <a:p>
            <a:pPr algn="ctr"/>
            <a:r>
              <a:rPr lang="en-GB" dirty="0" smtClean="0">
                <a:latin typeface="Calibri" pitchFamily="34" charset="0"/>
              </a:rPr>
              <a:t>Renewable</a:t>
            </a:r>
          </a:p>
          <a:p>
            <a:pPr algn="ctr"/>
            <a:r>
              <a:rPr lang="en-GB" dirty="0" smtClean="0">
                <a:latin typeface="Calibri" pitchFamily="34" charset="0"/>
              </a:rPr>
              <a:t>1%</a:t>
            </a:r>
            <a:endParaRPr lang="en-GB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4311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18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gtZHiD02ykrc7uz1A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PkVlhEykCBIOoOQgfv4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6.CQDg6rU.RL99x2hUa_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IDhg.FQUKoqpXTWOrSN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TEXT_SIZE" val="11"/>
  <p:tag name="JPM_PLACEHOLDER" val="JPM_PLACEHOLD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Object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Object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ObjectTit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Object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ObjectNo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5F4GKBSEOyks.qMMXtZ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ObjectTit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TEXT_SIZE" val="9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ObjectNo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TEXT_SIZE" val="9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TEXT_SIZE" val="9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TEXT_SIZE" val="9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TEXT_SIZE" val="9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TEXT_SIZE" val="9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TEXT_SIZE" val="9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TEXT_SIZE" val="9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Hjn8m1O0eEvGSsOj8Fb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TEXT_SIZE" val="9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TEXT_SIZE" val="9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TEXT_SIZE" val="11"/>
  <p:tag name="JPM_PLACEHOLDER" val="JPM_PLACEHOLD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TEXT_SIZE" val="9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TEXT_SIZE" val="11"/>
  <p:tag name="JPM_PLACEHOLDER" val="JPM_PLACEHOLD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Object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TEXT_SIZE" val="9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TEXT_SIZE" val="9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ObjectTit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Object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fW.MAVdE20kL_gJvQ4J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Object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Object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Object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Object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ObjectNo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ObjectNo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ObjectNo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Object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Object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Object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JdXQaMekWUC7axQeTPl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Object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ObjectTit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Object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T16wK67E6kghuLVz9.K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6wLSX0nkyWQWhgum40_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3wb3OBM0ijuchUxUdMm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jPd4_t.ECfrk3.7ZUHkg"/>
</p:tagLst>
</file>

<file path=ppt/theme/theme1.xml><?xml version="1.0" encoding="utf-8"?>
<a:theme xmlns:a="http://schemas.openxmlformats.org/drawingml/2006/main" name="Firm Format - English (UK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Blank Presentation">
  <a:themeElements>
    <a:clrScheme name="Blank Presentation 13">
      <a:dk1>
        <a:srgbClr val="000000"/>
      </a:dk1>
      <a:lt1>
        <a:srgbClr val="FFFFFF"/>
      </a:lt1>
      <a:dk2>
        <a:srgbClr val="13518F"/>
      </a:dk2>
      <a:lt2>
        <a:srgbClr val="808080"/>
      </a:lt2>
      <a:accent1>
        <a:srgbClr val="8CC63F"/>
      </a:accent1>
      <a:accent2>
        <a:srgbClr val="0091D5"/>
      </a:accent2>
      <a:accent3>
        <a:srgbClr val="FFFFFF"/>
      </a:accent3>
      <a:accent4>
        <a:srgbClr val="000000"/>
      </a:accent4>
      <a:accent5>
        <a:srgbClr val="C5DFAF"/>
      </a:accent5>
      <a:accent6>
        <a:srgbClr val="0083C1"/>
      </a:accent6>
      <a:hlink>
        <a:srgbClr val="81CBEE"/>
      </a:hlink>
      <a:folHlink>
        <a:srgbClr val="4F692D"/>
      </a:folHlink>
    </a:clrScheme>
    <a:fontScheme name="Blank Presentation">
      <a:majorFont>
        <a:latin typeface="Trebuchet MS"/>
        <a:ea typeface="ＭＳ Ｐゴシック"/>
        <a:cs typeface="ＭＳ Ｐゴシック"/>
      </a:majorFont>
      <a:minorFont>
        <a:latin typeface="Trebuchet MS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12" charset="0"/>
            <a:ea typeface="ＭＳ Ｐゴシック" pitchFamily="-112" charset="-128"/>
            <a:cs typeface="ＭＳ Ｐゴシック" pitchFamily="-11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12" charset="0"/>
            <a:ea typeface="ＭＳ Ｐゴシック" pitchFamily="-112" charset="-128"/>
            <a:cs typeface="ＭＳ Ｐゴシック" pitchFamily="-112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3">
        <a:dk1>
          <a:srgbClr val="000000"/>
        </a:dk1>
        <a:lt1>
          <a:srgbClr val="FFFFFF"/>
        </a:lt1>
        <a:dk2>
          <a:srgbClr val="13518F"/>
        </a:dk2>
        <a:lt2>
          <a:srgbClr val="808080"/>
        </a:lt2>
        <a:accent1>
          <a:srgbClr val="8CC63F"/>
        </a:accent1>
        <a:accent2>
          <a:srgbClr val="0091D5"/>
        </a:accent2>
        <a:accent3>
          <a:srgbClr val="FFFFFF"/>
        </a:accent3>
        <a:accent4>
          <a:srgbClr val="000000"/>
        </a:accent4>
        <a:accent5>
          <a:srgbClr val="C5DFAF"/>
        </a:accent5>
        <a:accent6>
          <a:srgbClr val="0083C1"/>
        </a:accent6>
        <a:hlink>
          <a:srgbClr val="81CBEE"/>
        </a:hlink>
        <a:folHlink>
          <a:srgbClr val="4F692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Blank Presentation">
  <a:themeElements>
    <a:clrScheme name="Blank Presentation 13">
      <a:dk1>
        <a:srgbClr val="000000"/>
      </a:dk1>
      <a:lt1>
        <a:srgbClr val="FFFFFF"/>
      </a:lt1>
      <a:dk2>
        <a:srgbClr val="13518F"/>
      </a:dk2>
      <a:lt2>
        <a:srgbClr val="808080"/>
      </a:lt2>
      <a:accent1>
        <a:srgbClr val="8CC63F"/>
      </a:accent1>
      <a:accent2>
        <a:srgbClr val="0091D5"/>
      </a:accent2>
      <a:accent3>
        <a:srgbClr val="FFFFFF"/>
      </a:accent3>
      <a:accent4>
        <a:srgbClr val="000000"/>
      </a:accent4>
      <a:accent5>
        <a:srgbClr val="C5DFAF"/>
      </a:accent5>
      <a:accent6>
        <a:srgbClr val="0083C1"/>
      </a:accent6>
      <a:hlink>
        <a:srgbClr val="81CBEE"/>
      </a:hlink>
      <a:folHlink>
        <a:srgbClr val="4F692D"/>
      </a:folHlink>
    </a:clrScheme>
    <a:fontScheme name="Blank Presentation">
      <a:majorFont>
        <a:latin typeface="Trebuchet MS"/>
        <a:ea typeface="ＭＳ Ｐゴシック"/>
        <a:cs typeface="ＭＳ Ｐゴシック"/>
      </a:majorFont>
      <a:minorFont>
        <a:latin typeface="Trebuchet MS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12" charset="0"/>
            <a:ea typeface="ＭＳ Ｐゴシック" pitchFamily="-112" charset="-128"/>
            <a:cs typeface="ＭＳ Ｐゴシック" pitchFamily="-11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12" charset="0"/>
            <a:ea typeface="ＭＳ Ｐゴシック" pitchFamily="-112" charset="-128"/>
            <a:cs typeface="ＭＳ Ｐゴシック" pitchFamily="-112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3">
        <a:dk1>
          <a:srgbClr val="000000"/>
        </a:dk1>
        <a:lt1>
          <a:srgbClr val="FFFFFF"/>
        </a:lt1>
        <a:dk2>
          <a:srgbClr val="13518F"/>
        </a:dk2>
        <a:lt2>
          <a:srgbClr val="808080"/>
        </a:lt2>
        <a:accent1>
          <a:srgbClr val="8CC63F"/>
        </a:accent1>
        <a:accent2>
          <a:srgbClr val="0091D5"/>
        </a:accent2>
        <a:accent3>
          <a:srgbClr val="FFFFFF"/>
        </a:accent3>
        <a:accent4>
          <a:srgbClr val="000000"/>
        </a:accent4>
        <a:accent5>
          <a:srgbClr val="C5DFAF"/>
        </a:accent5>
        <a:accent6>
          <a:srgbClr val="0083C1"/>
        </a:accent6>
        <a:hlink>
          <a:srgbClr val="81CBEE"/>
        </a:hlink>
        <a:folHlink>
          <a:srgbClr val="4F692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K)</Template>
  <TotalTime>12630</TotalTime>
  <Words>2402</Words>
  <Application>Microsoft Office PowerPoint</Application>
  <PresentationFormat>On-screen Show (4:3)</PresentationFormat>
  <Paragraphs>411</Paragraphs>
  <Slides>24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8" baseType="lpstr">
      <vt:lpstr>Firm Format - English (UK)</vt:lpstr>
      <vt:lpstr>1_Blank Presentation</vt:lpstr>
      <vt:lpstr>Blank Presentation</vt:lpstr>
      <vt:lpstr>think-cell Slide</vt:lpstr>
      <vt:lpstr>“Partnership for Energy and Sustainable Development”</vt:lpstr>
      <vt:lpstr>Slide 1</vt:lpstr>
      <vt:lpstr>Slide 2</vt:lpstr>
      <vt:lpstr>Slide 3</vt:lpstr>
      <vt:lpstr>Slide 4</vt:lpstr>
      <vt:lpstr>Our Power Projects in Africa</vt:lpstr>
      <vt:lpstr>Hard Facts About Africa</vt:lpstr>
      <vt:lpstr>Hard Facts About Africa</vt:lpstr>
      <vt:lpstr>Africa had a total of 147 GW of Power generating capacity in  2011; 40% of which was from coal based sources</vt:lpstr>
      <vt:lpstr>Other than South Africa, most of the generation in the continent  is dependent upon Hydro or Gas Fired Power Plants</vt:lpstr>
      <vt:lpstr>Average electricity tariffs in Africa are higher than those  in countries with dominant Coal &amp; Hydro based power supply</vt:lpstr>
      <vt:lpstr>What Africa Needs – Jindal Experience</vt:lpstr>
      <vt:lpstr>Potential of Coal Power in Africa </vt:lpstr>
      <vt:lpstr>Incidence of Coal Deposits in Africa</vt:lpstr>
      <vt:lpstr>Coal Bearing Areas in Africa</vt:lpstr>
      <vt:lpstr>Just 3% of upcoming coal based MW capacity worldwide is based in Africa</vt:lpstr>
      <vt:lpstr>South Africa has 92% of Africa’s proven coal  deposits and exports 28% of its coal to other countries</vt:lpstr>
      <vt:lpstr>Africa’s own coal can be utilized to generate 24 GW in  the next 5 years</vt:lpstr>
      <vt:lpstr>Africa’s vast coastline enables transport of coal with  ease within Africa</vt:lpstr>
      <vt:lpstr>Well integrated power pool will serve small countries  and central African region with ease from power centers</vt:lpstr>
      <vt:lpstr>IPPs – Determinants of Success in Africa</vt:lpstr>
      <vt:lpstr>IPPs – Support Required from African Governments</vt:lpstr>
      <vt:lpstr>Clean Coal Technologies</vt:lpstr>
      <vt:lpstr>Thank you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Pardeep Kumar</dc:creator>
  <cp:lastModifiedBy>gauravagarwal</cp:lastModifiedBy>
  <cp:revision>426</cp:revision>
  <cp:lastPrinted>2008-09-19T11:06:26Z</cp:lastPrinted>
  <dcterms:created xsi:type="dcterms:W3CDTF">2012-09-11T09:19:06Z</dcterms:created>
  <dcterms:modified xsi:type="dcterms:W3CDTF">2014-03-10T11:14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